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96" r:id="rId2"/>
  </p:sldMasterIdLst>
  <p:notesMasterIdLst>
    <p:notesMasterId r:id="rId13"/>
  </p:notesMasterIdLst>
  <p:handoutMasterIdLst>
    <p:handoutMasterId r:id="rId14"/>
  </p:handoutMasterIdLst>
  <p:sldIdLst>
    <p:sldId id="393" r:id="rId3"/>
    <p:sldId id="383" r:id="rId4"/>
    <p:sldId id="384" r:id="rId5"/>
    <p:sldId id="389" r:id="rId6"/>
    <p:sldId id="385" r:id="rId7"/>
    <p:sldId id="386" r:id="rId8"/>
    <p:sldId id="375" r:id="rId9"/>
    <p:sldId id="391" r:id="rId10"/>
    <p:sldId id="281" r:id="rId11"/>
    <p:sldId id="390" r:id="rId12"/>
  </p:sldIdLst>
  <p:sldSz cx="12192000" cy="6858000"/>
  <p:notesSz cx="7315200" cy="9601200"/>
  <p:custDataLst>
    <p:tags r:id="rId1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43" kern="1200">
        <a:solidFill>
          <a:schemeClr val="tx1"/>
        </a:solidFill>
        <a:latin typeface="Arial" charset="0"/>
        <a:ea typeface="+mn-ea"/>
        <a:cs typeface="+mn-cs"/>
      </a:defRPr>
    </a:lvl1pPr>
    <a:lvl2pPr marL="555315" algn="l" rtl="0" fontAlgn="base">
      <a:spcBef>
        <a:spcPct val="0"/>
      </a:spcBef>
      <a:spcAft>
        <a:spcPct val="0"/>
      </a:spcAft>
      <a:defRPr sz="1943" kern="1200">
        <a:solidFill>
          <a:schemeClr val="tx1"/>
        </a:solidFill>
        <a:latin typeface="Arial" charset="0"/>
        <a:ea typeface="+mn-ea"/>
        <a:cs typeface="+mn-cs"/>
      </a:defRPr>
    </a:lvl2pPr>
    <a:lvl3pPr marL="1110630" algn="l" rtl="0" fontAlgn="base">
      <a:spcBef>
        <a:spcPct val="0"/>
      </a:spcBef>
      <a:spcAft>
        <a:spcPct val="0"/>
      </a:spcAft>
      <a:defRPr sz="1943" kern="1200">
        <a:solidFill>
          <a:schemeClr val="tx1"/>
        </a:solidFill>
        <a:latin typeface="Arial" charset="0"/>
        <a:ea typeface="+mn-ea"/>
        <a:cs typeface="+mn-cs"/>
      </a:defRPr>
    </a:lvl3pPr>
    <a:lvl4pPr marL="1665945" algn="l" rtl="0" fontAlgn="base">
      <a:spcBef>
        <a:spcPct val="0"/>
      </a:spcBef>
      <a:spcAft>
        <a:spcPct val="0"/>
      </a:spcAft>
      <a:defRPr sz="1943" kern="1200">
        <a:solidFill>
          <a:schemeClr val="tx1"/>
        </a:solidFill>
        <a:latin typeface="Arial" charset="0"/>
        <a:ea typeface="+mn-ea"/>
        <a:cs typeface="+mn-cs"/>
      </a:defRPr>
    </a:lvl4pPr>
    <a:lvl5pPr marL="2221260" algn="l" rtl="0" fontAlgn="base">
      <a:spcBef>
        <a:spcPct val="0"/>
      </a:spcBef>
      <a:spcAft>
        <a:spcPct val="0"/>
      </a:spcAft>
      <a:defRPr sz="1943" kern="1200">
        <a:solidFill>
          <a:schemeClr val="tx1"/>
        </a:solidFill>
        <a:latin typeface="Arial" charset="0"/>
        <a:ea typeface="+mn-ea"/>
        <a:cs typeface="+mn-cs"/>
      </a:defRPr>
    </a:lvl5pPr>
    <a:lvl6pPr marL="2776576" algn="l" defTabSz="1110630" rtl="0" eaLnBrk="1" latinLnBrk="0" hangingPunct="1">
      <a:defRPr sz="1943" kern="1200">
        <a:solidFill>
          <a:schemeClr val="tx1"/>
        </a:solidFill>
        <a:latin typeface="Arial" charset="0"/>
        <a:ea typeface="+mn-ea"/>
        <a:cs typeface="+mn-cs"/>
      </a:defRPr>
    </a:lvl6pPr>
    <a:lvl7pPr marL="3331891" algn="l" defTabSz="1110630" rtl="0" eaLnBrk="1" latinLnBrk="0" hangingPunct="1">
      <a:defRPr sz="1943" kern="1200">
        <a:solidFill>
          <a:schemeClr val="tx1"/>
        </a:solidFill>
        <a:latin typeface="Arial" charset="0"/>
        <a:ea typeface="+mn-ea"/>
        <a:cs typeface="+mn-cs"/>
      </a:defRPr>
    </a:lvl7pPr>
    <a:lvl8pPr marL="3887206" algn="l" defTabSz="1110630" rtl="0" eaLnBrk="1" latinLnBrk="0" hangingPunct="1">
      <a:defRPr sz="1943" kern="1200">
        <a:solidFill>
          <a:schemeClr val="tx1"/>
        </a:solidFill>
        <a:latin typeface="Arial" charset="0"/>
        <a:ea typeface="+mn-ea"/>
        <a:cs typeface="+mn-cs"/>
      </a:defRPr>
    </a:lvl8pPr>
    <a:lvl9pPr marL="4442521" algn="l" defTabSz="1110630" rtl="0" eaLnBrk="1" latinLnBrk="0" hangingPunct="1">
      <a:defRPr sz="1943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3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E9042"/>
    <a:srgbClr val="73AF51"/>
    <a:srgbClr val="1251B1"/>
    <a:srgbClr val="E38008"/>
    <a:srgbClr val="0B5D7F"/>
    <a:srgbClr val="1081AD"/>
    <a:srgbClr val="0D6F95"/>
    <a:srgbClr val="085C7C"/>
    <a:srgbClr val="E6E6E6"/>
    <a:srgbClr val="E9E9E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3250" autoAdjust="0"/>
    <p:restoredTop sz="93969" autoAdjust="0"/>
  </p:normalViewPr>
  <p:slideViewPr>
    <p:cSldViewPr snapToGrid="0" snapToObjects="1">
      <p:cViewPr varScale="1">
        <p:scale>
          <a:sx n="69" d="100"/>
          <a:sy n="69" d="100"/>
        </p:scale>
        <p:origin x="444" y="60"/>
      </p:cViewPr>
      <p:guideLst>
        <p:guide orient="horz" pos="2160"/>
        <p:guide pos="3839"/>
      </p:guideLst>
    </p:cSldViewPr>
  </p:slideViewPr>
  <p:outlineViewPr>
    <p:cViewPr>
      <p:scale>
        <a:sx n="33" d="100"/>
        <a:sy n="33" d="100"/>
      </p:scale>
      <p:origin x="0" y="-10458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59" d="100"/>
          <a:sy n="59" d="100"/>
        </p:scale>
        <p:origin x="2472" y="90"/>
      </p:cViewPr>
      <p:guideLst>
        <p:guide orient="horz" pos="4524"/>
        <p:guide pos="3152"/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4375000000000003E-2"/>
          <c:y val="0"/>
          <c:w val="0.96562499999999996"/>
          <c:h val="0.9393907306525568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192-4014-AFAA-B6D9193C141D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E192-4014-AFAA-B6D9193C141D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192-4014-AFAA-B6D9193C141D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E192-4014-AFAA-B6D9193C141D}"/>
              </c:ext>
            </c:extLst>
          </c:dPt>
          <c:cat>
            <c:numRef>
              <c:f>Sheet1!$A$2:$A$6</c:f>
              <c:numCache>
                <c:formatCode>General</c:formatCode>
                <c:ptCount val="5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0</c:v>
                </c:pt>
                <c:pt idx="1">
                  <c:v>50</c:v>
                </c:pt>
                <c:pt idx="2">
                  <c:v>70</c:v>
                </c:pt>
                <c:pt idx="3">
                  <c:v>80</c:v>
                </c:pt>
                <c:pt idx="4">
                  <c:v>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192-4014-AFAA-B6D9193C141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6</c:f>
              <c:numCache>
                <c:formatCode>General</c:formatCode>
                <c:ptCount val="5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70</c:v>
                </c:pt>
                <c:pt idx="1">
                  <c:v>50</c:v>
                </c:pt>
                <c:pt idx="2">
                  <c:v>30</c:v>
                </c:pt>
                <c:pt idx="3">
                  <c:v>20</c:v>
                </c:pt>
                <c:pt idx="4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192-4014-AFAA-B6D9193C14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4"/>
        <c:overlap val="100"/>
        <c:axId val="790216912"/>
        <c:axId val="790218552"/>
      </c:barChart>
      <c:catAx>
        <c:axId val="790216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0218552"/>
        <c:crosses val="autoZero"/>
        <c:auto val="1"/>
        <c:lblAlgn val="ctr"/>
        <c:lblOffset val="100"/>
        <c:noMultiLvlLbl val="0"/>
      </c:catAx>
      <c:valAx>
        <c:axId val="79021855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7902169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09550" y="347663"/>
            <a:ext cx="6896100" cy="38798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10611" y="4348915"/>
            <a:ext cx="6893978" cy="1261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4264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4524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1087492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42685" indent="-140758" algn="l" defTabSz="1087492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64426" indent="-219812" algn="l" defTabSz="1087492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518680" indent="-152327" algn="l" defTabSz="1087492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659437" indent="-138829" algn="l" defTabSz="1087492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776576" algn="l" defTabSz="1110630" rtl="0" eaLnBrk="1" latinLnBrk="0" hangingPunct="1">
      <a:defRPr sz="1458" kern="1200">
        <a:solidFill>
          <a:schemeClr val="tx1"/>
        </a:solidFill>
        <a:latin typeface="+mn-lt"/>
        <a:ea typeface="+mn-ea"/>
        <a:cs typeface="+mn-cs"/>
      </a:defRPr>
    </a:lvl6pPr>
    <a:lvl7pPr marL="3331891" algn="l" defTabSz="1110630" rtl="0" eaLnBrk="1" latinLnBrk="0" hangingPunct="1">
      <a:defRPr sz="1458" kern="1200">
        <a:solidFill>
          <a:schemeClr val="tx1"/>
        </a:solidFill>
        <a:latin typeface="+mn-lt"/>
        <a:ea typeface="+mn-ea"/>
        <a:cs typeface="+mn-cs"/>
      </a:defRPr>
    </a:lvl7pPr>
    <a:lvl8pPr marL="3887206" algn="l" defTabSz="1110630" rtl="0" eaLnBrk="1" latinLnBrk="0" hangingPunct="1">
      <a:defRPr sz="1458" kern="1200">
        <a:solidFill>
          <a:schemeClr val="tx1"/>
        </a:solidFill>
        <a:latin typeface="+mn-lt"/>
        <a:ea typeface="+mn-ea"/>
        <a:cs typeface="+mn-cs"/>
      </a:defRPr>
    </a:lvl8pPr>
    <a:lvl9pPr marL="4442521" algn="l" defTabSz="1110630" rtl="0" eaLnBrk="1" latinLnBrk="0" hangingPunct="1">
      <a:defRPr sz="145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slidemodel.com/" TargetMode="External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47022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23884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sz="100"/>
              <a:t>Image source: https://www.pexels.com/photo/person-using-macbook-374720/</a:t>
            </a:r>
          </a:p>
          <a:p>
            <a:endParaRPr lang="en-IN" sz="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0417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You can safely remove this slide. This slide</a:t>
            </a:r>
            <a:r>
              <a:rPr lang="en-US" baseline="0" dirty="0"/>
              <a:t> design was provided by SlideModel.com – You can download more templates, shapes and elements for PowerPoint from </a:t>
            </a:r>
            <a:r>
              <a:rPr lang="en-US" dirty="0">
                <a:hlinkClick r:id="rId3"/>
              </a:rPr>
              <a:t>http://slidemodel.com/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2D21D1-52E2-420B-B491-CFF6D7BB79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5798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You can safely remove this slide. This slide</a:t>
            </a:r>
            <a:r>
              <a:rPr lang="en-US" baseline="0"/>
              <a:t> design was provided by SlideModel.com – You can download more templates, shapes and elements for PowerPoint from http://slidemodel.com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46254F-9338-4BA9-B7AC-A66622A3D013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83722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B494D4A5-F03E-4980-A019-AA27194815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84" b="184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3273389"/>
              </p:ext>
            </p:ext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72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ocument type" hidden="1"/>
          <p:cNvSpPr txBox="1">
            <a:spLocks noChangeArrowheads="1"/>
          </p:cNvSpPr>
          <p:nvPr userDrawn="1"/>
        </p:nvSpPr>
        <p:spPr bwMode="auto">
          <a:xfrm>
            <a:off x="595162" y="1858542"/>
            <a:ext cx="690895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="0" baseline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7C010C59-D0F4-4FE8-88B7-4FF5E14B067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1429139 w 12192000"/>
              <a:gd name="connsiteY0" fmla="*/ 6161467 h 6858000"/>
              <a:gd name="connsiteX1" fmla="*/ 1102568 w 12192000"/>
              <a:gd name="connsiteY1" fmla="*/ 6488038 h 6858000"/>
              <a:gd name="connsiteX2" fmla="*/ 1429139 w 12192000"/>
              <a:gd name="connsiteY2" fmla="*/ 6814609 h 6858000"/>
              <a:gd name="connsiteX3" fmla="*/ 1755710 w 12192000"/>
              <a:gd name="connsiteY3" fmla="*/ 6488038 h 6858000"/>
              <a:gd name="connsiteX4" fmla="*/ 1429139 w 12192000"/>
              <a:gd name="connsiteY4" fmla="*/ 6161467 h 6858000"/>
              <a:gd name="connsiteX5" fmla="*/ 8162314 w 12192000"/>
              <a:gd name="connsiteY5" fmla="*/ 5649061 h 6858000"/>
              <a:gd name="connsiteX6" fmla="*/ 8036905 w 12192000"/>
              <a:gd name="connsiteY6" fmla="*/ 5701007 h 6858000"/>
              <a:gd name="connsiteX7" fmla="*/ 7335995 w 12192000"/>
              <a:gd name="connsiteY7" fmla="*/ 6401917 h 6858000"/>
              <a:gd name="connsiteX8" fmla="*/ 7335995 w 12192000"/>
              <a:gd name="connsiteY8" fmla="*/ 6652735 h 6858000"/>
              <a:gd name="connsiteX9" fmla="*/ 7357954 w 12192000"/>
              <a:gd name="connsiteY9" fmla="*/ 6674694 h 6858000"/>
              <a:gd name="connsiteX10" fmla="*/ 7608772 w 12192000"/>
              <a:gd name="connsiteY10" fmla="*/ 6674694 h 6858000"/>
              <a:gd name="connsiteX11" fmla="*/ 8309682 w 12192000"/>
              <a:gd name="connsiteY11" fmla="*/ 5973784 h 6858000"/>
              <a:gd name="connsiteX12" fmla="*/ 8309682 w 12192000"/>
              <a:gd name="connsiteY12" fmla="*/ 5722966 h 6858000"/>
              <a:gd name="connsiteX13" fmla="*/ 8287723 w 12192000"/>
              <a:gd name="connsiteY13" fmla="*/ 5701007 h 6858000"/>
              <a:gd name="connsiteX14" fmla="*/ 8162314 w 12192000"/>
              <a:gd name="connsiteY14" fmla="*/ 5649061 h 6858000"/>
              <a:gd name="connsiteX15" fmla="*/ 899628 w 12192000"/>
              <a:gd name="connsiteY15" fmla="*/ 5446562 h 6858000"/>
              <a:gd name="connsiteX16" fmla="*/ 573057 w 12192000"/>
              <a:gd name="connsiteY16" fmla="*/ 5773133 h 6858000"/>
              <a:gd name="connsiteX17" fmla="*/ 899628 w 12192000"/>
              <a:gd name="connsiteY17" fmla="*/ 6099704 h 6858000"/>
              <a:gd name="connsiteX18" fmla="*/ 1226199 w 12192000"/>
              <a:gd name="connsiteY18" fmla="*/ 5773133 h 6858000"/>
              <a:gd name="connsiteX19" fmla="*/ 899628 w 12192000"/>
              <a:gd name="connsiteY19" fmla="*/ 5446562 h 6858000"/>
              <a:gd name="connsiteX20" fmla="*/ 370117 w 12192000"/>
              <a:gd name="connsiteY20" fmla="*/ 4731656 h 6858000"/>
              <a:gd name="connsiteX21" fmla="*/ 43547 w 12192000"/>
              <a:gd name="connsiteY21" fmla="*/ 5058227 h 6858000"/>
              <a:gd name="connsiteX22" fmla="*/ 370117 w 12192000"/>
              <a:gd name="connsiteY22" fmla="*/ 5384798 h 6858000"/>
              <a:gd name="connsiteX23" fmla="*/ 696689 w 12192000"/>
              <a:gd name="connsiteY23" fmla="*/ 5058227 h 6858000"/>
              <a:gd name="connsiteX24" fmla="*/ 370117 w 12192000"/>
              <a:gd name="connsiteY24" fmla="*/ 4731656 h 6858000"/>
              <a:gd name="connsiteX25" fmla="*/ 8139025 w 12192000"/>
              <a:gd name="connsiteY25" fmla="*/ 4569563 h 6858000"/>
              <a:gd name="connsiteX26" fmla="*/ 8013616 w 12192000"/>
              <a:gd name="connsiteY26" fmla="*/ 4621508 h 6858000"/>
              <a:gd name="connsiteX27" fmla="*/ 6236292 w 12192000"/>
              <a:gd name="connsiteY27" fmla="*/ 6398833 h 6858000"/>
              <a:gd name="connsiteX28" fmla="*/ 6236292 w 12192000"/>
              <a:gd name="connsiteY28" fmla="*/ 6649651 h 6858000"/>
              <a:gd name="connsiteX29" fmla="*/ 6258251 w 12192000"/>
              <a:gd name="connsiteY29" fmla="*/ 6671610 h 6858000"/>
              <a:gd name="connsiteX30" fmla="*/ 6509069 w 12192000"/>
              <a:gd name="connsiteY30" fmla="*/ 6671610 h 6858000"/>
              <a:gd name="connsiteX31" fmla="*/ 8286393 w 12192000"/>
              <a:gd name="connsiteY31" fmla="*/ 4894285 h 6858000"/>
              <a:gd name="connsiteX32" fmla="*/ 8286393 w 12192000"/>
              <a:gd name="connsiteY32" fmla="*/ 4643467 h 6858000"/>
              <a:gd name="connsiteX33" fmla="*/ 8264434 w 12192000"/>
              <a:gd name="connsiteY33" fmla="*/ 4621508 h 6858000"/>
              <a:gd name="connsiteX34" fmla="*/ 8139025 w 12192000"/>
              <a:gd name="connsiteY34" fmla="*/ 4569563 h 6858000"/>
              <a:gd name="connsiteX35" fmla="*/ 7618325 w 12192000"/>
              <a:gd name="connsiteY35" fmla="*/ 3939483 h 6858000"/>
              <a:gd name="connsiteX36" fmla="*/ 7492916 w 12192000"/>
              <a:gd name="connsiteY36" fmla="*/ 3991429 h 6858000"/>
              <a:gd name="connsiteX37" fmla="*/ 5016683 w 12192000"/>
              <a:gd name="connsiteY37" fmla="*/ 6467663 h 6858000"/>
              <a:gd name="connsiteX38" fmla="*/ 5016683 w 12192000"/>
              <a:gd name="connsiteY38" fmla="*/ 6718481 h 6858000"/>
              <a:gd name="connsiteX39" fmla="*/ 5038642 w 12192000"/>
              <a:gd name="connsiteY39" fmla="*/ 6740440 h 6858000"/>
              <a:gd name="connsiteX40" fmla="*/ 5289460 w 12192000"/>
              <a:gd name="connsiteY40" fmla="*/ 6740440 h 6858000"/>
              <a:gd name="connsiteX41" fmla="*/ 7765693 w 12192000"/>
              <a:gd name="connsiteY41" fmla="*/ 4264206 h 6858000"/>
              <a:gd name="connsiteX42" fmla="*/ 7765693 w 12192000"/>
              <a:gd name="connsiteY42" fmla="*/ 4013388 h 6858000"/>
              <a:gd name="connsiteX43" fmla="*/ 7743734 w 12192000"/>
              <a:gd name="connsiteY43" fmla="*/ 3991429 h 6858000"/>
              <a:gd name="connsiteX44" fmla="*/ 7618325 w 12192000"/>
              <a:gd name="connsiteY44" fmla="*/ 3939483 h 6858000"/>
              <a:gd name="connsiteX45" fmla="*/ 10089754 w 12192000"/>
              <a:gd name="connsiteY45" fmla="*/ 3704146 h 6858000"/>
              <a:gd name="connsiteX46" fmla="*/ 9964345 w 12192000"/>
              <a:gd name="connsiteY46" fmla="*/ 3756091 h 6858000"/>
              <a:gd name="connsiteX47" fmla="*/ 8460165 w 12192000"/>
              <a:gd name="connsiteY47" fmla="*/ 5260272 h 6858000"/>
              <a:gd name="connsiteX48" fmla="*/ 8460165 w 12192000"/>
              <a:gd name="connsiteY48" fmla="*/ 5511090 h 6858000"/>
              <a:gd name="connsiteX49" fmla="*/ 8482124 w 12192000"/>
              <a:gd name="connsiteY49" fmla="*/ 5533049 h 6858000"/>
              <a:gd name="connsiteX50" fmla="*/ 8732942 w 12192000"/>
              <a:gd name="connsiteY50" fmla="*/ 5533049 h 6858000"/>
              <a:gd name="connsiteX51" fmla="*/ 10237122 w 12192000"/>
              <a:gd name="connsiteY51" fmla="*/ 4028868 h 6858000"/>
              <a:gd name="connsiteX52" fmla="*/ 10237122 w 12192000"/>
              <a:gd name="connsiteY52" fmla="*/ 3778051 h 6858000"/>
              <a:gd name="connsiteX53" fmla="*/ 10215163 w 12192000"/>
              <a:gd name="connsiteY53" fmla="*/ 3756091 h 6858000"/>
              <a:gd name="connsiteX54" fmla="*/ 10089754 w 12192000"/>
              <a:gd name="connsiteY54" fmla="*/ 3704146 h 6858000"/>
              <a:gd name="connsiteX55" fmla="*/ 10041065 w 12192000"/>
              <a:gd name="connsiteY55" fmla="*/ 2624647 h 6858000"/>
              <a:gd name="connsiteX56" fmla="*/ 9915656 w 12192000"/>
              <a:gd name="connsiteY56" fmla="*/ 2676593 h 6858000"/>
              <a:gd name="connsiteX57" fmla="*/ 8411476 w 12192000"/>
              <a:gd name="connsiteY57" fmla="*/ 4180773 h 6858000"/>
              <a:gd name="connsiteX58" fmla="*/ 8411476 w 12192000"/>
              <a:gd name="connsiteY58" fmla="*/ 4431591 h 6858000"/>
              <a:gd name="connsiteX59" fmla="*/ 8433435 w 12192000"/>
              <a:gd name="connsiteY59" fmla="*/ 4453550 h 6858000"/>
              <a:gd name="connsiteX60" fmla="*/ 8684253 w 12192000"/>
              <a:gd name="connsiteY60" fmla="*/ 4453550 h 6858000"/>
              <a:gd name="connsiteX61" fmla="*/ 10188433 w 12192000"/>
              <a:gd name="connsiteY61" fmla="*/ 2949370 h 6858000"/>
              <a:gd name="connsiteX62" fmla="*/ 10188433 w 12192000"/>
              <a:gd name="connsiteY62" fmla="*/ 2698552 h 6858000"/>
              <a:gd name="connsiteX63" fmla="*/ 10166474 w 12192000"/>
              <a:gd name="connsiteY63" fmla="*/ 2676593 h 6858000"/>
              <a:gd name="connsiteX64" fmla="*/ 10041065 w 12192000"/>
              <a:gd name="connsiteY64" fmla="*/ 2624647 h 6858000"/>
              <a:gd name="connsiteX65" fmla="*/ 9520364 w 12192000"/>
              <a:gd name="connsiteY65" fmla="*/ 1994569 h 6858000"/>
              <a:gd name="connsiteX66" fmla="*/ 9394955 w 12192000"/>
              <a:gd name="connsiteY66" fmla="*/ 2046515 h 6858000"/>
              <a:gd name="connsiteX67" fmla="*/ 7890775 w 12192000"/>
              <a:gd name="connsiteY67" fmla="*/ 3550695 h 6858000"/>
              <a:gd name="connsiteX68" fmla="*/ 7890775 w 12192000"/>
              <a:gd name="connsiteY68" fmla="*/ 3801513 h 6858000"/>
              <a:gd name="connsiteX69" fmla="*/ 7912734 w 12192000"/>
              <a:gd name="connsiteY69" fmla="*/ 3823472 h 6858000"/>
              <a:gd name="connsiteX70" fmla="*/ 8163552 w 12192000"/>
              <a:gd name="connsiteY70" fmla="*/ 3823472 h 6858000"/>
              <a:gd name="connsiteX71" fmla="*/ 9667732 w 12192000"/>
              <a:gd name="connsiteY71" fmla="*/ 2319292 h 6858000"/>
              <a:gd name="connsiteX72" fmla="*/ 9667732 w 12192000"/>
              <a:gd name="connsiteY72" fmla="*/ 2068475 h 6858000"/>
              <a:gd name="connsiteX73" fmla="*/ 9645773 w 12192000"/>
              <a:gd name="connsiteY73" fmla="*/ 2046515 h 6858000"/>
              <a:gd name="connsiteX74" fmla="*/ 9520364 w 12192000"/>
              <a:gd name="connsiteY74" fmla="*/ 1994569 h 6858000"/>
              <a:gd name="connsiteX75" fmla="*/ 11974643 w 12192000"/>
              <a:gd name="connsiteY75" fmla="*/ 1766977 h 6858000"/>
              <a:gd name="connsiteX76" fmla="*/ 11849234 w 12192000"/>
              <a:gd name="connsiteY76" fmla="*/ 1818923 h 6858000"/>
              <a:gd name="connsiteX77" fmla="*/ 10345054 w 12192000"/>
              <a:gd name="connsiteY77" fmla="*/ 3323103 h 6858000"/>
              <a:gd name="connsiteX78" fmla="*/ 10345054 w 12192000"/>
              <a:gd name="connsiteY78" fmla="*/ 3573920 h 6858000"/>
              <a:gd name="connsiteX79" fmla="*/ 10367013 w 12192000"/>
              <a:gd name="connsiteY79" fmla="*/ 3595879 h 6858000"/>
              <a:gd name="connsiteX80" fmla="*/ 10617831 w 12192000"/>
              <a:gd name="connsiteY80" fmla="*/ 3595879 h 6858000"/>
              <a:gd name="connsiteX81" fmla="*/ 12122011 w 12192000"/>
              <a:gd name="connsiteY81" fmla="*/ 2091700 h 6858000"/>
              <a:gd name="connsiteX82" fmla="*/ 12122011 w 12192000"/>
              <a:gd name="connsiteY82" fmla="*/ 1840882 h 6858000"/>
              <a:gd name="connsiteX83" fmla="*/ 12100052 w 12192000"/>
              <a:gd name="connsiteY83" fmla="*/ 1818923 h 6858000"/>
              <a:gd name="connsiteX84" fmla="*/ 11974643 w 12192000"/>
              <a:gd name="connsiteY84" fmla="*/ 1766977 h 6858000"/>
              <a:gd name="connsiteX85" fmla="*/ 4017223 w 12192000"/>
              <a:gd name="connsiteY85" fmla="*/ 734456 h 6858000"/>
              <a:gd name="connsiteX86" fmla="*/ 3560024 w 12192000"/>
              <a:gd name="connsiteY86" fmla="*/ 1191656 h 6858000"/>
              <a:gd name="connsiteX87" fmla="*/ 4017223 w 12192000"/>
              <a:gd name="connsiteY87" fmla="*/ 1648856 h 6858000"/>
              <a:gd name="connsiteX88" fmla="*/ 4474421 w 12192000"/>
              <a:gd name="connsiteY88" fmla="*/ 1191656 h 6858000"/>
              <a:gd name="connsiteX89" fmla="*/ 5708917 w 12192000"/>
              <a:gd name="connsiteY89" fmla="*/ 734456 h 6858000"/>
              <a:gd name="connsiteX90" fmla="*/ 5251717 w 12192000"/>
              <a:gd name="connsiteY90" fmla="*/ 1191656 h 6858000"/>
              <a:gd name="connsiteX91" fmla="*/ 5708917 w 12192000"/>
              <a:gd name="connsiteY91" fmla="*/ 1648856 h 6858000"/>
              <a:gd name="connsiteX92" fmla="*/ 6166116 w 12192000"/>
              <a:gd name="connsiteY92" fmla="*/ 1191656 h 6858000"/>
              <a:gd name="connsiteX93" fmla="*/ 7400612 w 12192000"/>
              <a:gd name="connsiteY93" fmla="*/ 734455 h 6858000"/>
              <a:gd name="connsiteX94" fmla="*/ 6943412 w 12192000"/>
              <a:gd name="connsiteY94" fmla="*/ 1191656 h 6858000"/>
              <a:gd name="connsiteX95" fmla="*/ 7400612 w 12192000"/>
              <a:gd name="connsiteY95" fmla="*/ 1648856 h 6858000"/>
              <a:gd name="connsiteX96" fmla="*/ 7857812 w 12192000"/>
              <a:gd name="connsiteY96" fmla="*/ 1191656 h 6858000"/>
              <a:gd name="connsiteX97" fmla="*/ 9092308 w 12192000"/>
              <a:gd name="connsiteY97" fmla="*/ 734455 h 6858000"/>
              <a:gd name="connsiteX98" fmla="*/ 8635108 w 12192000"/>
              <a:gd name="connsiteY98" fmla="*/ 1191655 h 6858000"/>
              <a:gd name="connsiteX99" fmla="*/ 9092308 w 12192000"/>
              <a:gd name="connsiteY99" fmla="*/ 1648855 h 6858000"/>
              <a:gd name="connsiteX100" fmla="*/ 9549508 w 12192000"/>
              <a:gd name="connsiteY100" fmla="*/ 1191655 h 6858000"/>
              <a:gd name="connsiteX101" fmla="*/ 11938654 w 12192000"/>
              <a:gd name="connsiteY101" fmla="*/ 725578 h 6858000"/>
              <a:gd name="connsiteX102" fmla="*/ 11813245 w 12192000"/>
              <a:gd name="connsiteY102" fmla="*/ 777523 h 6858000"/>
              <a:gd name="connsiteX103" fmla="*/ 10309065 w 12192000"/>
              <a:gd name="connsiteY103" fmla="*/ 2281704 h 6858000"/>
              <a:gd name="connsiteX104" fmla="*/ 10309065 w 12192000"/>
              <a:gd name="connsiteY104" fmla="*/ 2532522 h 6858000"/>
              <a:gd name="connsiteX105" fmla="*/ 10331024 w 12192000"/>
              <a:gd name="connsiteY105" fmla="*/ 2554481 h 6858000"/>
              <a:gd name="connsiteX106" fmla="*/ 10581842 w 12192000"/>
              <a:gd name="connsiteY106" fmla="*/ 2554481 h 6858000"/>
              <a:gd name="connsiteX107" fmla="*/ 12086022 w 12192000"/>
              <a:gd name="connsiteY107" fmla="*/ 1050300 h 6858000"/>
              <a:gd name="connsiteX108" fmla="*/ 12086022 w 12192000"/>
              <a:gd name="connsiteY108" fmla="*/ 799483 h 6858000"/>
              <a:gd name="connsiteX109" fmla="*/ 12064063 w 12192000"/>
              <a:gd name="connsiteY109" fmla="*/ 777523 h 6858000"/>
              <a:gd name="connsiteX110" fmla="*/ 11938654 w 12192000"/>
              <a:gd name="connsiteY110" fmla="*/ 725578 h 6858000"/>
              <a:gd name="connsiteX111" fmla="*/ 11405253 w 12192000"/>
              <a:gd name="connsiteY111" fmla="*/ 57401 h 6858000"/>
              <a:gd name="connsiteX112" fmla="*/ 11279844 w 12192000"/>
              <a:gd name="connsiteY112" fmla="*/ 109347 h 6858000"/>
              <a:gd name="connsiteX113" fmla="*/ 9775664 w 12192000"/>
              <a:gd name="connsiteY113" fmla="*/ 1613528 h 6858000"/>
              <a:gd name="connsiteX114" fmla="*/ 9775664 w 12192000"/>
              <a:gd name="connsiteY114" fmla="*/ 1864346 h 6858000"/>
              <a:gd name="connsiteX115" fmla="*/ 9797623 w 12192000"/>
              <a:gd name="connsiteY115" fmla="*/ 1886305 h 6858000"/>
              <a:gd name="connsiteX116" fmla="*/ 10048441 w 12192000"/>
              <a:gd name="connsiteY116" fmla="*/ 1886305 h 6858000"/>
              <a:gd name="connsiteX117" fmla="*/ 11552621 w 12192000"/>
              <a:gd name="connsiteY117" fmla="*/ 382124 h 6858000"/>
              <a:gd name="connsiteX118" fmla="*/ 11552621 w 12192000"/>
              <a:gd name="connsiteY118" fmla="*/ 131306 h 6858000"/>
              <a:gd name="connsiteX119" fmla="*/ 11530662 w 12192000"/>
              <a:gd name="connsiteY119" fmla="*/ 109347 h 6858000"/>
              <a:gd name="connsiteX120" fmla="*/ 11405253 w 12192000"/>
              <a:gd name="connsiteY120" fmla="*/ 57401 h 6858000"/>
              <a:gd name="connsiteX121" fmla="*/ 4 w 12192000"/>
              <a:gd name="connsiteY121" fmla="*/ 2 h 6858000"/>
              <a:gd name="connsiteX122" fmla="*/ 4 w 12192000"/>
              <a:gd name="connsiteY122" fmla="*/ 3090502 h 6858000"/>
              <a:gd name="connsiteX123" fmla="*/ 3090503 w 12192000"/>
              <a:gd name="connsiteY123" fmla="*/ 2 h 6858000"/>
              <a:gd name="connsiteX124" fmla="*/ 3171376 w 12192000"/>
              <a:gd name="connsiteY124" fmla="*/ 2 h 6858000"/>
              <a:gd name="connsiteX125" fmla="*/ 2714176 w 12192000"/>
              <a:gd name="connsiteY125" fmla="*/ 457202 h 6858000"/>
              <a:gd name="connsiteX126" fmla="*/ 3171376 w 12192000"/>
              <a:gd name="connsiteY126" fmla="*/ 914402 h 6858000"/>
              <a:gd name="connsiteX127" fmla="*/ 3628576 w 12192000"/>
              <a:gd name="connsiteY127" fmla="*/ 457202 h 6858000"/>
              <a:gd name="connsiteX128" fmla="*/ 4863069 w 12192000"/>
              <a:gd name="connsiteY128" fmla="*/ 2 h 6858000"/>
              <a:gd name="connsiteX129" fmla="*/ 4405869 w 12192000"/>
              <a:gd name="connsiteY129" fmla="*/ 457202 h 6858000"/>
              <a:gd name="connsiteX130" fmla="*/ 4863069 w 12192000"/>
              <a:gd name="connsiteY130" fmla="*/ 914402 h 6858000"/>
              <a:gd name="connsiteX131" fmla="*/ 5320269 w 12192000"/>
              <a:gd name="connsiteY131" fmla="*/ 457202 h 6858000"/>
              <a:gd name="connsiteX132" fmla="*/ 6554764 w 12192000"/>
              <a:gd name="connsiteY132" fmla="*/ 2 h 6858000"/>
              <a:gd name="connsiteX133" fmla="*/ 6097564 w 12192000"/>
              <a:gd name="connsiteY133" fmla="*/ 457201 h 6858000"/>
              <a:gd name="connsiteX134" fmla="*/ 6554764 w 12192000"/>
              <a:gd name="connsiteY134" fmla="*/ 914401 h 6858000"/>
              <a:gd name="connsiteX135" fmla="*/ 7011964 w 12192000"/>
              <a:gd name="connsiteY135" fmla="*/ 457201 h 6858000"/>
              <a:gd name="connsiteX136" fmla="*/ 8246460 w 12192000"/>
              <a:gd name="connsiteY136" fmla="*/ 1 h 6858000"/>
              <a:gd name="connsiteX137" fmla="*/ 7789260 w 12192000"/>
              <a:gd name="connsiteY137" fmla="*/ 457201 h 6858000"/>
              <a:gd name="connsiteX138" fmla="*/ 8246460 w 12192000"/>
              <a:gd name="connsiteY138" fmla="*/ 914401 h 6858000"/>
              <a:gd name="connsiteX139" fmla="*/ 8703660 w 12192000"/>
              <a:gd name="connsiteY139" fmla="*/ 457201 h 6858000"/>
              <a:gd name="connsiteX140" fmla="*/ 9938152 w 12192000"/>
              <a:gd name="connsiteY140" fmla="*/ 1 h 6858000"/>
              <a:gd name="connsiteX141" fmla="*/ 9480952 w 12192000"/>
              <a:gd name="connsiteY141" fmla="*/ 457201 h 6858000"/>
              <a:gd name="connsiteX142" fmla="*/ 9938152 w 12192000"/>
              <a:gd name="connsiteY142" fmla="*/ 914401 h 6858000"/>
              <a:gd name="connsiteX143" fmla="*/ 10395352 w 12192000"/>
              <a:gd name="connsiteY143" fmla="*/ 457201 h 6858000"/>
              <a:gd name="connsiteX144" fmla="*/ 0 w 12192000"/>
              <a:gd name="connsiteY144" fmla="*/ 0 h 6858000"/>
              <a:gd name="connsiteX145" fmla="*/ 12192000 w 12192000"/>
              <a:gd name="connsiteY145" fmla="*/ 0 h 6858000"/>
              <a:gd name="connsiteX146" fmla="*/ 12192000 w 12192000"/>
              <a:gd name="connsiteY146" fmla="*/ 2431144 h 6858000"/>
              <a:gd name="connsiteX147" fmla="*/ 7765144 w 12192000"/>
              <a:gd name="connsiteY147" fmla="*/ 6858000 h 6858000"/>
              <a:gd name="connsiteX148" fmla="*/ 0 w 12192000"/>
              <a:gd name="connsiteY14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</a:cxnLst>
            <a:rect l="l" t="t" r="r" b="b"/>
            <a:pathLst>
              <a:path w="12192000" h="6858000">
                <a:moveTo>
                  <a:pt x="1429139" y="6161467"/>
                </a:moveTo>
                <a:cubicBezTo>
                  <a:pt x="1248779" y="6161467"/>
                  <a:pt x="1102568" y="6307678"/>
                  <a:pt x="1102568" y="6488038"/>
                </a:cubicBezTo>
                <a:cubicBezTo>
                  <a:pt x="1102568" y="6668398"/>
                  <a:pt x="1248779" y="6814609"/>
                  <a:pt x="1429139" y="6814609"/>
                </a:cubicBezTo>
                <a:cubicBezTo>
                  <a:pt x="1609499" y="6814609"/>
                  <a:pt x="1755710" y="6668398"/>
                  <a:pt x="1755710" y="6488038"/>
                </a:cubicBezTo>
                <a:cubicBezTo>
                  <a:pt x="1755710" y="6307678"/>
                  <a:pt x="1609499" y="6161467"/>
                  <a:pt x="1429139" y="6161467"/>
                </a:cubicBezTo>
                <a:close/>
                <a:moveTo>
                  <a:pt x="8162314" y="5649061"/>
                </a:moveTo>
                <a:cubicBezTo>
                  <a:pt x="8116925" y="5649061"/>
                  <a:pt x="8071536" y="5666376"/>
                  <a:pt x="8036905" y="5701007"/>
                </a:cubicBezTo>
                <a:lnTo>
                  <a:pt x="7335995" y="6401917"/>
                </a:lnTo>
                <a:cubicBezTo>
                  <a:pt x="7266734" y="6471179"/>
                  <a:pt x="7266734" y="6583474"/>
                  <a:pt x="7335995" y="6652735"/>
                </a:cubicBezTo>
                <a:lnTo>
                  <a:pt x="7357954" y="6674694"/>
                </a:lnTo>
                <a:cubicBezTo>
                  <a:pt x="7427215" y="6743956"/>
                  <a:pt x="7539511" y="6743956"/>
                  <a:pt x="7608772" y="6674694"/>
                </a:cubicBezTo>
                <a:lnTo>
                  <a:pt x="8309682" y="5973784"/>
                </a:lnTo>
                <a:cubicBezTo>
                  <a:pt x="8378944" y="5904522"/>
                  <a:pt x="8378944" y="5792227"/>
                  <a:pt x="8309682" y="5722966"/>
                </a:cubicBezTo>
                <a:lnTo>
                  <a:pt x="8287723" y="5701007"/>
                </a:lnTo>
                <a:cubicBezTo>
                  <a:pt x="8253093" y="5666376"/>
                  <a:pt x="8207704" y="5649061"/>
                  <a:pt x="8162314" y="5649061"/>
                </a:cubicBezTo>
                <a:close/>
                <a:moveTo>
                  <a:pt x="899628" y="5446562"/>
                </a:moveTo>
                <a:cubicBezTo>
                  <a:pt x="719268" y="5446562"/>
                  <a:pt x="573057" y="5592773"/>
                  <a:pt x="573057" y="5773133"/>
                </a:cubicBezTo>
                <a:cubicBezTo>
                  <a:pt x="573057" y="5953493"/>
                  <a:pt x="719268" y="6099704"/>
                  <a:pt x="899628" y="6099704"/>
                </a:cubicBezTo>
                <a:cubicBezTo>
                  <a:pt x="1079988" y="6099704"/>
                  <a:pt x="1226199" y="5953493"/>
                  <a:pt x="1226199" y="5773133"/>
                </a:cubicBezTo>
                <a:cubicBezTo>
                  <a:pt x="1226199" y="5592773"/>
                  <a:pt x="1079988" y="5446562"/>
                  <a:pt x="899628" y="5446562"/>
                </a:cubicBezTo>
                <a:close/>
                <a:moveTo>
                  <a:pt x="370117" y="4731656"/>
                </a:moveTo>
                <a:cubicBezTo>
                  <a:pt x="189758" y="4731656"/>
                  <a:pt x="43547" y="4877867"/>
                  <a:pt x="43547" y="5058227"/>
                </a:cubicBezTo>
                <a:cubicBezTo>
                  <a:pt x="43547" y="5238587"/>
                  <a:pt x="189758" y="5384798"/>
                  <a:pt x="370117" y="5384798"/>
                </a:cubicBezTo>
                <a:cubicBezTo>
                  <a:pt x="550478" y="5384798"/>
                  <a:pt x="696689" y="5238587"/>
                  <a:pt x="696689" y="5058227"/>
                </a:cubicBezTo>
                <a:cubicBezTo>
                  <a:pt x="696689" y="4877867"/>
                  <a:pt x="550478" y="4731656"/>
                  <a:pt x="370117" y="4731656"/>
                </a:cubicBezTo>
                <a:close/>
                <a:moveTo>
                  <a:pt x="8139025" y="4569563"/>
                </a:moveTo>
                <a:cubicBezTo>
                  <a:pt x="8093636" y="4569563"/>
                  <a:pt x="8048247" y="4586878"/>
                  <a:pt x="8013616" y="4621508"/>
                </a:cubicBezTo>
                <a:lnTo>
                  <a:pt x="6236292" y="6398833"/>
                </a:lnTo>
                <a:cubicBezTo>
                  <a:pt x="6167031" y="6468094"/>
                  <a:pt x="6167031" y="6580390"/>
                  <a:pt x="6236292" y="6649651"/>
                </a:cubicBezTo>
                <a:lnTo>
                  <a:pt x="6258251" y="6671610"/>
                </a:lnTo>
                <a:cubicBezTo>
                  <a:pt x="6327512" y="6740871"/>
                  <a:pt x="6439808" y="6740871"/>
                  <a:pt x="6509069" y="6671610"/>
                </a:cubicBezTo>
                <a:lnTo>
                  <a:pt x="8286393" y="4894285"/>
                </a:lnTo>
                <a:cubicBezTo>
                  <a:pt x="8355654" y="4825024"/>
                  <a:pt x="8355654" y="4712728"/>
                  <a:pt x="8286393" y="4643467"/>
                </a:cubicBezTo>
                <a:lnTo>
                  <a:pt x="8264434" y="4621508"/>
                </a:lnTo>
                <a:cubicBezTo>
                  <a:pt x="8229804" y="4586878"/>
                  <a:pt x="8184415" y="4569563"/>
                  <a:pt x="8139025" y="4569563"/>
                </a:cubicBezTo>
                <a:close/>
                <a:moveTo>
                  <a:pt x="7618325" y="3939483"/>
                </a:moveTo>
                <a:cubicBezTo>
                  <a:pt x="7572936" y="3939483"/>
                  <a:pt x="7527547" y="3956798"/>
                  <a:pt x="7492916" y="3991429"/>
                </a:cubicBezTo>
                <a:lnTo>
                  <a:pt x="5016683" y="6467663"/>
                </a:lnTo>
                <a:cubicBezTo>
                  <a:pt x="4947422" y="6536924"/>
                  <a:pt x="4947422" y="6649220"/>
                  <a:pt x="5016683" y="6718481"/>
                </a:cubicBezTo>
                <a:lnTo>
                  <a:pt x="5038642" y="6740440"/>
                </a:lnTo>
                <a:cubicBezTo>
                  <a:pt x="5107903" y="6809701"/>
                  <a:pt x="5220199" y="6809701"/>
                  <a:pt x="5289460" y="6740440"/>
                </a:cubicBezTo>
                <a:lnTo>
                  <a:pt x="7765693" y="4264206"/>
                </a:lnTo>
                <a:cubicBezTo>
                  <a:pt x="7834954" y="4194945"/>
                  <a:pt x="7834954" y="4082649"/>
                  <a:pt x="7765693" y="4013388"/>
                </a:cubicBezTo>
                <a:lnTo>
                  <a:pt x="7743734" y="3991429"/>
                </a:lnTo>
                <a:cubicBezTo>
                  <a:pt x="7709103" y="3956798"/>
                  <a:pt x="7663714" y="3939483"/>
                  <a:pt x="7618325" y="3939483"/>
                </a:cubicBezTo>
                <a:close/>
                <a:moveTo>
                  <a:pt x="10089754" y="3704146"/>
                </a:moveTo>
                <a:cubicBezTo>
                  <a:pt x="10044365" y="3704146"/>
                  <a:pt x="9998976" y="3721461"/>
                  <a:pt x="9964345" y="3756091"/>
                </a:cubicBezTo>
                <a:lnTo>
                  <a:pt x="8460165" y="5260272"/>
                </a:lnTo>
                <a:cubicBezTo>
                  <a:pt x="8390903" y="5329533"/>
                  <a:pt x="8390903" y="5441829"/>
                  <a:pt x="8460165" y="5511090"/>
                </a:cubicBezTo>
                <a:lnTo>
                  <a:pt x="8482124" y="5533049"/>
                </a:lnTo>
                <a:cubicBezTo>
                  <a:pt x="8551385" y="5602310"/>
                  <a:pt x="8663680" y="5602310"/>
                  <a:pt x="8732942" y="5533049"/>
                </a:cubicBezTo>
                <a:lnTo>
                  <a:pt x="10237122" y="4028868"/>
                </a:lnTo>
                <a:cubicBezTo>
                  <a:pt x="10306384" y="3959607"/>
                  <a:pt x="10306384" y="3847312"/>
                  <a:pt x="10237122" y="3778051"/>
                </a:cubicBezTo>
                <a:lnTo>
                  <a:pt x="10215163" y="3756091"/>
                </a:lnTo>
                <a:cubicBezTo>
                  <a:pt x="10180532" y="3721461"/>
                  <a:pt x="10135144" y="3704146"/>
                  <a:pt x="10089754" y="3704146"/>
                </a:cubicBezTo>
                <a:close/>
                <a:moveTo>
                  <a:pt x="10041065" y="2624647"/>
                </a:moveTo>
                <a:cubicBezTo>
                  <a:pt x="9995676" y="2624647"/>
                  <a:pt x="9950287" y="2641962"/>
                  <a:pt x="9915656" y="2676593"/>
                </a:cubicBezTo>
                <a:lnTo>
                  <a:pt x="8411476" y="4180773"/>
                </a:lnTo>
                <a:cubicBezTo>
                  <a:pt x="8342215" y="4250034"/>
                  <a:pt x="8342215" y="4362330"/>
                  <a:pt x="8411476" y="4431591"/>
                </a:cubicBezTo>
                <a:lnTo>
                  <a:pt x="8433435" y="4453550"/>
                </a:lnTo>
                <a:cubicBezTo>
                  <a:pt x="8502696" y="4522811"/>
                  <a:pt x="8614991" y="4522811"/>
                  <a:pt x="8684253" y="4453550"/>
                </a:cubicBezTo>
                <a:lnTo>
                  <a:pt x="10188433" y="2949370"/>
                </a:lnTo>
                <a:cubicBezTo>
                  <a:pt x="10257695" y="2880109"/>
                  <a:pt x="10257695" y="2767813"/>
                  <a:pt x="10188433" y="2698552"/>
                </a:cubicBezTo>
                <a:lnTo>
                  <a:pt x="10166474" y="2676593"/>
                </a:lnTo>
                <a:cubicBezTo>
                  <a:pt x="10131844" y="2641962"/>
                  <a:pt x="10086454" y="2624647"/>
                  <a:pt x="10041065" y="2624647"/>
                </a:cubicBezTo>
                <a:close/>
                <a:moveTo>
                  <a:pt x="9520364" y="1994569"/>
                </a:moveTo>
                <a:cubicBezTo>
                  <a:pt x="9474975" y="1994569"/>
                  <a:pt x="9429586" y="2011885"/>
                  <a:pt x="9394955" y="2046515"/>
                </a:cubicBezTo>
                <a:lnTo>
                  <a:pt x="7890775" y="3550695"/>
                </a:lnTo>
                <a:cubicBezTo>
                  <a:pt x="7821514" y="3619956"/>
                  <a:pt x="7821514" y="3732252"/>
                  <a:pt x="7890775" y="3801513"/>
                </a:cubicBezTo>
                <a:lnTo>
                  <a:pt x="7912734" y="3823472"/>
                </a:lnTo>
                <a:cubicBezTo>
                  <a:pt x="7981995" y="3892733"/>
                  <a:pt x="8094291" y="3892733"/>
                  <a:pt x="8163552" y="3823472"/>
                </a:cubicBezTo>
                <a:lnTo>
                  <a:pt x="9667732" y="2319292"/>
                </a:lnTo>
                <a:cubicBezTo>
                  <a:pt x="9736994" y="2250031"/>
                  <a:pt x="9736994" y="2137735"/>
                  <a:pt x="9667732" y="2068475"/>
                </a:cubicBezTo>
                <a:lnTo>
                  <a:pt x="9645773" y="2046515"/>
                </a:lnTo>
                <a:cubicBezTo>
                  <a:pt x="9611142" y="2011885"/>
                  <a:pt x="9565753" y="1994569"/>
                  <a:pt x="9520364" y="1994569"/>
                </a:cubicBezTo>
                <a:close/>
                <a:moveTo>
                  <a:pt x="11974643" y="1766977"/>
                </a:moveTo>
                <a:cubicBezTo>
                  <a:pt x="11929254" y="1766977"/>
                  <a:pt x="11883865" y="1784292"/>
                  <a:pt x="11849234" y="1818923"/>
                </a:cubicBezTo>
                <a:lnTo>
                  <a:pt x="10345054" y="3323103"/>
                </a:lnTo>
                <a:cubicBezTo>
                  <a:pt x="10275792" y="3392364"/>
                  <a:pt x="10275792" y="3504659"/>
                  <a:pt x="10345054" y="3573920"/>
                </a:cubicBezTo>
                <a:lnTo>
                  <a:pt x="10367013" y="3595879"/>
                </a:lnTo>
                <a:cubicBezTo>
                  <a:pt x="10436274" y="3665140"/>
                  <a:pt x="10548569" y="3665140"/>
                  <a:pt x="10617831" y="3595879"/>
                </a:cubicBezTo>
                <a:lnTo>
                  <a:pt x="12122011" y="2091700"/>
                </a:lnTo>
                <a:cubicBezTo>
                  <a:pt x="12191273" y="2022439"/>
                  <a:pt x="12191273" y="1910143"/>
                  <a:pt x="12122011" y="1840882"/>
                </a:cubicBezTo>
                <a:lnTo>
                  <a:pt x="12100052" y="1818923"/>
                </a:lnTo>
                <a:cubicBezTo>
                  <a:pt x="12065422" y="1784292"/>
                  <a:pt x="12020032" y="1766977"/>
                  <a:pt x="11974643" y="1766977"/>
                </a:cubicBezTo>
                <a:close/>
                <a:moveTo>
                  <a:pt x="4017223" y="734456"/>
                </a:moveTo>
                <a:lnTo>
                  <a:pt x="3560024" y="1191656"/>
                </a:lnTo>
                <a:lnTo>
                  <a:pt x="4017223" y="1648856"/>
                </a:lnTo>
                <a:lnTo>
                  <a:pt x="4474421" y="1191656"/>
                </a:lnTo>
                <a:close/>
                <a:moveTo>
                  <a:pt x="5708917" y="734456"/>
                </a:moveTo>
                <a:lnTo>
                  <a:pt x="5251717" y="1191656"/>
                </a:lnTo>
                <a:lnTo>
                  <a:pt x="5708917" y="1648856"/>
                </a:lnTo>
                <a:lnTo>
                  <a:pt x="6166116" y="1191656"/>
                </a:lnTo>
                <a:close/>
                <a:moveTo>
                  <a:pt x="7400612" y="734455"/>
                </a:moveTo>
                <a:lnTo>
                  <a:pt x="6943412" y="1191656"/>
                </a:lnTo>
                <a:lnTo>
                  <a:pt x="7400612" y="1648856"/>
                </a:lnTo>
                <a:lnTo>
                  <a:pt x="7857812" y="1191656"/>
                </a:lnTo>
                <a:close/>
                <a:moveTo>
                  <a:pt x="9092308" y="734455"/>
                </a:moveTo>
                <a:lnTo>
                  <a:pt x="8635108" y="1191655"/>
                </a:lnTo>
                <a:lnTo>
                  <a:pt x="9092308" y="1648855"/>
                </a:lnTo>
                <a:lnTo>
                  <a:pt x="9549508" y="1191655"/>
                </a:lnTo>
                <a:close/>
                <a:moveTo>
                  <a:pt x="11938654" y="725578"/>
                </a:moveTo>
                <a:cubicBezTo>
                  <a:pt x="11893265" y="725578"/>
                  <a:pt x="11847876" y="742893"/>
                  <a:pt x="11813245" y="777523"/>
                </a:cubicBezTo>
                <a:lnTo>
                  <a:pt x="10309065" y="2281704"/>
                </a:lnTo>
                <a:cubicBezTo>
                  <a:pt x="10239803" y="2350965"/>
                  <a:pt x="10239803" y="2463261"/>
                  <a:pt x="10309065" y="2532522"/>
                </a:cubicBezTo>
                <a:lnTo>
                  <a:pt x="10331024" y="2554481"/>
                </a:lnTo>
                <a:cubicBezTo>
                  <a:pt x="10400285" y="2623742"/>
                  <a:pt x="10512580" y="2623742"/>
                  <a:pt x="10581842" y="2554481"/>
                </a:cubicBezTo>
                <a:lnTo>
                  <a:pt x="12086022" y="1050300"/>
                </a:lnTo>
                <a:cubicBezTo>
                  <a:pt x="12155284" y="981039"/>
                  <a:pt x="12155284" y="868744"/>
                  <a:pt x="12086022" y="799483"/>
                </a:cubicBezTo>
                <a:lnTo>
                  <a:pt x="12064063" y="777523"/>
                </a:lnTo>
                <a:cubicBezTo>
                  <a:pt x="12029432" y="742893"/>
                  <a:pt x="11984043" y="725578"/>
                  <a:pt x="11938654" y="725578"/>
                </a:cubicBezTo>
                <a:close/>
                <a:moveTo>
                  <a:pt x="11405253" y="57401"/>
                </a:moveTo>
                <a:cubicBezTo>
                  <a:pt x="11359864" y="57401"/>
                  <a:pt x="11314475" y="74716"/>
                  <a:pt x="11279844" y="109347"/>
                </a:cubicBezTo>
                <a:lnTo>
                  <a:pt x="9775664" y="1613528"/>
                </a:lnTo>
                <a:cubicBezTo>
                  <a:pt x="9706402" y="1682789"/>
                  <a:pt x="9706402" y="1795085"/>
                  <a:pt x="9775664" y="1864346"/>
                </a:cubicBezTo>
                <a:lnTo>
                  <a:pt x="9797623" y="1886305"/>
                </a:lnTo>
                <a:cubicBezTo>
                  <a:pt x="9866884" y="1955566"/>
                  <a:pt x="9979179" y="1955566"/>
                  <a:pt x="10048441" y="1886305"/>
                </a:cubicBezTo>
                <a:lnTo>
                  <a:pt x="11552621" y="382124"/>
                </a:lnTo>
                <a:cubicBezTo>
                  <a:pt x="11621883" y="312862"/>
                  <a:pt x="11621883" y="200567"/>
                  <a:pt x="11552621" y="131306"/>
                </a:cubicBezTo>
                <a:lnTo>
                  <a:pt x="11530662" y="109347"/>
                </a:lnTo>
                <a:cubicBezTo>
                  <a:pt x="11496032" y="74716"/>
                  <a:pt x="11450643" y="57401"/>
                  <a:pt x="11405253" y="57401"/>
                </a:cubicBezTo>
                <a:close/>
                <a:moveTo>
                  <a:pt x="4" y="2"/>
                </a:moveTo>
                <a:lnTo>
                  <a:pt x="4" y="3090502"/>
                </a:lnTo>
                <a:lnTo>
                  <a:pt x="3090503" y="2"/>
                </a:lnTo>
                <a:close/>
                <a:moveTo>
                  <a:pt x="3171376" y="2"/>
                </a:moveTo>
                <a:lnTo>
                  <a:pt x="2714176" y="457202"/>
                </a:lnTo>
                <a:lnTo>
                  <a:pt x="3171376" y="914402"/>
                </a:lnTo>
                <a:lnTo>
                  <a:pt x="3628576" y="457202"/>
                </a:lnTo>
                <a:close/>
                <a:moveTo>
                  <a:pt x="4863069" y="2"/>
                </a:moveTo>
                <a:lnTo>
                  <a:pt x="4405869" y="457202"/>
                </a:lnTo>
                <a:lnTo>
                  <a:pt x="4863069" y="914402"/>
                </a:lnTo>
                <a:lnTo>
                  <a:pt x="5320269" y="457202"/>
                </a:lnTo>
                <a:close/>
                <a:moveTo>
                  <a:pt x="6554764" y="2"/>
                </a:moveTo>
                <a:lnTo>
                  <a:pt x="6097564" y="457201"/>
                </a:lnTo>
                <a:lnTo>
                  <a:pt x="6554764" y="914401"/>
                </a:lnTo>
                <a:lnTo>
                  <a:pt x="7011964" y="457201"/>
                </a:lnTo>
                <a:close/>
                <a:moveTo>
                  <a:pt x="8246460" y="1"/>
                </a:moveTo>
                <a:lnTo>
                  <a:pt x="7789260" y="457201"/>
                </a:lnTo>
                <a:lnTo>
                  <a:pt x="8246460" y="914401"/>
                </a:lnTo>
                <a:lnTo>
                  <a:pt x="8703660" y="457201"/>
                </a:lnTo>
                <a:close/>
                <a:moveTo>
                  <a:pt x="9938152" y="1"/>
                </a:moveTo>
                <a:lnTo>
                  <a:pt x="9480952" y="457201"/>
                </a:lnTo>
                <a:lnTo>
                  <a:pt x="9938152" y="914401"/>
                </a:lnTo>
                <a:lnTo>
                  <a:pt x="10395352" y="457201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2431144"/>
                </a:lnTo>
                <a:lnTo>
                  <a:pt x="776514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600" b="1" dirty="0" err="1">
              <a:solidFill>
                <a:schemeClr val="accent4"/>
              </a:solidFill>
            </a:endParaRP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A674ABF8-EAD4-4410-8CCD-477D276B43F4}"/>
              </a:ext>
            </a:extLst>
          </p:cNvPr>
          <p:cNvSpPr/>
          <p:nvPr userDrawn="1"/>
        </p:nvSpPr>
        <p:spPr>
          <a:xfrm>
            <a:off x="-3410" y="2450947"/>
            <a:ext cx="6607408" cy="2237168"/>
          </a:xfrm>
          <a:custGeom>
            <a:avLst/>
            <a:gdLst>
              <a:gd name="connsiteX0" fmla="*/ 643965 w 6607408"/>
              <a:gd name="connsiteY0" fmla="*/ 0 h 2237168"/>
              <a:gd name="connsiteX1" fmla="*/ 6607408 w 6607408"/>
              <a:gd name="connsiteY1" fmla="*/ 0 h 2237168"/>
              <a:gd name="connsiteX2" fmla="*/ 6607408 w 6607408"/>
              <a:gd name="connsiteY2" fmla="*/ 2237167 h 2237168"/>
              <a:gd name="connsiteX3" fmla="*/ 643965 w 6607408"/>
              <a:gd name="connsiteY3" fmla="*/ 2237167 h 2237168"/>
              <a:gd name="connsiteX4" fmla="*/ 643965 w 6607408"/>
              <a:gd name="connsiteY4" fmla="*/ 2237168 h 2237168"/>
              <a:gd name="connsiteX5" fmla="*/ 7730 w 6607408"/>
              <a:gd name="connsiteY5" fmla="*/ 2237168 h 2237168"/>
              <a:gd name="connsiteX6" fmla="*/ 7730 w 6607408"/>
              <a:gd name="connsiteY6" fmla="*/ 655216 h 2237168"/>
              <a:gd name="connsiteX7" fmla="*/ 0 w 6607408"/>
              <a:gd name="connsiteY7" fmla="*/ 647509 h 2237168"/>
              <a:gd name="connsiteX8" fmla="*/ 7730 w 6607408"/>
              <a:gd name="connsiteY8" fmla="*/ 639757 h 2237168"/>
              <a:gd name="connsiteX9" fmla="*/ 7730 w 6607408"/>
              <a:gd name="connsiteY9" fmla="*/ 635076 h 2237168"/>
              <a:gd name="connsiteX10" fmla="*/ 12397 w 6607408"/>
              <a:gd name="connsiteY10" fmla="*/ 635076 h 2237168"/>
              <a:gd name="connsiteX11" fmla="*/ 643965 w 6607408"/>
              <a:gd name="connsiteY11" fmla="*/ 1687 h 2237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607408" h="2237168">
                <a:moveTo>
                  <a:pt x="643965" y="0"/>
                </a:moveTo>
                <a:lnTo>
                  <a:pt x="6607408" y="0"/>
                </a:lnTo>
                <a:lnTo>
                  <a:pt x="6607408" y="2237167"/>
                </a:lnTo>
                <a:lnTo>
                  <a:pt x="643965" y="2237167"/>
                </a:lnTo>
                <a:lnTo>
                  <a:pt x="643965" y="2237168"/>
                </a:lnTo>
                <a:lnTo>
                  <a:pt x="7730" y="2237168"/>
                </a:lnTo>
                <a:lnTo>
                  <a:pt x="7730" y="655216"/>
                </a:lnTo>
                <a:lnTo>
                  <a:pt x="0" y="647509"/>
                </a:lnTo>
                <a:lnTo>
                  <a:pt x="7730" y="639757"/>
                </a:lnTo>
                <a:lnTo>
                  <a:pt x="7730" y="635076"/>
                </a:lnTo>
                <a:lnTo>
                  <a:pt x="12397" y="635076"/>
                </a:lnTo>
                <a:lnTo>
                  <a:pt x="643965" y="1687"/>
                </a:lnTo>
                <a:close/>
              </a:path>
            </a:pathLst>
          </a:cu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600" b="1" dirty="0" err="1">
              <a:solidFill>
                <a:schemeClr val="accent4"/>
              </a:solidFill>
            </a:endParaRP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9E90D4A6-EABC-4668-B33A-12C8E0ACFBB3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339912" y="2601085"/>
            <a:ext cx="6859208" cy="707886"/>
          </a:xfrm>
        </p:spPr>
        <p:txBody>
          <a:bodyPr wrap="square" anchor="b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OF THE DOCUMENT</a:t>
            </a:r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5A7FD2E5-3430-4B6D-8B88-FEEF41234A8A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1339912" y="4237381"/>
            <a:ext cx="6859208" cy="492443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EDIT SUBTITLE</a:t>
            </a:r>
            <a:endParaRPr lang="en-US" dirty="0"/>
          </a:p>
        </p:txBody>
      </p:sp>
      <p:sp>
        <p:nvSpPr>
          <p:cNvPr id="85" name="Text Placeholder 84">
            <a:extLst>
              <a:ext uri="{FF2B5EF4-FFF2-40B4-BE49-F238E27FC236}">
                <a16:creationId xmlns:a16="http://schemas.microsoft.com/office/drawing/2014/main" id="{217D11FD-233F-4482-938B-82CA452ECE9C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1339397" y="3407037"/>
            <a:ext cx="6841373" cy="430887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2800" i="0" dirty="0" smtClean="0">
                <a:solidFill>
                  <a:schemeClr val="bg1"/>
                </a:solidFill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IN" dirty="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model2">
    <p:bg>
      <p:bgPr>
        <a:gradFill flip="none" rotWithShape="1">
          <a:gsLst>
            <a:gs pos="55000">
              <a:srgbClr val="1181AE"/>
            </a:gs>
            <a:gs pos="0">
              <a:srgbClr val="1181AE"/>
            </a:gs>
            <a:gs pos="100000">
              <a:srgbClr val="095474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18672" y="2870634"/>
            <a:ext cx="5932223" cy="711081"/>
          </a:xfrm>
        </p:spPr>
        <p:txBody>
          <a:bodyPr>
            <a:normAutofit/>
          </a:bodyPr>
          <a:lstStyle>
            <a:lvl1pPr algn="ctr">
              <a:defRPr sz="3600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 dirty="0"/>
              <a:t>SlideModel.com</a:t>
            </a:r>
          </a:p>
        </p:txBody>
      </p:sp>
    </p:spTree>
    <p:extLst>
      <p:ext uri="{BB962C8B-B14F-4D97-AF65-F5344CB8AC3E}">
        <p14:creationId xmlns:p14="http://schemas.microsoft.com/office/powerpoint/2010/main" val="7410150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3886200"/>
            <a:ext cx="12192000" cy="2971800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65000"/>
                  <a:alpha val="53000"/>
                </a:schemeClr>
              </a:gs>
              <a:gs pos="0">
                <a:schemeClr val="bg1">
                  <a:lumMod val="9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/>
            <a:endParaRPr lang="en-US" sz="1943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3887117"/>
            <a:ext cx="10363200" cy="610820"/>
          </a:xfrm>
        </p:spPr>
        <p:txBody>
          <a:bodyPr/>
          <a:lstStyle>
            <a:lvl1pPr algn="ctr">
              <a:defRPr lang="en-US" sz="40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4399020"/>
            <a:ext cx="8534401" cy="764440"/>
          </a:xfrm>
        </p:spPr>
        <p:txBody>
          <a:bodyPr>
            <a:normAutofit/>
          </a:bodyPr>
          <a:lstStyle>
            <a:lvl1pPr marL="0" indent="0" algn="ctr">
              <a:buNone/>
              <a:defRPr lang="en-US" sz="24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6094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3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8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2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78D6DB-6798-42D2-B9AD-FC6F1C72FC30}" type="datetimeFigureOut">
              <a:rPr lang="en-US" smtClean="0"/>
              <a:pPr/>
              <a:t>7/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EDE275-BE14-4364-AEA2-5F5667C0FD4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07866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130427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1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7/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49417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7/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78527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493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898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848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79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746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696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645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594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7/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10707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2"/>
            <a:ext cx="5384800" cy="4525963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4525963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7/6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60294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4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4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7/6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88536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7/6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05017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7/6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96751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7/6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48734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704273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7/6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370159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8" y="4800601"/>
            <a:ext cx="731520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8" y="612775"/>
            <a:ext cx="731520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493" indent="0">
              <a:buNone/>
              <a:defRPr sz="3700"/>
            </a:lvl2pPr>
            <a:lvl3pPr marL="1218987" indent="0">
              <a:buNone/>
              <a:defRPr sz="3200"/>
            </a:lvl3pPr>
            <a:lvl4pPr marL="1828480" indent="0">
              <a:buNone/>
              <a:defRPr sz="2700"/>
            </a:lvl4pPr>
            <a:lvl5pPr marL="2437973" indent="0">
              <a:buNone/>
              <a:defRPr sz="2700"/>
            </a:lvl5pPr>
            <a:lvl6pPr marL="3047467" indent="0">
              <a:buNone/>
              <a:defRPr sz="2700"/>
            </a:lvl6pPr>
            <a:lvl7pPr marL="3656960" indent="0">
              <a:buNone/>
              <a:defRPr sz="2700"/>
            </a:lvl7pPr>
            <a:lvl8pPr marL="4266453" indent="0">
              <a:buNone/>
              <a:defRPr sz="2700"/>
            </a:lvl8pPr>
            <a:lvl9pPr marL="4875947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8" y="5367339"/>
            <a:ext cx="731520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7/6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646965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7/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00625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0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0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7/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251946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model2">
    <p:bg>
      <p:bgPr>
        <a:gradFill flip="none" rotWithShape="1">
          <a:gsLst>
            <a:gs pos="55000">
              <a:srgbClr val="1181AE"/>
            </a:gs>
            <a:gs pos="0">
              <a:srgbClr val="1181AE"/>
            </a:gs>
            <a:gs pos="100000">
              <a:srgbClr val="095474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18672" y="2870634"/>
            <a:ext cx="5932223" cy="711081"/>
          </a:xfrm>
        </p:spPr>
        <p:txBody>
          <a:bodyPr>
            <a:normAutofit/>
          </a:bodyPr>
          <a:lstStyle>
            <a:lvl1pPr algn="ctr">
              <a:defRPr sz="3600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/>
              <a:t>SlideModel.com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7/6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65162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6" hasCustomPrompt="1"/>
          </p:nvPr>
        </p:nvSpPr>
        <p:spPr>
          <a:xfrm>
            <a:off x="1325281" y="-1"/>
            <a:ext cx="5195129" cy="4674887"/>
          </a:xfrm>
          <a:custGeom>
            <a:avLst/>
            <a:gdLst>
              <a:gd name="connsiteX0" fmla="*/ 1257458 w 5195129"/>
              <a:gd name="connsiteY0" fmla="*/ 0 h 4674887"/>
              <a:gd name="connsiteX1" fmla="*/ 4888355 w 5195129"/>
              <a:gd name="connsiteY1" fmla="*/ 0 h 4674887"/>
              <a:gd name="connsiteX2" fmla="*/ 4897797 w 5195129"/>
              <a:gd name="connsiteY2" fmla="*/ 10583 h 4674887"/>
              <a:gd name="connsiteX3" fmla="*/ 4991734 w 5195129"/>
              <a:gd name="connsiteY3" fmla="*/ 153016 h 4674887"/>
              <a:gd name="connsiteX4" fmla="*/ 5155578 w 5195129"/>
              <a:gd name="connsiteY4" fmla="*/ 618243 h 4674887"/>
              <a:gd name="connsiteX5" fmla="*/ 5191863 w 5195129"/>
              <a:gd name="connsiteY5" fmla="*/ 1214314 h 4674887"/>
              <a:gd name="connsiteX6" fmla="*/ 5140212 w 5195129"/>
              <a:gd name="connsiteY6" fmla="*/ 1702059 h 4674887"/>
              <a:gd name="connsiteX7" fmla="*/ 5065164 w 5195129"/>
              <a:gd name="connsiteY7" fmla="*/ 2086547 h 4674887"/>
              <a:gd name="connsiteX8" fmla="*/ 4969982 w 5195129"/>
              <a:gd name="connsiteY8" fmla="*/ 2462239 h 4674887"/>
              <a:gd name="connsiteX9" fmla="*/ 4966842 w 5195129"/>
              <a:gd name="connsiteY9" fmla="*/ 2481819 h 4674887"/>
              <a:gd name="connsiteX10" fmla="*/ 4948658 w 5195129"/>
              <a:gd name="connsiteY10" fmla="*/ 2545371 h 4674887"/>
              <a:gd name="connsiteX11" fmla="*/ 4938561 w 5195129"/>
              <a:gd name="connsiteY11" fmla="*/ 2572055 h 4674887"/>
              <a:gd name="connsiteX12" fmla="*/ 4784773 w 5195129"/>
              <a:gd name="connsiteY12" fmla="*/ 3040688 h 4674887"/>
              <a:gd name="connsiteX13" fmla="*/ 4548619 w 5195129"/>
              <a:gd name="connsiteY13" fmla="*/ 3590655 h 4674887"/>
              <a:gd name="connsiteX14" fmla="*/ 4250458 w 5195129"/>
              <a:gd name="connsiteY14" fmla="*/ 4073335 h 4674887"/>
              <a:gd name="connsiteX15" fmla="*/ 3878856 w 5195129"/>
              <a:gd name="connsiteY15" fmla="*/ 4443497 h 4674887"/>
              <a:gd name="connsiteX16" fmla="*/ 3186482 w 5195129"/>
              <a:gd name="connsiteY16" fmla="*/ 4674862 h 4674887"/>
              <a:gd name="connsiteX17" fmla="*/ 2891514 w 5195129"/>
              <a:gd name="connsiteY17" fmla="*/ 4643798 h 4674887"/>
              <a:gd name="connsiteX18" fmla="*/ 2828700 w 5195129"/>
              <a:gd name="connsiteY18" fmla="*/ 4634421 h 4674887"/>
              <a:gd name="connsiteX19" fmla="*/ 2731286 w 5195129"/>
              <a:gd name="connsiteY19" fmla="*/ 4606548 h 4674887"/>
              <a:gd name="connsiteX20" fmla="*/ 2693489 w 5195129"/>
              <a:gd name="connsiteY20" fmla="*/ 4588909 h 4674887"/>
              <a:gd name="connsiteX21" fmla="*/ 2259009 w 5195129"/>
              <a:gd name="connsiteY21" fmla="*/ 4386231 h 4674887"/>
              <a:gd name="connsiteX22" fmla="*/ 1725702 w 5195129"/>
              <a:gd name="connsiteY22" fmla="*/ 4009169 h 4674887"/>
              <a:gd name="connsiteX23" fmla="*/ 1036282 w 5195129"/>
              <a:gd name="connsiteY23" fmla="*/ 3354127 h 4674887"/>
              <a:gd name="connsiteX24" fmla="*/ 456082 w 5195129"/>
              <a:gd name="connsiteY24" fmla="*/ 2640093 h 4674887"/>
              <a:gd name="connsiteX25" fmla="*/ 152116 w 5195129"/>
              <a:gd name="connsiteY25" fmla="*/ 2096603 h 4674887"/>
              <a:gd name="connsiteX26" fmla="*/ 13326 w 5195129"/>
              <a:gd name="connsiteY26" fmla="*/ 1617813 h 4674887"/>
              <a:gd name="connsiteX27" fmla="*/ 19959 w 5195129"/>
              <a:gd name="connsiteY27" fmla="*/ 1209959 h 4674887"/>
              <a:gd name="connsiteX28" fmla="*/ 31259 w 5195129"/>
              <a:gd name="connsiteY28" fmla="*/ 1142921 h 4674887"/>
              <a:gd name="connsiteX29" fmla="*/ 53053 w 5195129"/>
              <a:gd name="connsiteY29" fmla="*/ 1066752 h 4674887"/>
              <a:gd name="connsiteX30" fmla="*/ 61817 w 5195129"/>
              <a:gd name="connsiteY30" fmla="*/ 1049035 h 4674887"/>
              <a:gd name="connsiteX31" fmla="*/ 105769 w 5195129"/>
              <a:gd name="connsiteY31" fmla="*/ 941036 h 4674887"/>
              <a:gd name="connsiteX32" fmla="*/ 367836 w 5195129"/>
              <a:gd name="connsiteY32" fmla="*/ 565570 h 4674887"/>
              <a:gd name="connsiteX33" fmla="*/ 837097 w 5195129"/>
              <a:gd name="connsiteY33" fmla="*/ 206920 h 4674887"/>
              <a:gd name="connsiteX34" fmla="*/ 1121761 w 5195129"/>
              <a:gd name="connsiteY34" fmla="*/ 57235 h 4674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195129" h="4674887">
                <a:moveTo>
                  <a:pt x="1257458" y="0"/>
                </a:moveTo>
                <a:lnTo>
                  <a:pt x="4888355" y="0"/>
                </a:lnTo>
                <a:lnTo>
                  <a:pt x="4897797" y="10583"/>
                </a:lnTo>
                <a:cubicBezTo>
                  <a:pt x="4932002" y="55083"/>
                  <a:pt x="4963329" y="102548"/>
                  <a:pt x="4991734" y="153016"/>
                </a:cubicBezTo>
                <a:cubicBezTo>
                  <a:pt x="5073471" y="298496"/>
                  <a:pt x="5124502" y="454903"/>
                  <a:pt x="5155578" y="618243"/>
                </a:cubicBezTo>
                <a:cubicBezTo>
                  <a:pt x="5192956" y="815490"/>
                  <a:pt x="5200577" y="1014331"/>
                  <a:pt x="5191863" y="1214314"/>
                </a:cubicBezTo>
                <a:cubicBezTo>
                  <a:pt x="5184425" y="1378006"/>
                  <a:pt x="5166047" y="1540340"/>
                  <a:pt x="5140212" y="1702059"/>
                </a:cubicBezTo>
                <a:cubicBezTo>
                  <a:pt x="5119763" y="1831189"/>
                  <a:pt x="5095537" y="1959748"/>
                  <a:pt x="5065164" y="2086547"/>
                </a:cubicBezTo>
                <a:cubicBezTo>
                  <a:pt x="5035290" y="2212477"/>
                  <a:pt x="5001840" y="2337131"/>
                  <a:pt x="4969982" y="2462239"/>
                </a:cubicBezTo>
                <a:cubicBezTo>
                  <a:pt x="4968404" y="2468613"/>
                  <a:pt x="4967964" y="2475314"/>
                  <a:pt x="4966842" y="2481819"/>
                </a:cubicBezTo>
                <a:lnTo>
                  <a:pt x="4948658" y="2545371"/>
                </a:lnTo>
                <a:cubicBezTo>
                  <a:pt x="4945367" y="2554287"/>
                  <a:pt x="4941394" y="2563009"/>
                  <a:pt x="4938561" y="2572055"/>
                </a:cubicBezTo>
                <a:cubicBezTo>
                  <a:pt x="4891773" y="2729547"/>
                  <a:pt x="4841279" y="2886230"/>
                  <a:pt x="4784773" y="3040688"/>
                </a:cubicBezTo>
                <a:cubicBezTo>
                  <a:pt x="4715843" y="3228242"/>
                  <a:pt x="4638756" y="3412454"/>
                  <a:pt x="4548619" y="3590655"/>
                </a:cubicBezTo>
                <a:cubicBezTo>
                  <a:pt x="4462746" y="3759964"/>
                  <a:pt x="4366041" y="3922386"/>
                  <a:pt x="4250458" y="4073335"/>
                </a:cubicBezTo>
                <a:cubicBezTo>
                  <a:pt x="4143196" y="4213270"/>
                  <a:pt x="4022542" y="4339769"/>
                  <a:pt x="3878856" y="4443497"/>
                </a:cubicBezTo>
                <a:cubicBezTo>
                  <a:pt x="3672253" y="4592420"/>
                  <a:pt x="3442748" y="4673364"/>
                  <a:pt x="3186482" y="4674862"/>
                </a:cubicBezTo>
                <a:cubicBezTo>
                  <a:pt x="3087070" y="4675486"/>
                  <a:pt x="2988750" y="4664545"/>
                  <a:pt x="2891514" y="4643798"/>
                </a:cubicBezTo>
                <a:cubicBezTo>
                  <a:pt x="2870856" y="4639405"/>
                  <a:pt x="2849760" y="4637412"/>
                  <a:pt x="2828700" y="4634421"/>
                </a:cubicBezTo>
                <a:lnTo>
                  <a:pt x="2731286" y="4606548"/>
                </a:lnTo>
                <a:cubicBezTo>
                  <a:pt x="2718686" y="4600669"/>
                  <a:pt x="2706718" y="4593450"/>
                  <a:pt x="2693489" y="4588909"/>
                </a:cubicBezTo>
                <a:cubicBezTo>
                  <a:pt x="2541742" y="4536644"/>
                  <a:pt x="2397648" y="4467102"/>
                  <a:pt x="2259009" y="4386231"/>
                </a:cubicBezTo>
                <a:cubicBezTo>
                  <a:pt x="2070375" y="4276141"/>
                  <a:pt x="1894025" y="4148078"/>
                  <a:pt x="1725702" y="4009169"/>
                </a:cubicBezTo>
                <a:cubicBezTo>
                  <a:pt x="1480355" y="3807273"/>
                  <a:pt x="1253033" y="3586266"/>
                  <a:pt x="1036282" y="3354127"/>
                </a:cubicBezTo>
                <a:cubicBezTo>
                  <a:pt x="826552" y="3129305"/>
                  <a:pt x="629305" y="2894407"/>
                  <a:pt x="456082" y="2640093"/>
                </a:cubicBezTo>
                <a:cubicBezTo>
                  <a:pt x="338927" y="2467797"/>
                  <a:pt x="234138" y="2288421"/>
                  <a:pt x="152116" y="2096603"/>
                </a:cubicBezTo>
                <a:cubicBezTo>
                  <a:pt x="86077" y="1942724"/>
                  <a:pt x="36464" y="1783939"/>
                  <a:pt x="13326" y="1617813"/>
                </a:cubicBezTo>
                <a:cubicBezTo>
                  <a:pt x="-5531" y="1481481"/>
                  <a:pt x="-5295" y="1345552"/>
                  <a:pt x="19959" y="1209959"/>
                </a:cubicBezTo>
                <a:cubicBezTo>
                  <a:pt x="24128" y="1187644"/>
                  <a:pt x="27546" y="1165366"/>
                  <a:pt x="31259" y="1142921"/>
                </a:cubicBezTo>
                <a:lnTo>
                  <a:pt x="53053" y="1066752"/>
                </a:lnTo>
                <a:cubicBezTo>
                  <a:pt x="55998" y="1060766"/>
                  <a:pt x="59555" y="1055213"/>
                  <a:pt x="61817" y="1049035"/>
                </a:cubicBezTo>
                <a:cubicBezTo>
                  <a:pt x="76541" y="1013058"/>
                  <a:pt x="89516" y="976325"/>
                  <a:pt x="105769" y="941036"/>
                </a:cubicBezTo>
                <a:cubicBezTo>
                  <a:pt x="170030" y="799921"/>
                  <a:pt x="260001" y="676524"/>
                  <a:pt x="367836" y="565570"/>
                </a:cubicBezTo>
                <a:cubicBezTo>
                  <a:pt x="506395" y="422961"/>
                  <a:pt x="666033" y="307366"/>
                  <a:pt x="837097" y="206920"/>
                </a:cubicBezTo>
                <a:cubicBezTo>
                  <a:pt x="929764" y="152419"/>
                  <a:pt x="1024798" y="102766"/>
                  <a:pt x="1121761" y="57235"/>
                </a:cubicBezTo>
                <a:close/>
              </a:path>
            </a:pathLst>
          </a:cu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BF662B1-E5B0-48D2-B39D-43A30B4B8A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1" y="230314"/>
            <a:ext cx="5104002" cy="1077218"/>
          </a:xfrm>
        </p:spPr>
        <p:txBody>
          <a:bodyPr>
            <a:spAutoFit/>
          </a:bodyPr>
          <a:lstStyle>
            <a:lvl1pPr>
              <a:defRPr lang="en-GB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142802C-AEEA-4B92-B5B3-0756576E8F5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858001" y="843417"/>
            <a:ext cx="5104001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33718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-386458" y="1260375"/>
            <a:ext cx="4397254" cy="4336451"/>
          </a:xfrm>
          <a:custGeom>
            <a:avLst/>
            <a:gdLst>
              <a:gd name="connsiteX0" fmla="*/ 1815121 w 7680637"/>
              <a:gd name="connsiteY0" fmla="*/ 575706 h 4910916"/>
              <a:gd name="connsiteX1" fmla="*/ 1958741 w 7680637"/>
              <a:gd name="connsiteY1" fmla="*/ 578860 h 4910916"/>
              <a:gd name="connsiteX2" fmla="*/ 2359375 w 7680637"/>
              <a:gd name="connsiteY2" fmla="*/ 688177 h 4910916"/>
              <a:gd name="connsiteX3" fmla="*/ 2789536 w 7680637"/>
              <a:gd name="connsiteY3" fmla="*/ 948486 h 4910916"/>
              <a:gd name="connsiteX4" fmla="*/ 3102571 w 7680637"/>
              <a:gd name="connsiteY4" fmla="*/ 1217819 h 4910916"/>
              <a:gd name="connsiteX5" fmla="*/ 3332895 w 7680637"/>
              <a:gd name="connsiteY5" fmla="*/ 1453908 h 4910916"/>
              <a:gd name="connsiteX6" fmla="*/ 3547486 w 7680637"/>
              <a:gd name="connsiteY6" fmla="*/ 1699728 h 4910916"/>
              <a:gd name="connsiteX7" fmla="*/ 3559541 w 7680637"/>
              <a:gd name="connsiteY7" fmla="*/ 1711279 h 4910916"/>
              <a:gd name="connsiteX8" fmla="*/ 3594844 w 7680637"/>
              <a:gd name="connsiteY8" fmla="*/ 1754304 h 4910916"/>
              <a:gd name="connsiteX9" fmla="*/ 3608488 w 7680637"/>
              <a:gd name="connsiteY9" fmla="*/ 1774075 h 4910916"/>
              <a:gd name="connsiteX10" fmla="*/ 3859378 w 7680637"/>
              <a:gd name="connsiteY10" fmla="*/ 2104986 h 4910916"/>
              <a:gd name="connsiteX11" fmla="*/ 4127150 w 7680637"/>
              <a:gd name="connsiteY11" fmla="*/ 2531885 h 4910916"/>
              <a:gd name="connsiteX12" fmla="*/ 4318633 w 7680637"/>
              <a:gd name="connsiteY12" fmla="*/ 2969503 h 4910916"/>
              <a:gd name="connsiteX13" fmla="*/ 4397027 w 7680637"/>
              <a:gd name="connsiteY13" fmla="*/ 3404098 h 4910916"/>
              <a:gd name="connsiteX14" fmla="*/ 4225697 w 7680637"/>
              <a:gd name="connsiteY14" fmla="*/ 3994367 h 4910916"/>
              <a:gd name="connsiteX15" fmla="*/ 4062935 w 7680637"/>
              <a:gd name="connsiteY15" fmla="*/ 4183760 h 4910916"/>
              <a:gd name="connsiteX16" fmla="*/ 4026361 w 7680637"/>
              <a:gd name="connsiteY16" fmla="*/ 4222769 h 4910916"/>
              <a:gd name="connsiteX17" fmla="*/ 3960411 w 7680637"/>
              <a:gd name="connsiteY17" fmla="*/ 4276882 h 4910916"/>
              <a:gd name="connsiteX18" fmla="*/ 3930096 w 7680637"/>
              <a:gd name="connsiteY18" fmla="*/ 4294610 h 4910916"/>
              <a:gd name="connsiteX19" fmla="*/ 3581683 w 7680637"/>
              <a:gd name="connsiteY19" fmla="*/ 4498437 h 4910916"/>
              <a:gd name="connsiteX20" fmla="*/ 3065181 w 7680637"/>
              <a:gd name="connsiteY20" fmla="*/ 4687197 h 4910916"/>
              <a:gd name="connsiteX21" fmla="*/ 2281419 w 7680637"/>
              <a:gd name="connsiteY21" fmla="*/ 4850951 h 4910916"/>
              <a:gd name="connsiteX22" fmla="*/ 1509106 w 7680637"/>
              <a:gd name="connsiteY22" fmla="*/ 4910820 h 4910916"/>
              <a:gd name="connsiteX23" fmla="*/ 987175 w 7680637"/>
              <a:gd name="connsiteY23" fmla="*/ 4861062 h 4910916"/>
              <a:gd name="connsiteX24" fmla="*/ 589146 w 7680637"/>
              <a:gd name="connsiteY24" fmla="*/ 4727900 h 4910916"/>
              <a:gd name="connsiteX25" fmla="*/ 309879 w 7680637"/>
              <a:gd name="connsiteY25" fmla="*/ 4528000 h 4910916"/>
              <a:gd name="connsiteX26" fmla="*/ 268865 w 7680637"/>
              <a:gd name="connsiteY26" fmla="*/ 4488072 h 4910916"/>
              <a:gd name="connsiteX27" fmla="*/ 226554 w 7680637"/>
              <a:gd name="connsiteY27" fmla="*/ 4436505 h 4910916"/>
              <a:gd name="connsiteX28" fmla="*/ 218482 w 7680637"/>
              <a:gd name="connsiteY28" fmla="*/ 4421951 h 4910916"/>
              <a:gd name="connsiteX29" fmla="*/ 164739 w 7680637"/>
              <a:gd name="connsiteY29" fmla="*/ 4339798 h 4910916"/>
              <a:gd name="connsiteX30" fmla="*/ 30218 w 7680637"/>
              <a:gd name="connsiteY30" fmla="*/ 3978516 h 4910916"/>
              <a:gd name="connsiteX31" fmla="*/ 6563 w 7680637"/>
              <a:gd name="connsiteY31" fmla="*/ 3481803 h 4910916"/>
              <a:gd name="connsiteX32" fmla="*/ 94549 w 7680637"/>
              <a:gd name="connsiteY32" fmla="*/ 2948010 h 4910916"/>
              <a:gd name="connsiteX33" fmla="*/ 517592 w 7680637"/>
              <a:gd name="connsiteY33" fmla="*/ 1774309 h 4910916"/>
              <a:gd name="connsiteX34" fmla="*/ 854449 w 7680637"/>
              <a:gd name="connsiteY34" fmla="*/ 1197238 h 4910916"/>
              <a:gd name="connsiteX35" fmla="*/ 1142073 w 7680637"/>
              <a:gd name="connsiteY35" fmla="*/ 876277 h 4910916"/>
              <a:gd name="connsiteX36" fmla="*/ 1156923 w 7680637"/>
              <a:gd name="connsiteY36" fmla="*/ 860124 h 4910916"/>
              <a:gd name="connsiteX37" fmla="*/ 1219944 w 7680637"/>
              <a:gd name="connsiteY37" fmla="*/ 808414 h 4910916"/>
              <a:gd name="connsiteX38" fmla="*/ 1243132 w 7680637"/>
              <a:gd name="connsiteY38" fmla="*/ 793623 h 4910916"/>
              <a:gd name="connsiteX39" fmla="*/ 1408343 w 7680637"/>
              <a:gd name="connsiteY39" fmla="*/ 687974 h 4910916"/>
              <a:gd name="connsiteX40" fmla="*/ 1815121 w 7680637"/>
              <a:gd name="connsiteY40" fmla="*/ 575706 h 4910916"/>
              <a:gd name="connsiteX41" fmla="*/ 5284387 w 7680637"/>
              <a:gd name="connsiteY41" fmla="*/ 0 h 4910916"/>
              <a:gd name="connsiteX42" fmla="*/ 7680637 w 7680637"/>
              <a:gd name="connsiteY42" fmla="*/ 0 h 4910916"/>
              <a:gd name="connsiteX43" fmla="*/ 7680637 w 7680637"/>
              <a:gd name="connsiteY43" fmla="*/ 2396248 h 4910916"/>
              <a:gd name="connsiteX44" fmla="*/ 5284387 w 7680637"/>
              <a:gd name="connsiteY44" fmla="*/ 2396248 h 4910916"/>
              <a:gd name="connsiteX0" fmla="*/ 1815121 w 7680637"/>
              <a:gd name="connsiteY0" fmla="*/ 575706 h 4910916"/>
              <a:gd name="connsiteX1" fmla="*/ 1958741 w 7680637"/>
              <a:gd name="connsiteY1" fmla="*/ 578860 h 4910916"/>
              <a:gd name="connsiteX2" fmla="*/ 2359375 w 7680637"/>
              <a:gd name="connsiteY2" fmla="*/ 688177 h 4910916"/>
              <a:gd name="connsiteX3" fmla="*/ 2789536 w 7680637"/>
              <a:gd name="connsiteY3" fmla="*/ 948486 h 4910916"/>
              <a:gd name="connsiteX4" fmla="*/ 3102571 w 7680637"/>
              <a:gd name="connsiteY4" fmla="*/ 1217819 h 4910916"/>
              <a:gd name="connsiteX5" fmla="*/ 3332895 w 7680637"/>
              <a:gd name="connsiteY5" fmla="*/ 1453908 h 4910916"/>
              <a:gd name="connsiteX6" fmla="*/ 3547486 w 7680637"/>
              <a:gd name="connsiteY6" fmla="*/ 1699728 h 4910916"/>
              <a:gd name="connsiteX7" fmla="*/ 3559541 w 7680637"/>
              <a:gd name="connsiteY7" fmla="*/ 1711279 h 4910916"/>
              <a:gd name="connsiteX8" fmla="*/ 3594844 w 7680637"/>
              <a:gd name="connsiteY8" fmla="*/ 1754304 h 4910916"/>
              <a:gd name="connsiteX9" fmla="*/ 3608488 w 7680637"/>
              <a:gd name="connsiteY9" fmla="*/ 1774075 h 4910916"/>
              <a:gd name="connsiteX10" fmla="*/ 3859378 w 7680637"/>
              <a:gd name="connsiteY10" fmla="*/ 2104986 h 4910916"/>
              <a:gd name="connsiteX11" fmla="*/ 4127150 w 7680637"/>
              <a:gd name="connsiteY11" fmla="*/ 2531885 h 4910916"/>
              <a:gd name="connsiteX12" fmla="*/ 4318633 w 7680637"/>
              <a:gd name="connsiteY12" fmla="*/ 2969503 h 4910916"/>
              <a:gd name="connsiteX13" fmla="*/ 4397027 w 7680637"/>
              <a:gd name="connsiteY13" fmla="*/ 3404098 h 4910916"/>
              <a:gd name="connsiteX14" fmla="*/ 4225697 w 7680637"/>
              <a:gd name="connsiteY14" fmla="*/ 3994367 h 4910916"/>
              <a:gd name="connsiteX15" fmla="*/ 4062935 w 7680637"/>
              <a:gd name="connsiteY15" fmla="*/ 4183760 h 4910916"/>
              <a:gd name="connsiteX16" fmla="*/ 4026361 w 7680637"/>
              <a:gd name="connsiteY16" fmla="*/ 4222769 h 4910916"/>
              <a:gd name="connsiteX17" fmla="*/ 3960411 w 7680637"/>
              <a:gd name="connsiteY17" fmla="*/ 4276882 h 4910916"/>
              <a:gd name="connsiteX18" fmla="*/ 3930096 w 7680637"/>
              <a:gd name="connsiteY18" fmla="*/ 4294610 h 4910916"/>
              <a:gd name="connsiteX19" fmla="*/ 3581683 w 7680637"/>
              <a:gd name="connsiteY19" fmla="*/ 4498437 h 4910916"/>
              <a:gd name="connsiteX20" fmla="*/ 3065181 w 7680637"/>
              <a:gd name="connsiteY20" fmla="*/ 4687197 h 4910916"/>
              <a:gd name="connsiteX21" fmla="*/ 2281419 w 7680637"/>
              <a:gd name="connsiteY21" fmla="*/ 4850951 h 4910916"/>
              <a:gd name="connsiteX22" fmla="*/ 1509106 w 7680637"/>
              <a:gd name="connsiteY22" fmla="*/ 4910820 h 4910916"/>
              <a:gd name="connsiteX23" fmla="*/ 987175 w 7680637"/>
              <a:gd name="connsiteY23" fmla="*/ 4861062 h 4910916"/>
              <a:gd name="connsiteX24" fmla="*/ 589146 w 7680637"/>
              <a:gd name="connsiteY24" fmla="*/ 4727900 h 4910916"/>
              <a:gd name="connsiteX25" fmla="*/ 309879 w 7680637"/>
              <a:gd name="connsiteY25" fmla="*/ 4528000 h 4910916"/>
              <a:gd name="connsiteX26" fmla="*/ 268865 w 7680637"/>
              <a:gd name="connsiteY26" fmla="*/ 4488072 h 4910916"/>
              <a:gd name="connsiteX27" fmla="*/ 226554 w 7680637"/>
              <a:gd name="connsiteY27" fmla="*/ 4436505 h 4910916"/>
              <a:gd name="connsiteX28" fmla="*/ 218482 w 7680637"/>
              <a:gd name="connsiteY28" fmla="*/ 4421951 h 4910916"/>
              <a:gd name="connsiteX29" fmla="*/ 164739 w 7680637"/>
              <a:gd name="connsiteY29" fmla="*/ 4339798 h 4910916"/>
              <a:gd name="connsiteX30" fmla="*/ 30218 w 7680637"/>
              <a:gd name="connsiteY30" fmla="*/ 3978516 h 4910916"/>
              <a:gd name="connsiteX31" fmla="*/ 6563 w 7680637"/>
              <a:gd name="connsiteY31" fmla="*/ 3481803 h 4910916"/>
              <a:gd name="connsiteX32" fmla="*/ 94549 w 7680637"/>
              <a:gd name="connsiteY32" fmla="*/ 2948010 h 4910916"/>
              <a:gd name="connsiteX33" fmla="*/ 517592 w 7680637"/>
              <a:gd name="connsiteY33" fmla="*/ 1774309 h 4910916"/>
              <a:gd name="connsiteX34" fmla="*/ 854449 w 7680637"/>
              <a:gd name="connsiteY34" fmla="*/ 1197238 h 4910916"/>
              <a:gd name="connsiteX35" fmla="*/ 1142073 w 7680637"/>
              <a:gd name="connsiteY35" fmla="*/ 876277 h 4910916"/>
              <a:gd name="connsiteX36" fmla="*/ 1156923 w 7680637"/>
              <a:gd name="connsiteY36" fmla="*/ 860124 h 4910916"/>
              <a:gd name="connsiteX37" fmla="*/ 1219944 w 7680637"/>
              <a:gd name="connsiteY37" fmla="*/ 808414 h 4910916"/>
              <a:gd name="connsiteX38" fmla="*/ 1243132 w 7680637"/>
              <a:gd name="connsiteY38" fmla="*/ 793623 h 4910916"/>
              <a:gd name="connsiteX39" fmla="*/ 1408343 w 7680637"/>
              <a:gd name="connsiteY39" fmla="*/ 687974 h 4910916"/>
              <a:gd name="connsiteX40" fmla="*/ 1815121 w 7680637"/>
              <a:gd name="connsiteY40" fmla="*/ 575706 h 4910916"/>
              <a:gd name="connsiteX41" fmla="*/ 5284387 w 7680637"/>
              <a:gd name="connsiteY41" fmla="*/ 2396248 h 4910916"/>
              <a:gd name="connsiteX42" fmla="*/ 7680637 w 7680637"/>
              <a:gd name="connsiteY42" fmla="*/ 0 h 4910916"/>
              <a:gd name="connsiteX43" fmla="*/ 7680637 w 7680637"/>
              <a:gd name="connsiteY43" fmla="*/ 2396248 h 4910916"/>
              <a:gd name="connsiteX44" fmla="*/ 5284387 w 7680637"/>
              <a:gd name="connsiteY44" fmla="*/ 2396248 h 4910916"/>
              <a:gd name="connsiteX0" fmla="*/ 1815121 w 7680637"/>
              <a:gd name="connsiteY0" fmla="*/ 1241 h 4336451"/>
              <a:gd name="connsiteX1" fmla="*/ 1958741 w 7680637"/>
              <a:gd name="connsiteY1" fmla="*/ 4395 h 4336451"/>
              <a:gd name="connsiteX2" fmla="*/ 2359375 w 7680637"/>
              <a:gd name="connsiteY2" fmla="*/ 113712 h 4336451"/>
              <a:gd name="connsiteX3" fmla="*/ 2789536 w 7680637"/>
              <a:gd name="connsiteY3" fmla="*/ 374021 h 4336451"/>
              <a:gd name="connsiteX4" fmla="*/ 3102571 w 7680637"/>
              <a:gd name="connsiteY4" fmla="*/ 643354 h 4336451"/>
              <a:gd name="connsiteX5" fmla="*/ 3332895 w 7680637"/>
              <a:gd name="connsiteY5" fmla="*/ 879443 h 4336451"/>
              <a:gd name="connsiteX6" fmla="*/ 3547486 w 7680637"/>
              <a:gd name="connsiteY6" fmla="*/ 1125263 h 4336451"/>
              <a:gd name="connsiteX7" fmla="*/ 3559541 w 7680637"/>
              <a:gd name="connsiteY7" fmla="*/ 1136814 h 4336451"/>
              <a:gd name="connsiteX8" fmla="*/ 3594844 w 7680637"/>
              <a:gd name="connsiteY8" fmla="*/ 1179839 h 4336451"/>
              <a:gd name="connsiteX9" fmla="*/ 3608488 w 7680637"/>
              <a:gd name="connsiteY9" fmla="*/ 1199610 h 4336451"/>
              <a:gd name="connsiteX10" fmla="*/ 3859378 w 7680637"/>
              <a:gd name="connsiteY10" fmla="*/ 1530521 h 4336451"/>
              <a:gd name="connsiteX11" fmla="*/ 4127150 w 7680637"/>
              <a:gd name="connsiteY11" fmla="*/ 1957420 h 4336451"/>
              <a:gd name="connsiteX12" fmla="*/ 4318633 w 7680637"/>
              <a:gd name="connsiteY12" fmla="*/ 2395038 h 4336451"/>
              <a:gd name="connsiteX13" fmla="*/ 4397027 w 7680637"/>
              <a:gd name="connsiteY13" fmla="*/ 2829633 h 4336451"/>
              <a:gd name="connsiteX14" fmla="*/ 4225697 w 7680637"/>
              <a:gd name="connsiteY14" fmla="*/ 3419902 h 4336451"/>
              <a:gd name="connsiteX15" fmla="*/ 4062935 w 7680637"/>
              <a:gd name="connsiteY15" fmla="*/ 3609295 h 4336451"/>
              <a:gd name="connsiteX16" fmla="*/ 4026361 w 7680637"/>
              <a:gd name="connsiteY16" fmla="*/ 3648304 h 4336451"/>
              <a:gd name="connsiteX17" fmla="*/ 3960411 w 7680637"/>
              <a:gd name="connsiteY17" fmla="*/ 3702417 h 4336451"/>
              <a:gd name="connsiteX18" fmla="*/ 3930096 w 7680637"/>
              <a:gd name="connsiteY18" fmla="*/ 3720145 h 4336451"/>
              <a:gd name="connsiteX19" fmla="*/ 3581683 w 7680637"/>
              <a:gd name="connsiteY19" fmla="*/ 3923972 h 4336451"/>
              <a:gd name="connsiteX20" fmla="*/ 3065181 w 7680637"/>
              <a:gd name="connsiteY20" fmla="*/ 4112732 h 4336451"/>
              <a:gd name="connsiteX21" fmla="*/ 2281419 w 7680637"/>
              <a:gd name="connsiteY21" fmla="*/ 4276486 h 4336451"/>
              <a:gd name="connsiteX22" fmla="*/ 1509106 w 7680637"/>
              <a:gd name="connsiteY22" fmla="*/ 4336355 h 4336451"/>
              <a:gd name="connsiteX23" fmla="*/ 987175 w 7680637"/>
              <a:gd name="connsiteY23" fmla="*/ 4286597 h 4336451"/>
              <a:gd name="connsiteX24" fmla="*/ 589146 w 7680637"/>
              <a:gd name="connsiteY24" fmla="*/ 4153435 h 4336451"/>
              <a:gd name="connsiteX25" fmla="*/ 309879 w 7680637"/>
              <a:gd name="connsiteY25" fmla="*/ 3953535 h 4336451"/>
              <a:gd name="connsiteX26" fmla="*/ 268865 w 7680637"/>
              <a:gd name="connsiteY26" fmla="*/ 3913607 h 4336451"/>
              <a:gd name="connsiteX27" fmla="*/ 226554 w 7680637"/>
              <a:gd name="connsiteY27" fmla="*/ 3862040 h 4336451"/>
              <a:gd name="connsiteX28" fmla="*/ 218482 w 7680637"/>
              <a:gd name="connsiteY28" fmla="*/ 3847486 h 4336451"/>
              <a:gd name="connsiteX29" fmla="*/ 164739 w 7680637"/>
              <a:gd name="connsiteY29" fmla="*/ 3765333 h 4336451"/>
              <a:gd name="connsiteX30" fmla="*/ 30218 w 7680637"/>
              <a:gd name="connsiteY30" fmla="*/ 3404051 h 4336451"/>
              <a:gd name="connsiteX31" fmla="*/ 6563 w 7680637"/>
              <a:gd name="connsiteY31" fmla="*/ 2907338 h 4336451"/>
              <a:gd name="connsiteX32" fmla="*/ 94549 w 7680637"/>
              <a:gd name="connsiteY32" fmla="*/ 2373545 h 4336451"/>
              <a:gd name="connsiteX33" fmla="*/ 517592 w 7680637"/>
              <a:gd name="connsiteY33" fmla="*/ 1199844 h 4336451"/>
              <a:gd name="connsiteX34" fmla="*/ 854449 w 7680637"/>
              <a:gd name="connsiteY34" fmla="*/ 622773 h 4336451"/>
              <a:gd name="connsiteX35" fmla="*/ 1142073 w 7680637"/>
              <a:gd name="connsiteY35" fmla="*/ 301812 h 4336451"/>
              <a:gd name="connsiteX36" fmla="*/ 1156923 w 7680637"/>
              <a:gd name="connsiteY36" fmla="*/ 285659 h 4336451"/>
              <a:gd name="connsiteX37" fmla="*/ 1219944 w 7680637"/>
              <a:gd name="connsiteY37" fmla="*/ 233949 h 4336451"/>
              <a:gd name="connsiteX38" fmla="*/ 1243132 w 7680637"/>
              <a:gd name="connsiteY38" fmla="*/ 219158 h 4336451"/>
              <a:gd name="connsiteX39" fmla="*/ 1408343 w 7680637"/>
              <a:gd name="connsiteY39" fmla="*/ 113509 h 4336451"/>
              <a:gd name="connsiteX40" fmla="*/ 1815121 w 7680637"/>
              <a:gd name="connsiteY40" fmla="*/ 1241 h 4336451"/>
              <a:gd name="connsiteX41" fmla="*/ 5284387 w 7680637"/>
              <a:gd name="connsiteY41" fmla="*/ 1821783 h 4336451"/>
              <a:gd name="connsiteX42" fmla="*/ 7680637 w 7680637"/>
              <a:gd name="connsiteY42" fmla="*/ 1821783 h 4336451"/>
              <a:gd name="connsiteX43" fmla="*/ 5284387 w 7680637"/>
              <a:gd name="connsiteY43" fmla="*/ 1821783 h 4336451"/>
              <a:gd name="connsiteX0" fmla="*/ 1815121 w 4397254"/>
              <a:gd name="connsiteY0" fmla="*/ 1241 h 4336451"/>
              <a:gd name="connsiteX1" fmla="*/ 1958741 w 4397254"/>
              <a:gd name="connsiteY1" fmla="*/ 4395 h 4336451"/>
              <a:gd name="connsiteX2" fmla="*/ 2359375 w 4397254"/>
              <a:gd name="connsiteY2" fmla="*/ 113712 h 4336451"/>
              <a:gd name="connsiteX3" fmla="*/ 2789536 w 4397254"/>
              <a:gd name="connsiteY3" fmla="*/ 374021 h 4336451"/>
              <a:gd name="connsiteX4" fmla="*/ 3102571 w 4397254"/>
              <a:gd name="connsiteY4" fmla="*/ 643354 h 4336451"/>
              <a:gd name="connsiteX5" fmla="*/ 3332895 w 4397254"/>
              <a:gd name="connsiteY5" fmla="*/ 879443 h 4336451"/>
              <a:gd name="connsiteX6" fmla="*/ 3547486 w 4397254"/>
              <a:gd name="connsiteY6" fmla="*/ 1125263 h 4336451"/>
              <a:gd name="connsiteX7" fmla="*/ 3559541 w 4397254"/>
              <a:gd name="connsiteY7" fmla="*/ 1136814 h 4336451"/>
              <a:gd name="connsiteX8" fmla="*/ 3594844 w 4397254"/>
              <a:gd name="connsiteY8" fmla="*/ 1179839 h 4336451"/>
              <a:gd name="connsiteX9" fmla="*/ 3608488 w 4397254"/>
              <a:gd name="connsiteY9" fmla="*/ 1199610 h 4336451"/>
              <a:gd name="connsiteX10" fmla="*/ 3859378 w 4397254"/>
              <a:gd name="connsiteY10" fmla="*/ 1530521 h 4336451"/>
              <a:gd name="connsiteX11" fmla="*/ 4127150 w 4397254"/>
              <a:gd name="connsiteY11" fmla="*/ 1957420 h 4336451"/>
              <a:gd name="connsiteX12" fmla="*/ 4318633 w 4397254"/>
              <a:gd name="connsiteY12" fmla="*/ 2395038 h 4336451"/>
              <a:gd name="connsiteX13" fmla="*/ 4397027 w 4397254"/>
              <a:gd name="connsiteY13" fmla="*/ 2829633 h 4336451"/>
              <a:gd name="connsiteX14" fmla="*/ 4225697 w 4397254"/>
              <a:gd name="connsiteY14" fmla="*/ 3419902 h 4336451"/>
              <a:gd name="connsiteX15" fmla="*/ 4062935 w 4397254"/>
              <a:gd name="connsiteY15" fmla="*/ 3609295 h 4336451"/>
              <a:gd name="connsiteX16" fmla="*/ 4026361 w 4397254"/>
              <a:gd name="connsiteY16" fmla="*/ 3648304 h 4336451"/>
              <a:gd name="connsiteX17" fmla="*/ 3960411 w 4397254"/>
              <a:gd name="connsiteY17" fmla="*/ 3702417 h 4336451"/>
              <a:gd name="connsiteX18" fmla="*/ 3930096 w 4397254"/>
              <a:gd name="connsiteY18" fmla="*/ 3720145 h 4336451"/>
              <a:gd name="connsiteX19" fmla="*/ 3581683 w 4397254"/>
              <a:gd name="connsiteY19" fmla="*/ 3923972 h 4336451"/>
              <a:gd name="connsiteX20" fmla="*/ 3065181 w 4397254"/>
              <a:gd name="connsiteY20" fmla="*/ 4112732 h 4336451"/>
              <a:gd name="connsiteX21" fmla="*/ 2281419 w 4397254"/>
              <a:gd name="connsiteY21" fmla="*/ 4276486 h 4336451"/>
              <a:gd name="connsiteX22" fmla="*/ 1509106 w 4397254"/>
              <a:gd name="connsiteY22" fmla="*/ 4336355 h 4336451"/>
              <a:gd name="connsiteX23" fmla="*/ 987175 w 4397254"/>
              <a:gd name="connsiteY23" fmla="*/ 4286597 h 4336451"/>
              <a:gd name="connsiteX24" fmla="*/ 589146 w 4397254"/>
              <a:gd name="connsiteY24" fmla="*/ 4153435 h 4336451"/>
              <a:gd name="connsiteX25" fmla="*/ 309879 w 4397254"/>
              <a:gd name="connsiteY25" fmla="*/ 3953535 h 4336451"/>
              <a:gd name="connsiteX26" fmla="*/ 268865 w 4397254"/>
              <a:gd name="connsiteY26" fmla="*/ 3913607 h 4336451"/>
              <a:gd name="connsiteX27" fmla="*/ 226554 w 4397254"/>
              <a:gd name="connsiteY27" fmla="*/ 3862040 h 4336451"/>
              <a:gd name="connsiteX28" fmla="*/ 218482 w 4397254"/>
              <a:gd name="connsiteY28" fmla="*/ 3847486 h 4336451"/>
              <a:gd name="connsiteX29" fmla="*/ 164739 w 4397254"/>
              <a:gd name="connsiteY29" fmla="*/ 3765333 h 4336451"/>
              <a:gd name="connsiteX30" fmla="*/ 30218 w 4397254"/>
              <a:gd name="connsiteY30" fmla="*/ 3404051 h 4336451"/>
              <a:gd name="connsiteX31" fmla="*/ 6563 w 4397254"/>
              <a:gd name="connsiteY31" fmla="*/ 2907338 h 4336451"/>
              <a:gd name="connsiteX32" fmla="*/ 94549 w 4397254"/>
              <a:gd name="connsiteY32" fmla="*/ 2373545 h 4336451"/>
              <a:gd name="connsiteX33" fmla="*/ 517592 w 4397254"/>
              <a:gd name="connsiteY33" fmla="*/ 1199844 h 4336451"/>
              <a:gd name="connsiteX34" fmla="*/ 854449 w 4397254"/>
              <a:gd name="connsiteY34" fmla="*/ 622773 h 4336451"/>
              <a:gd name="connsiteX35" fmla="*/ 1142073 w 4397254"/>
              <a:gd name="connsiteY35" fmla="*/ 301812 h 4336451"/>
              <a:gd name="connsiteX36" fmla="*/ 1156923 w 4397254"/>
              <a:gd name="connsiteY36" fmla="*/ 285659 h 4336451"/>
              <a:gd name="connsiteX37" fmla="*/ 1219944 w 4397254"/>
              <a:gd name="connsiteY37" fmla="*/ 233949 h 4336451"/>
              <a:gd name="connsiteX38" fmla="*/ 1243132 w 4397254"/>
              <a:gd name="connsiteY38" fmla="*/ 219158 h 4336451"/>
              <a:gd name="connsiteX39" fmla="*/ 1408343 w 4397254"/>
              <a:gd name="connsiteY39" fmla="*/ 113509 h 4336451"/>
              <a:gd name="connsiteX40" fmla="*/ 1815121 w 4397254"/>
              <a:gd name="connsiteY40" fmla="*/ 1241 h 43364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397254" h="4336451">
                <a:moveTo>
                  <a:pt x="1815121" y="1241"/>
                </a:moveTo>
                <a:cubicBezTo>
                  <a:pt x="1862318" y="-1137"/>
                  <a:pt x="1910189" y="-102"/>
                  <a:pt x="1958741" y="4395"/>
                </a:cubicBezTo>
                <a:cubicBezTo>
                  <a:pt x="2098628" y="17457"/>
                  <a:pt x="2231379" y="57015"/>
                  <a:pt x="2359375" y="113712"/>
                </a:cubicBezTo>
                <a:cubicBezTo>
                  <a:pt x="2513869" y="182282"/>
                  <a:pt x="2655218" y="272222"/>
                  <a:pt x="2789536" y="374021"/>
                </a:cubicBezTo>
                <a:cubicBezTo>
                  <a:pt x="2899333" y="457559"/>
                  <a:pt x="3002950" y="548021"/>
                  <a:pt x="3102571" y="643354"/>
                </a:cubicBezTo>
                <a:cubicBezTo>
                  <a:pt x="3182202" y="719351"/>
                  <a:pt x="3259630" y="797689"/>
                  <a:pt x="3332895" y="879443"/>
                </a:cubicBezTo>
                <a:cubicBezTo>
                  <a:pt x="3405797" y="960434"/>
                  <a:pt x="3476103" y="1043291"/>
                  <a:pt x="3547486" y="1125263"/>
                </a:cubicBezTo>
                <a:cubicBezTo>
                  <a:pt x="3551145" y="1129408"/>
                  <a:pt x="3555574" y="1132922"/>
                  <a:pt x="3559541" y="1136814"/>
                </a:cubicBezTo>
                <a:lnTo>
                  <a:pt x="3594844" y="1179839"/>
                </a:lnTo>
                <a:cubicBezTo>
                  <a:pt x="3599444" y="1186387"/>
                  <a:pt x="3603581" y="1193315"/>
                  <a:pt x="3608488" y="1199610"/>
                </a:cubicBezTo>
                <a:cubicBezTo>
                  <a:pt x="3695148" y="1307428"/>
                  <a:pt x="3779473" y="1417425"/>
                  <a:pt x="3859378" y="1530521"/>
                </a:cubicBezTo>
                <a:cubicBezTo>
                  <a:pt x="3956253" y="1668069"/>
                  <a:pt x="4046908" y="1809665"/>
                  <a:pt x="4127150" y="1957420"/>
                </a:cubicBezTo>
                <a:cubicBezTo>
                  <a:pt x="4203278" y="2097963"/>
                  <a:pt x="4269448" y="2242711"/>
                  <a:pt x="4318633" y="2395038"/>
                </a:cubicBezTo>
                <a:cubicBezTo>
                  <a:pt x="4364176" y="2536327"/>
                  <a:pt x="4394000" y="2680458"/>
                  <a:pt x="4397027" y="2829633"/>
                </a:cubicBezTo>
                <a:cubicBezTo>
                  <a:pt x="4401223" y="3044022"/>
                  <a:pt x="4347375" y="3241718"/>
                  <a:pt x="4225697" y="3419902"/>
                </a:cubicBezTo>
                <a:cubicBezTo>
                  <a:pt x="4178523" y="3489045"/>
                  <a:pt x="4123864" y="3551893"/>
                  <a:pt x="4062935" y="3609295"/>
                </a:cubicBezTo>
                <a:cubicBezTo>
                  <a:pt x="4050000" y="3621498"/>
                  <a:pt x="4038518" y="3635153"/>
                  <a:pt x="4026361" y="3648304"/>
                </a:cubicBezTo>
                <a:lnTo>
                  <a:pt x="3960411" y="3702417"/>
                </a:lnTo>
                <a:cubicBezTo>
                  <a:pt x="3950306" y="3708327"/>
                  <a:pt x="3939576" y="3713159"/>
                  <a:pt x="3930096" y="3720145"/>
                </a:cubicBezTo>
                <a:cubicBezTo>
                  <a:pt x="3821235" y="3800204"/>
                  <a:pt x="3704076" y="3866689"/>
                  <a:pt x="3581683" y="3923972"/>
                </a:cubicBezTo>
                <a:cubicBezTo>
                  <a:pt x="3415114" y="4001885"/>
                  <a:pt x="3241981" y="4062685"/>
                  <a:pt x="3065181" y="4112732"/>
                </a:cubicBezTo>
                <a:cubicBezTo>
                  <a:pt x="2807878" y="4185956"/>
                  <a:pt x="2545972" y="4237546"/>
                  <a:pt x="2281419" y="4276486"/>
                </a:cubicBezTo>
                <a:cubicBezTo>
                  <a:pt x="2025295" y="4314067"/>
                  <a:pt x="1768171" y="4338178"/>
                  <a:pt x="1509106" y="4336355"/>
                </a:cubicBezTo>
                <a:cubicBezTo>
                  <a:pt x="1333688" y="4334979"/>
                  <a:pt x="1159288" y="4321650"/>
                  <a:pt x="987175" y="4286597"/>
                </a:cubicBezTo>
                <a:cubicBezTo>
                  <a:pt x="848988" y="4258642"/>
                  <a:pt x="715269" y="4216963"/>
                  <a:pt x="589146" y="4153435"/>
                </a:cubicBezTo>
                <a:cubicBezTo>
                  <a:pt x="485705" y="4101209"/>
                  <a:pt x="391685" y="4035954"/>
                  <a:pt x="309879" y="3953535"/>
                </a:cubicBezTo>
                <a:cubicBezTo>
                  <a:pt x="296422" y="3939962"/>
                  <a:pt x="282631" y="3926927"/>
                  <a:pt x="268865" y="3913607"/>
                </a:cubicBezTo>
                <a:lnTo>
                  <a:pt x="226554" y="3862040"/>
                </a:lnTo>
                <a:cubicBezTo>
                  <a:pt x="223819" y="3857134"/>
                  <a:pt x="221677" y="3852011"/>
                  <a:pt x="218482" y="3847486"/>
                </a:cubicBezTo>
                <a:cubicBezTo>
                  <a:pt x="200618" y="3820062"/>
                  <a:pt x="181393" y="3793486"/>
                  <a:pt x="164739" y="3765333"/>
                </a:cubicBezTo>
                <a:cubicBezTo>
                  <a:pt x="97787" y="3653256"/>
                  <a:pt x="55417" y="3531860"/>
                  <a:pt x="30218" y="3404051"/>
                </a:cubicBezTo>
                <a:cubicBezTo>
                  <a:pt x="-2189" y="3239807"/>
                  <a:pt x="-5794" y="3073902"/>
                  <a:pt x="6563" y="2907338"/>
                </a:cubicBezTo>
                <a:cubicBezTo>
                  <a:pt x="19827" y="2726795"/>
                  <a:pt x="51054" y="2548982"/>
                  <a:pt x="94549" y="2373545"/>
                </a:cubicBezTo>
                <a:cubicBezTo>
                  <a:pt x="194967" y="1967715"/>
                  <a:pt x="339184" y="1577558"/>
                  <a:pt x="517592" y="1199844"/>
                </a:cubicBezTo>
                <a:cubicBezTo>
                  <a:pt x="613094" y="997614"/>
                  <a:pt x="722388" y="803389"/>
                  <a:pt x="854449" y="622773"/>
                </a:cubicBezTo>
                <a:cubicBezTo>
                  <a:pt x="939492" y="506147"/>
                  <a:pt x="1031609" y="395627"/>
                  <a:pt x="1142073" y="301812"/>
                </a:cubicBezTo>
                <a:cubicBezTo>
                  <a:pt x="1147644" y="296975"/>
                  <a:pt x="1152023" y="291001"/>
                  <a:pt x="1156923" y="285659"/>
                </a:cubicBezTo>
                <a:lnTo>
                  <a:pt x="1219944" y="233949"/>
                </a:lnTo>
                <a:cubicBezTo>
                  <a:pt x="1227812" y="229081"/>
                  <a:pt x="1236043" y="224975"/>
                  <a:pt x="1243132" y="219158"/>
                </a:cubicBezTo>
                <a:cubicBezTo>
                  <a:pt x="1294110" y="177594"/>
                  <a:pt x="1350030" y="143622"/>
                  <a:pt x="1408343" y="113509"/>
                </a:cubicBezTo>
                <a:cubicBezTo>
                  <a:pt x="1538001" y="46229"/>
                  <a:pt x="1673529" y="8376"/>
                  <a:pt x="1815121" y="1241"/>
                </a:cubicBezTo>
                <a:close/>
              </a:path>
            </a:pathLst>
          </a:cu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6C377F9-FA26-4D7D-8C15-5737D03438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6227" y="230314"/>
            <a:ext cx="7665776" cy="584775"/>
          </a:xfrm>
        </p:spPr>
        <p:txBody>
          <a:bodyPr>
            <a:spAutoFit/>
          </a:bodyPr>
          <a:lstStyle>
            <a:lvl1pPr>
              <a:defRPr lang="en-GB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DEAE418-52E2-4DE7-A31D-BA3FF67BE6A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96227" y="843417"/>
            <a:ext cx="7665776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36129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55FD07-32D4-4A25-A7A2-13926211B76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1"/>
            <a:ext cx="12192000" cy="31877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1F7B841-B016-4EA6-B35A-56DF9234E7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00" y="230314"/>
            <a:ext cx="10820400" cy="584775"/>
          </a:xfrm>
        </p:spPr>
        <p:txBody>
          <a:bodyPr>
            <a:spAutoFit/>
          </a:bodyPr>
          <a:lstStyle>
            <a:lvl1pPr>
              <a:defRPr lang="en-GB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4E848E19-DAF4-49BB-B133-74C5F04FFF3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23901" y="843417"/>
            <a:ext cx="10820400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25670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889148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663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3200" b="1" kern="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502DCD3E-688B-4163-B796-566F5536398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23901" y="843417"/>
            <a:ext cx="10820400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50266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BAB6AC99-4036-4871-B44A-163F75919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00" y="230315"/>
            <a:ext cx="5219700" cy="1077218"/>
          </a:xfrm>
        </p:spPr>
        <p:txBody>
          <a:bodyPr>
            <a:spAutoFit/>
          </a:bodyPr>
          <a:lstStyle>
            <a:lvl1pPr>
              <a:defRPr lang="en-GB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8806BEB1-554E-441B-8143-1262D1DD218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23901" y="843417"/>
            <a:ext cx="5219699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0A28A75D-08F0-4C74-9485-2A3A830F979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auto">
          <a:xfrm>
            <a:off x="4639333" y="-21085"/>
            <a:ext cx="7552668" cy="6879085"/>
          </a:xfrm>
          <a:custGeom>
            <a:avLst/>
            <a:gdLst>
              <a:gd name="connsiteX0" fmla="*/ 2971144 w 8527206"/>
              <a:gd name="connsiteY0" fmla="*/ 0 h 6858000"/>
              <a:gd name="connsiteX1" fmla="*/ 7752484 w 8527206"/>
              <a:gd name="connsiteY1" fmla="*/ 0 h 6858000"/>
              <a:gd name="connsiteX2" fmla="*/ 7863964 w 8527206"/>
              <a:gd name="connsiteY2" fmla="*/ 173070 h 6858000"/>
              <a:gd name="connsiteX3" fmla="*/ 8367759 w 8527206"/>
              <a:gd name="connsiteY3" fmla="*/ 1196300 h 6858000"/>
              <a:gd name="connsiteX4" fmla="*/ 8527206 w 8527206"/>
              <a:gd name="connsiteY4" fmla="*/ 1631659 h 6858000"/>
              <a:gd name="connsiteX5" fmla="*/ 8527206 w 8527206"/>
              <a:gd name="connsiteY5" fmla="*/ 6858000 h 6858000"/>
              <a:gd name="connsiteX6" fmla="*/ 1968306 w 8527206"/>
              <a:gd name="connsiteY6" fmla="*/ 6858000 h 6858000"/>
              <a:gd name="connsiteX7" fmla="*/ 1963205 w 8527206"/>
              <a:gd name="connsiteY7" fmla="*/ 6855630 h 6858000"/>
              <a:gd name="connsiteX8" fmla="*/ 1098144 w 8527206"/>
              <a:gd name="connsiteY8" fmla="*/ 6340068 h 6858000"/>
              <a:gd name="connsiteX9" fmla="*/ 430707 w 8527206"/>
              <a:gd name="connsiteY9" fmla="*/ 5690993 h 6858000"/>
              <a:gd name="connsiteX10" fmla="*/ 561 w 8527206"/>
              <a:gd name="connsiteY10" fmla="*/ 4468699 h 6858000"/>
              <a:gd name="connsiteX11" fmla="*/ 47377 w 8527206"/>
              <a:gd name="connsiteY11" fmla="*/ 3944319 h 6858000"/>
              <a:gd name="connsiteX12" fmla="*/ 62248 w 8527206"/>
              <a:gd name="connsiteY12" fmla="*/ 3832572 h 6858000"/>
              <a:gd name="connsiteX13" fmla="*/ 108969 w 8527206"/>
              <a:gd name="connsiteY13" fmla="*/ 3658898 h 6858000"/>
              <a:gd name="connsiteX14" fmla="*/ 139210 w 8527206"/>
              <a:gd name="connsiteY14" fmla="*/ 3591318 h 6858000"/>
              <a:gd name="connsiteX15" fmla="*/ 486668 w 8527206"/>
              <a:gd name="connsiteY15" fmla="*/ 2814496 h 6858000"/>
              <a:gd name="connsiteX16" fmla="*/ 1140836 w 8527206"/>
              <a:gd name="connsiteY16" fmla="*/ 1857357 h 6858000"/>
              <a:gd name="connsiteX17" fmla="*/ 2283959 w 8527206"/>
              <a:gd name="connsiteY17" fmla="*/ 615316 h 6858000"/>
              <a:gd name="connsiteX18" fmla="*/ 2889393 w 8527206"/>
              <a:gd name="connsiteY18" fmla="*/ 66398 h 6858000"/>
              <a:gd name="connsiteX0" fmla="*/ 2971144 w 8548017"/>
              <a:gd name="connsiteY0" fmla="*/ 0 h 6858000"/>
              <a:gd name="connsiteX1" fmla="*/ 7752484 w 8548017"/>
              <a:gd name="connsiteY1" fmla="*/ 0 h 6858000"/>
              <a:gd name="connsiteX2" fmla="*/ 7863964 w 8548017"/>
              <a:gd name="connsiteY2" fmla="*/ 173070 h 6858000"/>
              <a:gd name="connsiteX3" fmla="*/ 8548017 w 8548017"/>
              <a:gd name="connsiteY3" fmla="*/ 1036643 h 6858000"/>
              <a:gd name="connsiteX4" fmla="*/ 8527206 w 8548017"/>
              <a:gd name="connsiteY4" fmla="*/ 1631659 h 6858000"/>
              <a:gd name="connsiteX5" fmla="*/ 8527206 w 8548017"/>
              <a:gd name="connsiteY5" fmla="*/ 6858000 h 6858000"/>
              <a:gd name="connsiteX6" fmla="*/ 1968306 w 8548017"/>
              <a:gd name="connsiteY6" fmla="*/ 6858000 h 6858000"/>
              <a:gd name="connsiteX7" fmla="*/ 1963205 w 8548017"/>
              <a:gd name="connsiteY7" fmla="*/ 6855630 h 6858000"/>
              <a:gd name="connsiteX8" fmla="*/ 1098144 w 8548017"/>
              <a:gd name="connsiteY8" fmla="*/ 6340068 h 6858000"/>
              <a:gd name="connsiteX9" fmla="*/ 430707 w 8548017"/>
              <a:gd name="connsiteY9" fmla="*/ 5690993 h 6858000"/>
              <a:gd name="connsiteX10" fmla="*/ 561 w 8548017"/>
              <a:gd name="connsiteY10" fmla="*/ 4468699 h 6858000"/>
              <a:gd name="connsiteX11" fmla="*/ 47377 w 8548017"/>
              <a:gd name="connsiteY11" fmla="*/ 3944319 h 6858000"/>
              <a:gd name="connsiteX12" fmla="*/ 62248 w 8548017"/>
              <a:gd name="connsiteY12" fmla="*/ 3832572 h 6858000"/>
              <a:gd name="connsiteX13" fmla="*/ 108969 w 8548017"/>
              <a:gd name="connsiteY13" fmla="*/ 3658898 h 6858000"/>
              <a:gd name="connsiteX14" fmla="*/ 139210 w 8548017"/>
              <a:gd name="connsiteY14" fmla="*/ 3591318 h 6858000"/>
              <a:gd name="connsiteX15" fmla="*/ 486668 w 8548017"/>
              <a:gd name="connsiteY15" fmla="*/ 2814496 h 6858000"/>
              <a:gd name="connsiteX16" fmla="*/ 1140836 w 8548017"/>
              <a:gd name="connsiteY16" fmla="*/ 1857357 h 6858000"/>
              <a:gd name="connsiteX17" fmla="*/ 2283959 w 8548017"/>
              <a:gd name="connsiteY17" fmla="*/ 615316 h 6858000"/>
              <a:gd name="connsiteX18" fmla="*/ 2889393 w 8548017"/>
              <a:gd name="connsiteY18" fmla="*/ 66398 h 6858000"/>
              <a:gd name="connsiteX19" fmla="*/ 2971144 w 8548017"/>
              <a:gd name="connsiteY19" fmla="*/ 0 h 6858000"/>
              <a:gd name="connsiteX0" fmla="*/ 2971144 w 8548017"/>
              <a:gd name="connsiteY0" fmla="*/ 73672 h 6931672"/>
              <a:gd name="connsiteX1" fmla="*/ 7752484 w 8548017"/>
              <a:gd name="connsiteY1" fmla="*/ 73672 h 6931672"/>
              <a:gd name="connsiteX2" fmla="*/ 8453900 w 8548017"/>
              <a:gd name="connsiteY2" fmla="*/ 0 h 6931672"/>
              <a:gd name="connsiteX3" fmla="*/ 8548017 w 8548017"/>
              <a:gd name="connsiteY3" fmla="*/ 1110315 h 6931672"/>
              <a:gd name="connsiteX4" fmla="*/ 8527206 w 8548017"/>
              <a:gd name="connsiteY4" fmla="*/ 1705331 h 6931672"/>
              <a:gd name="connsiteX5" fmla="*/ 8527206 w 8548017"/>
              <a:gd name="connsiteY5" fmla="*/ 6931672 h 6931672"/>
              <a:gd name="connsiteX6" fmla="*/ 1968306 w 8548017"/>
              <a:gd name="connsiteY6" fmla="*/ 6931672 h 6931672"/>
              <a:gd name="connsiteX7" fmla="*/ 1963205 w 8548017"/>
              <a:gd name="connsiteY7" fmla="*/ 6929302 h 6931672"/>
              <a:gd name="connsiteX8" fmla="*/ 1098144 w 8548017"/>
              <a:gd name="connsiteY8" fmla="*/ 6413740 h 6931672"/>
              <a:gd name="connsiteX9" fmla="*/ 430707 w 8548017"/>
              <a:gd name="connsiteY9" fmla="*/ 5764665 h 6931672"/>
              <a:gd name="connsiteX10" fmla="*/ 561 w 8548017"/>
              <a:gd name="connsiteY10" fmla="*/ 4542371 h 6931672"/>
              <a:gd name="connsiteX11" fmla="*/ 47377 w 8548017"/>
              <a:gd name="connsiteY11" fmla="*/ 4017991 h 6931672"/>
              <a:gd name="connsiteX12" fmla="*/ 62248 w 8548017"/>
              <a:gd name="connsiteY12" fmla="*/ 3906244 h 6931672"/>
              <a:gd name="connsiteX13" fmla="*/ 108969 w 8548017"/>
              <a:gd name="connsiteY13" fmla="*/ 3732570 h 6931672"/>
              <a:gd name="connsiteX14" fmla="*/ 139210 w 8548017"/>
              <a:gd name="connsiteY14" fmla="*/ 3664990 h 6931672"/>
              <a:gd name="connsiteX15" fmla="*/ 486668 w 8548017"/>
              <a:gd name="connsiteY15" fmla="*/ 2888168 h 6931672"/>
              <a:gd name="connsiteX16" fmla="*/ 1140836 w 8548017"/>
              <a:gd name="connsiteY16" fmla="*/ 1931029 h 6931672"/>
              <a:gd name="connsiteX17" fmla="*/ 2283959 w 8548017"/>
              <a:gd name="connsiteY17" fmla="*/ 688988 h 6931672"/>
              <a:gd name="connsiteX18" fmla="*/ 2889393 w 8548017"/>
              <a:gd name="connsiteY18" fmla="*/ 140070 h 6931672"/>
              <a:gd name="connsiteX19" fmla="*/ 2971144 w 8548017"/>
              <a:gd name="connsiteY19" fmla="*/ 73672 h 6931672"/>
              <a:gd name="connsiteX0" fmla="*/ 2971144 w 8548017"/>
              <a:gd name="connsiteY0" fmla="*/ 73672 h 6931672"/>
              <a:gd name="connsiteX1" fmla="*/ 7752484 w 8548017"/>
              <a:gd name="connsiteY1" fmla="*/ 73672 h 6931672"/>
              <a:gd name="connsiteX2" fmla="*/ 8453900 w 8548017"/>
              <a:gd name="connsiteY2" fmla="*/ 0 h 6931672"/>
              <a:gd name="connsiteX3" fmla="*/ 8548017 w 8548017"/>
              <a:gd name="connsiteY3" fmla="*/ 1110315 h 6931672"/>
              <a:gd name="connsiteX4" fmla="*/ 8527206 w 8548017"/>
              <a:gd name="connsiteY4" fmla="*/ 1705331 h 6931672"/>
              <a:gd name="connsiteX5" fmla="*/ 8527206 w 8548017"/>
              <a:gd name="connsiteY5" fmla="*/ 6931672 h 6931672"/>
              <a:gd name="connsiteX6" fmla="*/ 1968306 w 8548017"/>
              <a:gd name="connsiteY6" fmla="*/ 6931672 h 6931672"/>
              <a:gd name="connsiteX7" fmla="*/ 1963205 w 8548017"/>
              <a:gd name="connsiteY7" fmla="*/ 6929302 h 6931672"/>
              <a:gd name="connsiteX8" fmla="*/ 1098144 w 8548017"/>
              <a:gd name="connsiteY8" fmla="*/ 6413740 h 6931672"/>
              <a:gd name="connsiteX9" fmla="*/ 430707 w 8548017"/>
              <a:gd name="connsiteY9" fmla="*/ 5764665 h 6931672"/>
              <a:gd name="connsiteX10" fmla="*/ 561 w 8548017"/>
              <a:gd name="connsiteY10" fmla="*/ 4542371 h 6931672"/>
              <a:gd name="connsiteX11" fmla="*/ 47377 w 8548017"/>
              <a:gd name="connsiteY11" fmla="*/ 4017991 h 6931672"/>
              <a:gd name="connsiteX12" fmla="*/ 62248 w 8548017"/>
              <a:gd name="connsiteY12" fmla="*/ 3906244 h 6931672"/>
              <a:gd name="connsiteX13" fmla="*/ 108969 w 8548017"/>
              <a:gd name="connsiteY13" fmla="*/ 3732570 h 6931672"/>
              <a:gd name="connsiteX14" fmla="*/ 139210 w 8548017"/>
              <a:gd name="connsiteY14" fmla="*/ 3664990 h 6931672"/>
              <a:gd name="connsiteX15" fmla="*/ 486668 w 8548017"/>
              <a:gd name="connsiteY15" fmla="*/ 2888168 h 6931672"/>
              <a:gd name="connsiteX16" fmla="*/ 1140836 w 8548017"/>
              <a:gd name="connsiteY16" fmla="*/ 1931029 h 6931672"/>
              <a:gd name="connsiteX17" fmla="*/ 2283959 w 8548017"/>
              <a:gd name="connsiteY17" fmla="*/ 688988 h 6931672"/>
              <a:gd name="connsiteX18" fmla="*/ 2889393 w 8548017"/>
              <a:gd name="connsiteY18" fmla="*/ 140070 h 6931672"/>
              <a:gd name="connsiteX19" fmla="*/ 2971144 w 8548017"/>
              <a:gd name="connsiteY19" fmla="*/ 73672 h 6931672"/>
              <a:gd name="connsiteX0" fmla="*/ 2971144 w 8601798"/>
              <a:gd name="connsiteY0" fmla="*/ 1101 h 6859101"/>
              <a:gd name="connsiteX1" fmla="*/ 7752484 w 8601798"/>
              <a:gd name="connsiteY1" fmla="*/ 1101 h 6859101"/>
              <a:gd name="connsiteX2" fmla="*/ 8535835 w 8601798"/>
              <a:gd name="connsiteY2" fmla="*/ 0 h 6859101"/>
              <a:gd name="connsiteX3" fmla="*/ 8548017 w 8601798"/>
              <a:gd name="connsiteY3" fmla="*/ 1037744 h 6859101"/>
              <a:gd name="connsiteX4" fmla="*/ 8527206 w 8601798"/>
              <a:gd name="connsiteY4" fmla="*/ 1632760 h 6859101"/>
              <a:gd name="connsiteX5" fmla="*/ 8527206 w 8601798"/>
              <a:gd name="connsiteY5" fmla="*/ 6859101 h 6859101"/>
              <a:gd name="connsiteX6" fmla="*/ 1968306 w 8601798"/>
              <a:gd name="connsiteY6" fmla="*/ 6859101 h 6859101"/>
              <a:gd name="connsiteX7" fmla="*/ 1963205 w 8601798"/>
              <a:gd name="connsiteY7" fmla="*/ 6856731 h 6859101"/>
              <a:gd name="connsiteX8" fmla="*/ 1098144 w 8601798"/>
              <a:gd name="connsiteY8" fmla="*/ 6341169 h 6859101"/>
              <a:gd name="connsiteX9" fmla="*/ 430707 w 8601798"/>
              <a:gd name="connsiteY9" fmla="*/ 5692094 h 6859101"/>
              <a:gd name="connsiteX10" fmla="*/ 561 w 8601798"/>
              <a:gd name="connsiteY10" fmla="*/ 4469800 h 6859101"/>
              <a:gd name="connsiteX11" fmla="*/ 47377 w 8601798"/>
              <a:gd name="connsiteY11" fmla="*/ 3945420 h 6859101"/>
              <a:gd name="connsiteX12" fmla="*/ 62248 w 8601798"/>
              <a:gd name="connsiteY12" fmla="*/ 3833673 h 6859101"/>
              <a:gd name="connsiteX13" fmla="*/ 108969 w 8601798"/>
              <a:gd name="connsiteY13" fmla="*/ 3659999 h 6859101"/>
              <a:gd name="connsiteX14" fmla="*/ 139210 w 8601798"/>
              <a:gd name="connsiteY14" fmla="*/ 3592419 h 6859101"/>
              <a:gd name="connsiteX15" fmla="*/ 486668 w 8601798"/>
              <a:gd name="connsiteY15" fmla="*/ 2815597 h 6859101"/>
              <a:gd name="connsiteX16" fmla="*/ 1140836 w 8601798"/>
              <a:gd name="connsiteY16" fmla="*/ 1858458 h 6859101"/>
              <a:gd name="connsiteX17" fmla="*/ 2283959 w 8601798"/>
              <a:gd name="connsiteY17" fmla="*/ 616417 h 6859101"/>
              <a:gd name="connsiteX18" fmla="*/ 2889393 w 8601798"/>
              <a:gd name="connsiteY18" fmla="*/ 67499 h 6859101"/>
              <a:gd name="connsiteX19" fmla="*/ 2971144 w 8601798"/>
              <a:gd name="connsiteY19" fmla="*/ 1101 h 6859101"/>
              <a:gd name="connsiteX0" fmla="*/ 2971144 w 8875759"/>
              <a:gd name="connsiteY0" fmla="*/ 1101 h 6859101"/>
              <a:gd name="connsiteX1" fmla="*/ 7752484 w 8875759"/>
              <a:gd name="connsiteY1" fmla="*/ 1101 h 6859101"/>
              <a:gd name="connsiteX2" fmla="*/ 8535835 w 8875759"/>
              <a:gd name="connsiteY2" fmla="*/ 0 h 6859101"/>
              <a:gd name="connsiteX3" fmla="*/ 8875759 w 8875759"/>
              <a:gd name="connsiteY3" fmla="*/ 1139344 h 6859101"/>
              <a:gd name="connsiteX4" fmla="*/ 8527206 w 8875759"/>
              <a:gd name="connsiteY4" fmla="*/ 1632760 h 6859101"/>
              <a:gd name="connsiteX5" fmla="*/ 8527206 w 8875759"/>
              <a:gd name="connsiteY5" fmla="*/ 6859101 h 6859101"/>
              <a:gd name="connsiteX6" fmla="*/ 1968306 w 8875759"/>
              <a:gd name="connsiteY6" fmla="*/ 6859101 h 6859101"/>
              <a:gd name="connsiteX7" fmla="*/ 1963205 w 8875759"/>
              <a:gd name="connsiteY7" fmla="*/ 6856731 h 6859101"/>
              <a:gd name="connsiteX8" fmla="*/ 1098144 w 8875759"/>
              <a:gd name="connsiteY8" fmla="*/ 6341169 h 6859101"/>
              <a:gd name="connsiteX9" fmla="*/ 430707 w 8875759"/>
              <a:gd name="connsiteY9" fmla="*/ 5692094 h 6859101"/>
              <a:gd name="connsiteX10" fmla="*/ 561 w 8875759"/>
              <a:gd name="connsiteY10" fmla="*/ 4469800 h 6859101"/>
              <a:gd name="connsiteX11" fmla="*/ 47377 w 8875759"/>
              <a:gd name="connsiteY11" fmla="*/ 3945420 h 6859101"/>
              <a:gd name="connsiteX12" fmla="*/ 62248 w 8875759"/>
              <a:gd name="connsiteY12" fmla="*/ 3833673 h 6859101"/>
              <a:gd name="connsiteX13" fmla="*/ 108969 w 8875759"/>
              <a:gd name="connsiteY13" fmla="*/ 3659999 h 6859101"/>
              <a:gd name="connsiteX14" fmla="*/ 139210 w 8875759"/>
              <a:gd name="connsiteY14" fmla="*/ 3592419 h 6859101"/>
              <a:gd name="connsiteX15" fmla="*/ 486668 w 8875759"/>
              <a:gd name="connsiteY15" fmla="*/ 2815597 h 6859101"/>
              <a:gd name="connsiteX16" fmla="*/ 1140836 w 8875759"/>
              <a:gd name="connsiteY16" fmla="*/ 1858458 h 6859101"/>
              <a:gd name="connsiteX17" fmla="*/ 2283959 w 8875759"/>
              <a:gd name="connsiteY17" fmla="*/ 616417 h 6859101"/>
              <a:gd name="connsiteX18" fmla="*/ 2889393 w 8875759"/>
              <a:gd name="connsiteY18" fmla="*/ 67499 h 6859101"/>
              <a:gd name="connsiteX19" fmla="*/ 2971144 w 8875759"/>
              <a:gd name="connsiteY19" fmla="*/ 1101 h 6859101"/>
              <a:gd name="connsiteX0" fmla="*/ 2971144 w 8875759"/>
              <a:gd name="connsiteY0" fmla="*/ 0 h 6858000"/>
              <a:gd name="connsiteX1" fmla="*/ 7752484 w 8875759"/>
              <a:gd name="connsiteY1" fmla="*/ 0 h 6858000"/>
              <a:gd name="connsiteX2" fmla="*/ 8781642 w 8875759"/>
              <a:gd name="connsiteY2" fmla="*/ 85984 h 6858000"/>
              <a:gd name="connsiteX3" fmla="*/ 8875759 w 8875759"/>
              <a:gd name="connsiteY3" fmla="*/ 1138243 h 6858000"/>
              <a:gd name="connsiteX4" fmla="*/ 8527206 w 8875759"/>
              <a:gd name="connsiteY4" fmla="*/ 1631659 h 6858000"/>
              <a:gd name="connsiteX5" fmla="*/ 8527206 w 8875759"/>
              <a:gd name="connsiteY5" fmla="*/ 6858000 h 6858000"/>
              <a:gd name="connsiteX6" fmla="*/ 1968306 w 8875759"/>
              <a:gd name="connsiteY6" fmla="*/ 6858000 h 6858000"/>
              <a:gd name="connsiteX7" fmla="*/ 1963205 w 8875759"/>
              <a:gd name="connsiteY7" fmla="*/ 6855630 h 6858000"/>
              <a:gd name="connsiteX8" fmla="*/ 1098144 w 8875759"/>
              <a:gd name="connsiteY8" fmla="*/ 6340068 h 6858000"/>
              <a:gd name="connsiteX9" fmla="*/ 430707 w 8875759"/>
              <a:gd name="connsiteY9" fmla="*/ 5690993 h 6858000"/>
              <a:gd name="connsiteX10" fmla="*/ 561 w 8875759"/>
              <a:gd name="connsiteY10" fmla="*/ 4468699 h 6858000"/>
              <a:gd name="connsiteX11" fmla="*/ 47377 w 8875759"/>
              <a:gd name="connsiteY11" fmla="*/ 3944319 h 6858000"/>
              <a:gd name="connsiteX12" fmla="*/ 62248 w 8875759"/>
              <a:gd name="connsiteY12" fmla="*/ 3832572 h 6858000"/>
              <a:gd name="connsiteX13" fmla="*/ 108969 w 8875759"/>
              <a:gd name="connsiteY13" fmla="*/ 3658898 h 6858000"/>
              <a:gd name="connsiteX14" fmla="*/ 139210 w 8875759"/>
              <a:gd name="connsiteY14" fmla="*/ 3591318 h 6858000"/>
              <a:gd name="connsiteX15" fmla="*/ 486668 w 8875759"/>
              <a:gd name="connsiteY15" fmla="*/ 2814496 h 6858000"/>
              <a:gd name="connsiteX16" fmla="*/ 1140836 w 8875759"/>
              <a:gd name="connsiteY16" fmla="*/ 1857357 h 6858000"/>
              <a:gd name="connsiteX17" fmla="*/ 2283959 w 8875759"/>
              <a:gd name="connsiteY17" fmla="*/ 615316 h 6858000"/>
              <a:gd name="connsiteX18" fmla="*/ 2889393 w 8875759"/>
              <a:gd name="connsiteY18" fmla="*/ 66398 h 6858000"/>
              <a:gd name="connsiteX19" fmla="*/ 2971144 w 8875759"/>
              <a:gd name="connsiteY19" fmla="*/ 0 h 6858000"/>
              <a:gd name="connsiteX0" fmla="*/ 2971144 w 8943533"/>
              <a:gd name="connsiteY0" fmla="*/ 1101 h 6859101"/>
              <a:gd name="connsiteX1" fmla="*/ 7752484 w 8943533"/>
              <a:gd name="connsiteY1" fmla="*/ 1101 h 6859101"/>
              <a:gd name="connsiteX2" fmla="*/ 8879965 w 8943533"/>
              <a:gd name="connsiteY2" fmla="*/ 0 h 6859101"/>
              <a:gd name="connsiteX3" fmla="*/ 8875759 w 8943533"/>
              <a:gd name="connsiteY3" fmla="*/ 1139344 h 6859101"/>
              <a:gd name="connsiteX4" fmla="*/ 8527206 w 8943533"/>
              <a:gd name="connsiteY4" fmla="*/ 1632760 h 6859101"/>
              <a:gd name="connsiteX5" fmla="*/ 8527206 w 8943533"/>
              <a:gd name="connsiteY5" fmla="*/ 6859101 h 6859101"/>
              <a:gd name="connsiteX6" fmla="*/ 1968306 w 8943533"/>
              <a:gd name="connsiteY6" fmla="*/ 6859101 h 6859101"/>
              <a:gd name="connsiteX7" fmla="*/ 1963205 w 8943533"/>
              <a:gd name="connsiteY7" fmla="*/ 6856731 h 6859101"/>
              <a:gd name="connsiteX8" fmla="*/ 1098144 w 8943533"/>
              <a:gd name="connsiteY8" fmla="*/ 6341169 h 6859101"/>
              <a:gd name="connsiteX9" fmla="*/ 430707 w 8943533"/>
              <a:gd name="connsiteY9" fmla="*/ 5692094 h 6859101"/>
              <a:gd name="connsiteX10" fmla="*/ 561 w 8943533"/>
              <a:gd name="connsiteY10" fmla="*/ 4469800 h 6859101"/>
              <a:gd name="connsiteX11" fmla="*/ 47377 w 8943533"/>
              <a:gd name="connsiteY11" fmla="*/ 3945420 h 6859101"/>
              <a:gd name="connsiteX12" fmla="*/ 62248 w 8943533"/>
              <a:gd name="connsiteY12" fmla="*/ 3833673 h 6859101"/>
              <a:gd name="connsiteX13" fmla="*/ 108969 w 8943533"/>
              <a:gd name="connsiteY13" fmla="*/ 3659999 h 6859101"/>
              <a:gd name="connsiteX14" fmla="*/ 139210 w 8943533"/>
              <a:gd name="connsiteY14" fmla="*/ 3592419 h 6859101"/>
              <a:gd name="connsiteX15" fmla="*/ 486668 w 8943533"/>
              <a:gd name="connsiteY15" fmla="*/ 2815597 h 6859101"/>
              <a:gd name="connsiteX16" fmla="*/ 1140836 w 8943533"/>
              <a:gd name="connsiteY16" fmla="*/ 1858458 h 6859101"/>
              <a:gd name="connsiteX17" fmla="*/ 2283959 w 8943533"/>
              <a:gd name="connsiteY17" fmla="*/ 616417 h 6859101"/>
              <a:gd name="connsiteX18" fmla="*/ 2889393 w 8943533"/>
              <a:gd name="connsiteY18" fmla="*/ 67499 h 6859101"/>
              <a:gd name="connsiteX19" fmla="*/ 2971144 w 8943533"/>
              <a:gd name="connsiteY19" fmla="*/ 1101 h 6859101"/>
              <a:gd name="connsiteX0" fmla="*/ 2971144 w 8914877"/>
              <a:gd name="connsiteY0" fmla="*/ 1101 h 6859101"/>
              <a:gd name="connsiteX1" fmla="*/ 7752484 w 8914877"/>
              <a:gd name="connsiteY1" fmla="*/ 1101 h 6859101"/>
              <a:gd name="connsiteX2" fmla="*/ 8879965 w 8914877"/>
              <a:gd name="connsiteY2" fmla="*/ 0 h 6859101"/>
              <a:gd name="connsiteX3" fmla="*/ 8498857 w 8914877"/>
              <a:gd name="connsiteY3" fmla="*/ 616830 h 6859101"/>
              <a:gd name="connsiteX4" fmla="*/ 8527206 w 8914877"/>
              <a:gd name="connsiteY4" fmla="*/ 1632760 h 6859101"/>
              <a:gd name="connsiteX5" fmla="*/ 8527206 w 8914877"/>
              <a:gd name="connsiteY5" fmla="*/ 6859101 h 6859101"/>
              <a:gd name="connsiteX6" fmla="*/ 1968306 w 8914877"/>
              <a:gd name="connsiteY6" fmla="*/ 6859101 h 6859101"/>
              <a:gd name="connsiteX7" fmla="*/ 1963205 w 8914877"/>
              <a:gd name="connsiteY7" fmla="*/ 6856731 h 6859101"/>
              <a:gd name="connsiteX8" fmla="*/ 1098144 w 8914877"/>
              <a:gd name="connsiteY8" fmla="*/ 6341169 h 6859101"/>
              <a:gd name="connsiteX9" fmla="*/ 430707 w 8914877"/>
              <a:gd name="connsiteY9" fmla="*/ 5692094 h 6859101"/>
              <a:gd name="connsiteX10" fmla="*/ 561 w 8914877"/>
              <a:gd name="connsiteY10" fmla="*/ 4469800 h 6859101"/>
              <a:gd name="connsiteX11" fmla="*/ 47377 w 8914877"/>
              <a:gd name="connsiteY11" fmla="*/ 3945420 h 6859101"/>
              <a:gd name="connsiteX12" fmla="*/ 62248 w 8914877"/>
              <a:gd name="connsiteY12" fmla="*/ 3833673 h 6859101"/>
              <a:gd name="connsiteX13" fmla="*/ 108969 w 8914877"/>
              <a:gd name="connsiteY13" fmla="*/ 3659999 h 6859101"/>
              <a:gd name="connsiteX14" fmla="*/ 139210 w 8914877"/>
              <a:gd name="connsiteY14" fmla="*/ 3592419 h 6859101"/>
              <a:gd name="connsiteX15" fmla="*/ 486668 w 8914877"/>
              <a:gd name="connsiteY15" fmla="*/ 2815597 h 6859101"/>
              <a:gd name="connsiteX16" fmla="*/ 1140836 w 8914877"/>
              <a:gd name="connsiteY16" fmla="*/ 1858458 h 6859101"/>
              <a:gd name="connsiteX17" fmla="*/ 2283959 w 8914877"/>
              <a:gd name="connsiteY17" fmla="*/ 616417 h 6859101"/>
              <a:gd name="connsiteX18" fmla="*/ 2889393 w 8914877"/>
              <a:gd name="connsiteY18" fmla="*/ 67499 h 6859101"/>
              <a:gd name="connsiteX19" fmla="*/ 2971144 w 8914877"/>
              <a:gd name="connsiteY19" fmla="*/ 1101 h 6859101"/>
              <a:gd name="connsiteX0" fmla="*/ 2971144 w 8527206"/>
              <a:gd name="connsiteY0" fmla="*/ 0 h 6858000"/>
              <a:gd name="connsiteX1" fmla="*/ 7752484 w 8527206"/>
              <a:gd name="connsiteY1" fmla="*/ 0 h 6858000"/>
              <a:gd name="connsiteX2" fmla="*/ 8498857 w 8527206"/>
              <a:gd name="connsiteY2" fmla="*/ 615729 h 6858000"/>
              <a:gd name="connsiteX3" fmla="*/ 8527206 w 8527206"/>
              <a:gd name="connsiteY3" fmla="*/ 1631659 h 6858000"/>
              <a:gd name="connsiteX4" fmla="*/ 8527206 w 8527206"/>
              <a:gd name="connsiteY4" fmla="*/ 6858000 h 6858000"/>
              <a:gd name="connsiteX5" fmla="*/ 1968306 w 8527206"/>
              <a:gd name="connsiteY5" fmla="*/ 6858000 h 6858000"/>
              <a:gd name="connsiteX6" fmla="*/ 1963205 w 8527206"/>
              <a:gd name="connsiteY6" fmla="*/ 6855630 h 6858000"/>
              <a:gd name="connsiteX7" fmla="*/ 1098144 w 8527206"/>
              <a:gd name="connsiteY7" fmla="*/ 6340068 h 6858000"/>
              <a:gd name="connsiteX8" fmla="*/ 430707 w 8527206"/>
              <a:gd name="connsiteY8" fmla="*/ 5690993 h 6858000"/>
              <a:gd name="connsiteX9" fmla="*/ 561 w 8527206"/>
              <a:gd name="connsiteY9" fmla="*/ 4468699 h 6858000"/>
              <a:gd name="connsiteX10" fmla="*/ 47377 w 8527206"/>
              <a:gd name="connsiteY10" fmla="*/ 3944319 h 6858000"/>
              <a:gd name="connsiteX11" fmla="*/ 62248 w 8527206"/>
              <a:gd name="connsiteY11" fmla="*/ 3832572 h 6858000"/>
              <a:gd name="connsiteX12" fmla="*/ 108969 w 8527206"/>
              <a:gd name="connsiteY12" fmla="*/ 3658898 h 6858000"/>
              <a:gd name="connsiteX13" fmla="*/ 139210 w 8527206"/>
              <a:gd name="connsiteY13" fmla="*/ 3591318 h 6858000"/>
              <a:gd name="connsiteX14" fmla="*/ 486668 w 8527206"/>
              <a:gd name="connsiteY14" fmla="*/ 2814496 h 6858000"/>
              <a:gd name="connsiteX15" fmla="*/ 1140836 w 8527206"/>
              <a:gd name="connsiteY15" fmla="*/ 1857357 h 6858000"/>
              <a:gd name="connsiteX16" fmla="*/ 2283959 w 8527206"/>
              <a:gd name="connsiteY16" fmla="*/ 615316 h 6858000"/>
              <a:gd name="connsiteX17" fmla="*/ 2889393 w 8527206"/>
              <a:gd name="connsiteY17" fmla="*/ 66398 h 6858000"/>
              <a:gd name="connsiteX18" fmla="*/ 2971144 w 8527206"/>
              <a:gd name="connsiteY18" fmla="*/ 0 h 6858000"/>
              <a:gd name="connsiteX0" fmla="*/ 2971144 w 8531631"/>
              <a:gd name="connsiteY0" fmla="*/ 8385 h 6866385"/>
              <a:gd name="connsiteX1" fmla="*/ 7752484 w 8531631"/>
              <a:gd name="connsiteY1" fmla="*/ 8385 h 6866385"/>
              <a:gd name="connsiteX2" fmla="*/ 8531631 w 8531631"/>
              <a:gd name="connsiteY2" fmla="*/ 0 h 6866385"/>
              <a:gd name="connsiteX3" fmla="*/ 8527206 w 8531631"/>
              <a:gd name="connsiteY3" fmla="*/ 1640044 h 6866385"/>
              <a:gd name="connsiteX4" fmla="*/ 8527206 w 8531631"/>
              <a:gd name="connsiteY4" fmla="*/ 6866385 h 6866385"/>
              <a:gd name="connsiteX5" fmla="*/ 1968306 w 8531631"/>
              <a:gd name="connsiteY5" fmla="*/ 6866385 h 6866385"/>
              <a:gd name="connsiteX6" fmla="*/ 1963205 w 8531631"/>
              <a:gd name="connsiteY6" fmla="*/ 6864015 h 6866385"/>
              <a:gd name="connsiteX7" fmla="*/ 1098144 w 8531631"/>
              <a:gd name="connsiteY7" fmla="*/ 6348453 h 6866385"/>
              <a:gd name="connsiteX8" fmla="*/ 430707 w 8531631"/>
              <a:gd name="connsiteY8" fmla="*/ 5699378 h 6866385"/>
              <a:gd name="connsiteX9" fmla="*/ 561 w 8531631"/>
              <a:gd name="connsiteY9" fmla="*/ 4477084 h 6866385"/>
              <a:gd name="connsiteX10" fmla="*/ 47377 w 8531631"/>
              <a:gd name="connsiteY10" fmla="*/ 3952704 h 6866385"/>
              <a:gd name="connsiteX11" fmla="*/ 62248 w 8531631"/>
              <a:gd name="connsiteY11" fmla="*/ 3840957 h 6866385"/>
              <a:gd name="connsiteX12" fmla="*/ 108969 w 8531631"/>
              <a:gd name="connsiteY12" fmla="*/ 3667283 h 6866385"/>
              <a:gd name="connsiteX13" fmla="*/ 139210 w 8531631"/>
              <a:gd name="connsiteY13" fmla="*/ 3599703 h 6866385"/>
              <a:gd name="connsiteX14" fmla="*/ 486668 w 8531631"/>
              <a:gd name="connsiteY14" fmla="*/ 2822881 h 6866385"/>
              <a:gd name="connsiteX15" fmla="*/ 1140836 w 8531631"/>
              <a:gd name="connsiteY15" fmla="*/ 1865742 h 6866385"/>
              <a:gd name="connsiteX16" fmla="*/ 2283959 w 8531631"/>
              <a:gd name="connsiteY16" fmla="*/ 623701 h 6866385"/>
              <a:gd name="connsiteX17" fmla="*/ 2889393 w 8531631"/>
              <a:gd name="connsiteY17" fmla="*/ 74783 h 6866385"/>
              <a:gd name="connsiteX18" fmla="*/ 2971144 w 8531631"/>
              <a:gd name="connsiteY18" fmla="*/ 8385 h 6866385"/>
              <a:gd name="connsiteX0" fmla="*/ 2971144 w 8527206"/>
              <a:gd name="connsiteY0" fmla="*/ 21085 h 6879085"/>
              <a:gd name="connsiteX1" fmla="*/ 7752484 w 8527206"/>
              <a:gd name="connsiteY1" fmla="*/ 21085 h 6879085"/>
              <a:gd name="connsiteX2" fmla="*/ 8517292 w 8527206"/>
              <a:gd name="connsiteY2" fmla="*/ 0 h 6879085"/>
              <a:gd name="connsiteX3" fmla="*/ 8527206 w 8527206"/>
              <a:gd name="connsiteY3" fmla="*/ 1652744 h 6879085"/>
              <a:gd name="connsiteX4" fmla="*/ 8527206 w 8527206"/>
              <a:gd name="connsiteY4" fmla="*/ 6879085 h 6879085"/>
              <a:gd name="connsiteX5" fmla="*/ 1968306 w 8527206"/>
              <a:gd name="connsiteY5" fmla="*/ 6879085 h 6879085"/>
              <a:gd name="connsiteX6" fmla="*/ 1963205 w 8527206"/>
              <a:gd name="connsiteY6" fmla="*/ 6876715 h 6879085"/>
              <a:gd name="connsiteX7" fmla="*/ 1098144 w 8527206"/>
              <a:gd name="connsiteY7" fmla="*/ 6361153 h 6879085"/>
              <a:gd name="connsiteX8" fmla="*/ 430707 w 8527206"/>
              <a:gd name="connsiteY8" fmla="*/ 5712078 h 6879085"/>
              <a:gd name="connsiteX9" fmla="*/ 561 w 8527206"/>
              <a:gd name="connsiteY9" fmla="*/ 4489784 h 6879085"/>
              <a:gd name="connsiteX10" fmla="*/ 47377 w 8527206"/>
              <a:gd name="connsiteY10" fmla="*/ 3965404 h 6879085"/>
              <a:gd name="connsiteX11" fmla="*/ 62248 w 8527206"/>
              <a:gd name="connsiteY11" fmla="*/ 3853657 h 6879085"/>
              <a:gd name="connsiteX12" fmla="*/ 108969 w 8527206"/>
              <a:gd name="connsiteY12" fmla="*/ 3679983 h 6879085"/>
              <a:gd name="connsiteX13" fmla="*/ 139210 w 8527206"/>
              <a:gd name="connsiteY13" fmla="*/ 3612403 h 6879085"/>
              <a:gd name="connsiteX14" fmla="*/ 486668 w 8527206"/>
              <a:gd name="connsiteY14" fmla="*/ 2835581 h 6879085"/>
              <a:gd name="connsiteX15" fmla="*/ 1140836 w 8527206"/>
              <a:gd name="connsiteY15" fmla="*/ 1878442 h 6879085"/>
              <a:gd name="connsiteX16" fmla="*/ 2283959 w 8527206"/>
              <a:gd name="connsiteY16" fmla="*/ 636401 h 6879085"/>
              <a:gd name="connsiteX17" fmla="*/ 2889393 w 8527206"/>
              <a:gd name="connsiteY17" fmla="*/ 87483 h 6879085"/>
              <a:gd name="connsiteX18" fmla="*/ 2971144 w 8527206"/>
              <a:gd name="connsiteY18" fmla="*/ 21085 h 6879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8527206" h="6879085">
                <a:moveTo>
                  <a:pt x="2971144" y="21085"/>
                </a:moveTo>
                <a:lnTo>
                  <a:pt x="7752484" y="21085"/>
                </a:lnTo>
                <a:lnTo>
                  <a:pt x="8517292" y="0"/>
                </a:lnTo>
                <a:cubicBezTo>
                  <a:pt x="8520597" y="550915"/>
                  <a:pt x="8523901" y="1101829"/>
                  <a:pt x="8527206" y="1652744"/>
                </a:cubicBezTo>
                <a:lnTo>
                  <a:pt x="8527206" y="6879085"/>
                </a:lnTo>
                <a:lnTo>
                  <a:pt x="1968306" y="6879085"/>
                </a:lnTo>
                <a:lnTo>
                  <a:pt x="1963205" y="6876715"/>
                </a:lnTo>
                <a:cubicBezTo>
                  <a:pt x="1660296" y="6729085"/>
                  <a:pt x="1369305" y="6562034"/>
                  <a:pt x="1098144" y="6361153"/>
                </a:cubicBezTo>
                <a:cubicBezTo>
                  <a:pt x="846763" y="6174731"/>
                  <a:pt x="618854" y="5964164"/>
                  <a:pt x="430707" y="5712078"/>
                </a:cubicBezTo>
                <a:cubicBezTo>
                  <a:pt x="160576" y="5349599"/>
                  <a:pt x="10446" y="4944560"/>
                  <a:pt x="561" y="4489784"/>
                </a:cubicBezTo>
                <a:cubicBezTo>
                  <a:pt x="-3349" y="4313367"/>
                  <a:pt x="13298" y="4138562"/>
                  <a:pt x="47377" y="3965404"/>
                </a:cubicBezTo>
                <a:cubicBezTo>
                  <a:pt x="54591" y="3928616"/>
                  <a:pt x="57532" y="3891117"/>
                  <a:pt x="62248" y="3853657"/>
                </a:cubicBezTo>
                <a:lnTo>
                  <a:pt x="108969" y="3679983"/>
                </a:lnTo>
                <a:cubicBezTo>
                  <a:pt x="119050" y="3657455"/>
                  <a:pt x="131522" y="3636010"/>
                  <a:pt x="139210" y="3612403"/>
                </a:cubicBezTo>
                <a:cubicBezTo>
                  <a:pt x="227692" y="3341611"/>
                  <a:pt x="347049" y="3083914"/>
                  <a:pt x="486668" y="2835581"/>
                </a:cubicBezTo>
                <a:cubicBezTo>
                  <a:pt x="676736" y="2497691"/>
                  <a:pt x="899048" y="2181095"/>
                  <a:pt x="1140836" y="1878442"/>
                </a:cubicBezTo>
                <a:cubicBezTo>
                  <a:pt x="1492243" y="1437311"/>
                  <a:pt x="1878074" y="1027633"/>
                  <a:pt x="2283959" y="636401"/>
                </a:cubicBezTo>
                <a:cubicBezTo>
                  <a:pt x="2480507" y="447118"/>
                  <a:pt x="2681614" y="263303"/>
                  <a:pt x="2889393" y="87483"/>
                </a:cubicBezTo>
                <a:lnTo>
                  <a:pt x="2971144" y="21085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5907473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4992914" cy="6857999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761995D-0DF1-4E05-86F9-8FDA25736C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7427" y="230315"/>
            <a:ext cx="6620744" cy="584775"/>
          </a:xfrm>
        </p:spPr>
        <p:txBody>
          <a:bodyPr>
            <a:spAutoFit/>
          </a:bodyPr>
          <a:lstStyle>
            <a:lvl1pPr>
              <a:defRPr lang="en-GB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34D9C7A-5BAD-4769-A6FA-F5D17B27ACD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237427" y="843417"/>
            <a:ext cx="6620744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34118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7199086" y="0"/>
            <a:ext cx="4992914" cy="6857999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2560FEA-821F-4038-85D3-E058A399FE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00" y="230315"/>
            <a:ext cx="6324600" cy="584775"/>
          </a:xfrm>
        </p:spPr>
        <p:txBody>
          <a:bodyPr>
            <a:spAutoFit/>
          </a:bodyPr>
          <a:lstStyle>
            <a:lvl1pPr>
              <a:defRPr lang="en-GB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695859B5-3F97-4723-B598-3A1EF77591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23901" y="843417"/>
            <a:ext cx="6324599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163366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26" Type="http://schemas.openxmlformats.org/officeDocument/2006/relationships/tags" Target="../tags/tag15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0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5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tags" Target="../tags/tag9.xml"/><Relationship Id="rId29" Type="http://schemas.openxmlformats.org/officeDocument/2006/relationships/tags" Target="../tags/tag1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24" Type="http://schemas.openxmlformats.org/officeDocument/2006/relationships/tags" Target="../tags/tag13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23" Type="http://schemas.openxmlformats.org/officeDocument/2006/relationships/tags" Target="../tags/tag12.xml"/><Relationship Id="rId28" Type="http://schemas.openxmlformats.org/officeDocument/2006/relationships/tags" Target="../tags/tag17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8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Relationship Id="rId22" Type="http://schemas.openxmlformats.org/officeDocument/2006/relationships/tags" Target="../tags/tag11.xml"/><Relationship Id="rId27" Type="http://schemas.openxmlformats.org/officeDocument/2006/relationships/tags" Target="../tags/tag16.xml"/><Relationship Id="rId30" Type="http://schemas.openxmlformats.org/officeDocument/2006/relationships/tags" Target="../tags/tag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87135972"/>
              </p:ext>
            </p:extLst>
          </p:nvPr>
        </p:nvGraphicFramePr>
        <p:xfrm>
          <a:off x="1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447"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4"/>
            </p:custDataLst>
          </p:nvPr>
        </p:nvSpPr>
        <p:spPr bwMode="auto">
          <a:xfrm>
            <a:off x="1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98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7" name="Slide Number"/>
          <p:cNvSpPr txBox="1">
            <a:spLocks/>
          </p:cNvSpPr>
          <p:nvPr userDrawn="1"/>
        </p:nvSpPr>
        <p:spPr bwMode="auto">
          <a:xfrm>
            <a:off x="11811320" y="6627914"/>
            <a:ext cx="150682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1000" b="0" baseline="0" smtClean="0">
                <a:solidFill>
                  <a:schemeClr val="tx1"/>
                </a:solidFill>
                <a:latin typeface="+mn-lt"/>
              </a:rPr>
              <a:pPr algn="r"/>
              <a:t>‹#›</a:t>
            </a:fld>
            <a:endParaRPr lang="en-US" sz="1000" b="0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723900" y="230315"/>
            <a:ext cx="10820400" cy="584775"/>
          </a:xfrm>
          <a:prstGeom prst="rect">
            <a:avLst/>
          </a:prstGeom>
          <a:extLst/>
        </p:spPr>
        <p:txBody>
          <a:bodyPr>
            <a:spAutoFit/>
          </a:bodyPr>
          <a:lstStyle/>
          <a:p>
            <a:pPr lvl="0"/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935527"/>
            <a:ext cx="5853024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33256" y="9525"/>
            <a:ext cx="66372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3256" y="607133"/>
            <a:ext cx="10287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auto">
          <a:xfrm>
            <a:off x="233256" y="6422205"/>
            <a:ext cx="11539643" cy="359597"/>
            <a:chOff x="119063" y="6278944"/>
            <a:chExt cx="8618537" cy="352439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119063" y="6278944"/>
              <a:ext cx="8618537" cy="150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5250" indent="-95250">
                <a:defRPr/>
              </a:pPr>
              <a:r>
                <a:rPr lang="en-US" sz="10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119064" y="6480558"/>
              <a:ext cx="8251387" cy="150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85775" indent="-485775" defTabSz="913800">
                <a:tabLst>
                  <a:tab pos="609600" algn="l"/>
                </a:tabLst>
              </a:pPr>
              <a:r>
                <a:rPr lang="en-US" sz="10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6" y="2350212"/>
            <a:ext cx="5853024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 userDrawn="1"/>
        </p:nvGrpSpPr>
        <p:grpSpPr bwMode="auto">
          <a:xfrm>
            <a:off x="9819959" y="304620"/>
            <a:ext cx="703263" cy="996951"/>
            <a:chOff x="4936" y="176"/>
            <a:chExt cx="443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44">
                <a:latin typeface="+mn-lt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44">
                <a:latin typeface="+mn-lt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44">
                <a:latin typeface="+mn-lt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44">
                <a:latin typeface="+mn-lt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 userDrawn="1"/>
        </p:nvGrpSpPr>
        <p:grpSpPr bwMode="auto">
          <a:xfrm>
            <a:off x="9511984" y="304620"/>
            <a:ext cx="1011238" cy="730251"/>
            <a:chOff x="4750" y="176"/>
            <a:chExt cx="637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944">
                <a:latin typeface="+mn-lt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944">
                <a:latin typeface="+mn-lt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944">
                <a:latin typeface="+mn-lt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 userDrawn="1"/>
        </p:nvGrpSpPr>
        <p:grpSpPr bwMode="auto">
          <a:xfrm>
            <a:off x="9753502" y="304619"/>
            <a:ext cx="769720" cy="1306516"/>
            <a:chOff x="7875175" y="286625"/>
            <a:chExt cx="769720" cy="1306516"/>
          </a:xfrm>
        </p:grpSpPr>
        <p:grpSp>
          <p:nvGrpSpPr>
            <p:cNvPr id="80" name="MoonLegend2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98" name="Oval 41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  <p:sp>
            <p:nvSpPr>
              <p:cNvPr id="99" name="Arc 42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</p:grpSp>
        <p:grpSp>
          <p:nvGrpSpPr>
            <p:cNvPr id="81" name="MoonLegend4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96" name="Oval 47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  <p:sp>
            <p:nvSpPr>
              <p:cNvPr id="97" name="Arc 48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</p:grpSp>
        <p:grpSp>
          <p:nvGrpSpPr>
            <p:cNvPr id="82" name="MoonLegend5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4" name="Oval 50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  <p:sp>
            <p:nvSpPr>
              <p:cNvPr id="95" name="Oval 5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</p:grpSp>
        <p:sp>
          <p:nvSpPr>
            <p:cNvPr id="83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44904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4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44904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5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44904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6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44904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7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44904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88" name="MoonLegend3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2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  <p:sp>
            <p:nvSpPr>
              <p:cNvPr id="93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</p:grpSp>
        <p:grpSp>
          <p:nvGrpSpPr>
            <p:cNvPr id="89" name="MoonLegend1"/>
            <p:cNvGrpSpPr>
              <a:grpSpLocks noChangeAspect="1"/>
            </p:cNvGrpSpPr>
            <p:nvPr userDrawn="1">
              <p:custDataLst>
                <p:tags r:id="rId20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0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  <p:sp>
            <p:nvSpPr>
              <p:cNvPr id="91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</p:grpSp>
      </p:grpSp>
      <p:grpSp>
        <p:nvGrpSpPr>
          <p:cNvPr id="100" name="McKSticker" hidden="1"/>
          <p:cNvGrpSpPr/>
          <p:nvPr userDrawn="1"/>
        </p:nvGrpSpPr>
        <p:grpSpPr bwMode="auto">
          <a:xfrm>
            <a:off x="9638787" y="304619"/>
            <a:ext cx="884435" cy="212366"/>
            <a:chOff x="7856340" y="285750"/>
            <a:chExt cx="884435" cy="212366"/>
          </a:xfrm>
        </p:grpSpPr>
        <p:sp>
          <p:nvSpPr>
            <p:cNvPr id="101" name="StickerRectangle"/>
            <p:cNvSpPr>
              <a:spLocks noChangeArrowheads="1"/>
            </p:cNvSpPr>
            <p:nvPr/>
          </p:nvSpPr>
          <p:spPr bwMode="auto">
            <a:xfrm>
              <a:off x="7856340" y="285750"/>
              <a:ext cx="88443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619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2" name="AutoShape 31"/>
            <p:cNvCxnSpPr>
              <a:cxnSpLocks noChangeShapeType="1"/>
              <a:stCxn id="101" idx="2"/>
              <a:endCxn id="101" idx="4"/>
            </p:cNvCxnSpPr>
            <p:nvPr/>
          </p:nvCxnSpPr>
          <p:spPr bwMode="auto">
            <a:xfrm>
              <a:off x="785634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" name="AutoShape 32"/>
            <p:cNvCxnSpPr>
              <a:cxnSpLocks noChangeShapeType="1"/>
              <a:stCxn id="101" idx="4"/>
              <a:endCxn id="101" idx="6"/>
            </p:cNvCxnSpPr>
            <p:nvPr/>
          </p:nvCxnSpPr>
          <p:spPr bwMode="auto">
            <a:xfrm>
              <a:off x="7856340" y="498116"/>
              <a:ext cx="88443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2" name="Moon" hidden="1"/>
          <p:cNvGrpSpPr/>
          <p:nvPr userDrawn="1">
            <p:custDataLst>
              <p:tags r:id="rId15"/>
            </p:custDataLst>
          </p:nvPr>
        </p:nvGrpSpPr>
        <p:grpSpPr>
          <a:xfrm>
            <a:off x="8515925" y="1214424"/>
            <a:ext cx="254000" cy="254000"/>
            <a:chOff x="762000" y="1270000"/>
            <a:chExt cx="254000" cy="254000"/>
          </a:xfrm>
        </p:grpSpPr>
        <p:sp>
          <p:nvSpPr>
            <p:cNvPr id="106" name="Oval 105"/>
            <p:cNvSpPr/>
            <p:nvPr/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944" dirty="0" err="1">
                <a:solidFill>
                  <a:schemeClr val="tx1"/>
                </a:solidFill>
              </a:endParaRPr>
            </a:p>
          </p:txBody>
        </p:sp>
        <p:sp>
          <p:nvSpPr>
            <p:cNvPr id="109" name="Arc 108"/>
            <p:cNvSpPr/>
            <p:nvPr/>
          </p:nvSpPr>
          <p:spPr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944"/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95" r:id="rId2"/>
    <p:sldLayoutId id="2147483673" r:id="rId3"/>
    <p:sldLayoutId id="2147483674" r:id="rId4"/>
    <p:sldLayoutId id="2147483693" r:id="rId5"/>
    <p:sldLayoutId id="2147483670" r:id="rId6"/>
    <p:sldLayoutId id="2147483690" r:id="rId7"/>
    <p:sldLayoutId id="2147483691" r:id="rId8"/>
    <p:sldLayoutId id="2147483692" r:id="rId9"/>
    <p:sldLayoutId id="2147483694" r:id="rId10"/>
  </p:sldLayoutIdLst>
  <p:hf hdr="0" ftr="0" dt="0"/>
  <p:txStyles>
    <p:titleStyle>
      <a:lvl1pPr algn="l" defTabSz="913800" rtl="0" eaLnBrk="1" fontAlgn="base" hangingPunct="1">
        <a:spcBef>
          <a:spcPct val="0"/>
        </a:spcBef>
        <a:spcAft>
          <a:spcPct val="0"/>
        </a:spcAft>
        <a:tabLst>
          <a:tab pos="275436" algn="l"/>
        </a:tabLst>
        <a:defRPr lang="en-US" sz="3200" b="1" kern="0" baseline="0" noProof="0" dirty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2pPr>
      <a:lvl3pPr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3pPr>
      <a:lvl4pPr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4pPr>
      <a:lvl5pPr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5pPr>
      <a:lvl6pPr marL="466621"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6pPr>
      <a:lvl7pPr marL="933242"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7pPr>
      <a:lvl8pPr marL="1399863"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8pPr>
      <a:lvl9pPr marL="1866485"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082" indent="-196046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337" indent="-267335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2832" indent="-158781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50033" indent="-128054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259" indent="-132858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259" indent="-132858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259" indent="-132858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259" indent="-132858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1pPr>
      <a:lvl2pPr marL="466621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2pPr>
      <a:lvl3pPr marL="933242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3pPr>
      <a:lvl4pPr marL="1399863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4pPr>
      <a:lvl5pPr marL="1866485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5pPr>
      <a:lvl6pPr marL="2333106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6pPr>
      <a:lvl7pPr marL="2799727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7pPr>
      <a:lvl8pPr marL="3266348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8pPr>
      <a:lvl9pPr marL="3732969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36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81000">
              <a:srgbClr val="EEEEEE"/>
            </a:gs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40"/>
            <a:ext cx="10972801" cy="711081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138426"/>
            <a:ext cx="10972801" cy="4987739"/>
          </a:xfrm>
          <a:prstGeom prst="rect">
            <a:avLst/>
          </a:prstGeom>
        </p:spPr>
        <p:txBody>
          <a:bodyPr vert="horz" lIns="121899" tIns="60949" rIns="121899" bIns="6094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5404F2-BE9A-4460-8815-8F645183555F}" type="datetimeFigureOut">
              <a:rPr lang="en-US" smtClean="0"/>
              <a:pPr/>
              <a:t>7/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1" y="6356352"/>
            <a:ext cx="3860800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1" y="6356352"/>
            <a:ext cx="2844800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5939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</p:sldLayoutIdLst>
  <p:txStyles>
    <p:titleStyle>
      <a:lvl1pPr algn="l" defTabSz="1218987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20" indent="-457120" algn="l" defTabSz="1218987" rtl="0" eaLnBrk="1" latinLnBrk="0" hangingPunct="1">
        <a:spcBef>
          <a:spcPct val="20000"/>
        </a:spcBef>
        <a:buFont typeface="Arial" pitchFamily="34" charset="0"/>
        <a:buChar char="•"/>
        <a:defRPr sz="3600" kern="1200">
          <a:solidFill>
            <a:schemeClr val="tx1"/>
          </a:solidFill>
          <a:latin typeface="+mj-lt"/>
          <a:ea typeface="+mn-ea"/>
          <a:cs typeface="+mn-cs"/>
        </a:defRPr>
      </a:lvl1pPr>
      <a:lvl2pPr marL="990427" indent="-380933" algn="l" defTabSz="1218987" rtl="0" eaLnBrk="1" latinLnBrk="0" hangingPunct="1">
        <a:spcBef>
          <a:spcPct val="20000"/>
        </a:spcBef>
        <a:buFont typeface="Arial" pitchFamily="34" charset="0"/>
        <a:buChar char="–"/>
        <a:defRPr sz="3200" kern="1200">
          <a:solidFill>
            <a:schemeClr val="tx1"/>
          </a:solidFill>
          <a:latin typeface="+mj-lt"/>
          <a:ea typeface="+mn-ea"/>
          <a:cs typeface="+mn-cs"/>
        </a:defRPr>
      </a:lvl2pPr>
      <a:lvl3pPr marL="152373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3pPr>
      <a:lvl4pPr marL="2133227" indent="-304747" algn="l" defTabSz="1218987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j-lt"/>
          <a:ea typeface="+mn-ea"/>
          <a:cs typeface="+mn-cs"/>
        </a:defRPr>
      </a:lvl4pPr>
      <a:lvl5pPr marL="2742720" indent="-304747" algn="l" defTabSz="1218987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j-lt"/>
          <a:ea typeface="+mn-ea"/>
          <a:cs typeface="+mn-cs"/>
        </a:defRPr>
      </a:lvl5pPr>
      <a:lvl6pPr marL="335221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1.png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4.jpeg"/><Relationship Id="rId12" Type="http://schemas.openxmlformats.org/officeDocument/2006/relationships/image" Target="../media/image19.png"/><Relationship Id="rId2" Type="http://schemas.openxmlformats.org/officeDocument/2006/relationships/tags" Target="../tags/tag2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3.emf"/><Relationship Id="rId11" Type="http://schemas.openxmlformats.org/officeDocument/2006/relationships/image" Target="../media/image18.svg"/><Relationship Id="rId5" Type="http://schemas.openxmlformats.org/officeDocument/2006/relationships/oleObject" Target="../embeddings/oleObject4.bin"/><Relationship Id="rId15" Type="http://schemas.openxmlformats.org/officeDocument/2006/relationships/image" Target="../media/image22.svg"/><Relationship Id="rId10" Type="http://schemas.openxmlformats.org/officeDocument/2006/relationships/image" Target="../media/image17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6.svg"/><Relationship Id="rId14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slidemodel.com/account/plans/?utm_source=free&amp;utm_medium=button&amp;utm_campaign=freetemplate" TargetMode="External"/><Relationship Id="rId7" Type="http://schemas.openxmlformats.org/officeDocument/2006/relationships/image" Target="../media/image25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5.png"/><Relationship Id="rId5" Type="http://schemas.openxmlformats.org/officeDocument/2006/relationships/image" Target="../media/image24.png"/><Relationship Id="rId4" Type="http://schemas.openxmlformats.org/officeDocument/2006/relationships/image" Target="../media/image23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53C93CB1-E54B-4CBB-B908-61F0DBCB68DC}"/>
              </a:ext>
            </a:extLst>
          </p:cNvPr>
          <p:cNvSpPr/>
          <p:nvPr/>
        </p:nvSpPr>
        <p:spPr>
          <a:xfrm>
            <a:off x="6366139" y="3620190"/>
            <a:ext cx="4387781" cy="3237810"/>
          </a:xfrm>
          <a:prstGeom prst="triangl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accent4"/>
              </a:solidFill>
            </a:endParaRPr>
          </a:p>
        </p:txBody>
      </p:sp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768D9E06-35BB-44D6-AA4E-4A122F5CCE2D}"/>
              </a:ext>
            </a:extLst>
          </p:cNvPr>
          <p:cNvSpPr/>
          <p:nvPr/>
        </p:nvSpPr>
        <p:spPr>
          <a:xfrm>
            <a:off x="-3073637" y="2528718"/>
            <a:ext cx="5866910" cy="4329282"/>
          </a:xfrm>
          <a:prstGeom prst="triangle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accent4"/>
              </a:solidFill>
            </a:endParaRPr>
          </a:p>
        </p:txBody>
      </p:sp>
      <p:sp>
        <p:nvSpPr>
          <p:cNvPr id="19" name="Isosceles Triangle 18">
            <a:extLst>
              <a:ext uri="{FF2B5EF4-FFF2-40B4-BE49-F238E27FC236}">
                <a16:creationId xmlns:a16="http://schemas.microsoft.com/office/drawing/2014/main" id="{272DCCE5-82ED-40AB-B635-3F2CEBDDE18D}"/>
              </a:ext>
            </a:extLst>
          </p:cNvPr>
          <p:cNvSpPr/>
          <p:nvPr/>
        </p:nvSpPr>
        <p:spPr>
          <a:xfrm rot="10800000">
            <a:off x="6096000" y="-4405"/>
            <a:ext cx="6217025" cy="4587637"/>
          </a:xfrm>
          <a:prstGeom prst="triangl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accent4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36E121B4-983D-45E9-B113-36ACF06F55B0}"/>
              </a:ext>
            </a:extLst>
          </p:cNvPr>
          <p:cNvSpPr/>
          <p:nvPr/>
        </p:nvSpPr>
        <p:spPr>
          <a:xfrm rot="10800000">
            <a:off x="5356283" y="0"/>
            <a:ext cx="9429195" cy="10520696"/>
          </a:xfrm>
          <a:custGeom>
            <a:avLst/>
            <a:gdLst>
              <a:gd name="connsiteX0" fmla="*/ 897 w 9429195"/>
              <a:gd name="connsiteY0" fmla="*/ 6896100 h 10520696"/>
              <a:gd name="connsiteX1" fmla="*/ 0 w 9429195"/>
              <a:gd name="connsiteY1" fmla="*/ 6896100 h 10520696"/>
              <a:gd name="connsiteX2" fmla="*/ 2452986 w 9429195"/>
              <a:gd name="connsiteY2" fmla="*/ 3275910 h 10520696"/>
              <a:gd name="connsiteX3" fmla="*/ 2453883 w 9429195"/>
              <a:gd name="connsiteY3" fmla="*/ 3275910 h 10520696"/>
              <a:gd name="connsiteX4" fmla="*/ 2465031 w 9429195"/>
              <a:gd name="connsiteY4" fmla="*/ 10520696 h 10520696"/>
              <a:gd name="connsiteX5" fmla="*/ 2464134 w 9429195"/>
              <a:gd name="connsiteY5" fmla="*/ 10520696 h 10520696"/>
              <a:gd name="connsiteX6" fmla="*/ 4917120 w 9429195"/>
              <a:gd name="connsiteY6" fmla="*/ 6900506 h 10520696"/>
              <a:gd name="connsiteX7" fmla="*/ 4918017 w 9429195"/>
              <a:gd name="connsiteY7" fmla="*/ 6900506 h 10520696"/>
              <a:gd name="connsiteX8" fmla="*/ 9429195 w 9429195"/>
              <a:gd name="connsiteY8" fmla="*/ 10520696 h 10520696"/>
              <a:gd name="connsiteX9" fmla="*/ 8682056 w 9429195"/>
              <a:gd name="connsiteY9" fmla="*/ 10520696 h 10520696"/>
              <a:gd name="connsiteX10" fmla="*/ 6226085 w 9429195"/>
              <a:gd name="connsiteY10" fmla="*/ 6896100 h 10520696"/>
              <a:gd name="connsiteX11" fmla="*/ 6217922 w 9429195"/>
              <a:gd name="connsiteY11" fmla="*/ 6896100 h 10520696"/>
              <a:gd name="connsiteX12" fmla="*/ 3109410 w 9429195"/>
              <a:gd name="connsiteY12" fmla="*/ 2308463 h 10520696"/>
              <a:gd name="connsiteX13" fmla="*/ 3108185 w 9429195"/>
              <a:gd name="connsiteY13" fmla="*/ 2310271 h 10520696"/>
              <a:gd name="connsiteX14" fmla="*/ 1542781 w 9429195"/>
              <a:gd name="connsiteY14" fmla="*/ 0 h 10520696"/>
              <a:gd name="connsiteX15" fmla="*/ 2281046 w 9429195"/>
              <a:gd name="connsiteY15" fmla="*/ 0 h 10520696"/>
              <a:gd name="connsiteX16" fmla="*/ 3476869 w 9429195"/>
              <a:gd name="connsiteY16" fmla="*/ 1764832 h 10520696"/>
              <a:gd name="connsiteX17" fmla="*/ 3482531 w 9429195"/>
              <a:gd name="connsiteY17" fmla="*/ 1756476 h 10520696"/>
              <a:gd name="connsiteX18" fmla="*/ 5942583 w 9429195"/>
              <a:gd name="connsiteY18" fmla="*/ 5387096 h 10520696"/>
              <a:gd name="connsiteX19" fmla="*/ 5946665 w 9429195"/>
              <a:gd name="connsiteY19" fmla="*/ 5381072 h 10520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9429195" h="10520696">
                <a:moveTo>
                  <a:pt x="897" y="6896100"/>
                </a:moveTo>
                <a:lnTo>
                  <a:pt x="0" y="6896100"/>
                </a:lnTo>
                <a:lnTo>
                  <a:pt x="2452986" y="3275910"/>
                </a:lnTo>
                <a:lnTo>
                  <a:pt x="2453883" y="3275910"/>
                </a:lnTo>
                <a:close/>
                <a:moveTo>
                  <a:pt x="2465031" y="10520696"/>
                </a:moveTo>
                <a:lnTo>
                  <a:pt x="2464134" y="10520696"/>
                </a:lnTo>
                <a:lnTo>
                  <a:pt x="4917120" y="6900506"/>
                </a:lnTo>
                <a:lnTo>
                  <a:pt x="4918017" y="6900506"/>
                </a:lnTo>
                <a:close/>
                <a:moveTo>
                  <a:pt x="9429195" y="10520696"/>
                </a:moveTo>
                <a:lnTo>
                  <a:pt x="8682056" y="10520696"/>
                </a:lnTo>
                <a:lnTo>
                  <a:pt x="6226085" y="6896100"/>
                </a:lnTo>
                <a:lnTo>
                  <a:pt x="6217922" y="6896100"/>
                </a:lnTo>
                <a:lnTo>
                  <a:pt x="3109410" y="2308463"/>
                </a:lnTo>
                <a:lnTo>
                  <a:pt x="3108185" y="2310271"/>
                </a:lnTo>
                <a:lnTo>
                  <a:pt x="1542781" y="0"/>
                </a:lnTo>
                <a:lnTo>
                  <a:pt x="2281046" y="0"/>
                </a:lnTo>
                <a:lnTo>
                  <a:pt x="3476869" y="1764832"/>
                </a:lnTo>
                <a:lnTo>
                  <a:pt x="3482531" y="1756476"/>
                </a:lnTo>
                <a:lnTo>
                  <a:pt x="5942583" y="5387096"/>
                </a:lnTo>
                <a:lnTo>
                  <a:pt x="5946665" y="5381072"/>
                </a:lnTo>
                <a:close/>
              </a:path>
            </a:pathLst>
          </a:custGeom>
          <a:solidFill>
            <a:schemeClr val="tx1">
              <a:lumMod val="65000"/>
              <a:lumOff val="35000"/>
              <a:alpha val="58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accent4"/>
              </a:solidFill>
            </a:endParaRPr>
          </a:p>
        </p:txBody>
      </p:sp>
      <p:sp>
        <p:nvSpPr>
          <p:cNvPr id="25" name="Title 6">
            <a:extLst>
              <a:ext uri="{FF2B5EF4-FFF2-40B4-BE49-F238E27FC236}">
                <a16:creationId xmlns:a16="http://schemas.microsoft.com/office/drawing/2014/main" id="{DF4DDF27-E3AE-4FDA-9A66-7C95955FE16E}"/>
              </a:ext>
            </a:extLst>
          </p:cNvPr>
          <p:cNvSpPr txBox="1">
            <a:spLocks/>
          </p:cNvSpPr>
          <p:nvPr/>
        </p:nvSpPr>
        <p:spPr>
          <a:xfrm>
            <a:off x="1438595" y="2266676"/>
            <a:ext cx="6859208" cy="707886"/>
          </a:xfrm>
          <a:prstGeom prst="rect">
            <a:avLst/>
          </a:prstGeom>
        </p:spPr>
        <p:txBody>
          <a:bodyPr anchor="b"/>
          <a:lstStyle>
            <a:lvl1pPr algn="l" defTabSz="91380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436" algn="l"/>
              </a:tabLst>
              <a:defRPr lang="en-US" sz="3200" b="1" kern="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2pPr>
            <a:lvl3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3pPr>
            <a:lvl4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4pPr>
            <a:lvl5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5pPr>
            <a:lvl6pPr marL="466621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6pPr>
            <a:lvl7pPr marL="933242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7pPr>
            <a:lvl8pPr marL="1399863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8pPr>
            <a:lvl9pPr marL="1866485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REE BUSINESS</a:t>
            </a:r>
          </a:p>
          <a:p>
            <a:r>
              <a:rPr lang="en-GB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ESENTATION TEMPLATE</a:t>
            </a:r>
          </a:p>
        </p:txBody>
      </p:sp>
      <p:sp>
        <p:nvSpPr>
          <p:cNvPr id="26" name="Subtitle 7">
            <a:extLst>
              <a:ext uri="{FF2B5EF4-FFF2-40B4-BE49-F238E27FC236}">
                <a16:creationId xmlns:a16="http://schemas.microsoft.com/office/drawing/2014/main" id="{2477E8EB-525B-4F55-B72F-5F02A681B722}"/>
              </a:ext>
            </a:extLst>
          </p:cNvPr>
          <p:cNvSpPr txBox="1">
            <a:spLocks/>
          </p:cNvSpPr>
          <p:nvPr/>
        </p:nvSpPr>
        <p:spPr>
          <a:xfrm>
            <a:off x="1456945" y="3722835"/>
            <a:ext cx="6859208" cy="492443"/>
          </a:xfrm>
          <a:prstGeom prst="rect">
            <a:avLst/>
          </a:prstGeom>
        </p:spPr>
        <p:txBody>
          <a:bodyPr/>
          <a:lstStyle>
            <a:lvl1pPr marL="0" indent="0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082" indent="-196046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337" indent="-267335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2832" indent="-158781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50033" indent="-128054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259" indent="-132858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259" indent="-132858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259" indent="-132858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259" indent="-132858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 kern="0"/>
              <a:t>Author Name | 2020</a:t>
            </a:r>
            <a:endParaRPr lang="en-GB" kern="0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47D4ECEE-A0E7-41B0-ABFD-0920356FB106}"/>
              </a:ext>
            </a:extLst>
          </p:cNvPr>
          <p:cNvSpPr txBox="1">
            <a:spLocks/>
          </p:cNvSpPr>
          <p:nvPr/>
        </p:nvSpPr>
        <p:spPr>
          <a:xfrm>
            <a:off x="1438080" y="3072628"/>
            <a:ext cx="6841373" cy="430887"/>
          </a:xfrm>
          <a:prstGeom prst="rect">
            <a:avLst/>
          </a:prstGeom>
        </p:spPr>
        <p:txBody>
          <a:bodyPr/>
          <a:lstStyle>
            <a:lvl1pPr marL="0" indent="0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082" indent="-196046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337" indent="-267335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2832" indent="-158781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50033" indent="-128054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259" indent="-132858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259" indent="-132858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259" indent="-132858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259" indent="-132858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IN" sz="2800" kern="0"/>
              <a:t>You can edit subtitle here</a:t>
            </a:r>
            <a:endParaRPr lang="en-IN" sz="2800" kern="0" dirty="0"/>
          </a:p>
        </p:txBody>
      </p:sp>
      <p:sp>
        <p:nvSpPr>
          <p:cNvPr id="28" name="Isosceles Triangle 27">
            <a:extLst>
              <a:ext uri="{FF2B5EF4-FFF2-40B4-BE49-F238E27FC236}">
                <a16:creationId xmlns:a16="http://schemas.microsoft.com/office/drawing/2014/main" id="{36EDA263-0083-49CE-82CA-70184DA49DBB}"/>
              </a:ext>
            </a:extLst>
          </p:cNvPr>
          <p:cNvSpPr/>
          <p:nvPr/>
        </p:nvSpPr>
        <p:spPr>
          <a:xfrm rot="5400000">
            <a:off x="1045644" y="2047663"/>
            <a:ext cx="350163" cy="274423"/>
          </a:xfrm>
          <a:prstGeom prst="triangl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accent4"/>
              </a:solidFill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124F67C5-4E30-4A18-81B7-8287FF7A66FE}"/>
              </a:ext>
            </a:extLst>
          </p:cNvPr>
          <p:cNvGrpSpPr/>
          <p:nvPr/>
        </p:nvGrpSpPr>
        <p:grpSpPr>
          <a:xfrm>
            <a:off x="7940040" y="603921"/>
            <a:ext cx="2331720" cy="1109347"/>
            <a:chOff x="7940040" y="603921"/>
            <a:chExt cx="2331720" cy="1109347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79F60935-C7C9-49E8-8E64-C2EA57E153E4}"/>
                </a:ext>
              </a:extLst>
            </p:cNvPr>
            <p:cNvSpPr/>
            <p:nvPr/>
          </p:nvSpPr>
          <p:spPr>
            <a:xfrm>
              <a:off x="8279452" y="787580"/>
              <a:ext cx="1709122" cy="70788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IN" sz="2000" kern="0">
                  <a:solidFill>
                    <a:schemeClr val="bg1"/>
                  </a:solidFill>
                </a:rPr>
                <a:t>INSERT </a:t>
              </a:r>
            </a:p>
            <a:p>
              <a:pPr algn="ctr"/>
              <a:r>
                <a:rPr lang="en-IN" sz="2000" kern="0">
                  <a:solidFill>
                    <a:schemeClr val="bg1"/>
                  </a:solidFill>
                </a:rPr>
                <a:t>LOGO HERE</a:t>
              </a:r>
              <a:endParaRPr lang="en-IN" sz="2000" kern="0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26A089CA-A49A-42E2-9588-FA028EAF01F5}"/>
                </a:ext>
              </a:extLst>
            </p:cNvPr>
            <p:cNvSpPr/>
            <p:nvPr/>
          </p:nvSpPr>
          <p:spPr>
            <a:xfrm>
              <a:off x="7940040" y="603921"/>
              <a:ext cx="2331720" cy="1109347"/>
            </a:xfrm>
            <a:prstGeom prst="rect">
              <a:avLst/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 err="1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497638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3" grpId="0" animBg="1"/>
      <p:bldP spid="19" grpId="0" animBg="1"/>
      <p:bldP spid="24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E:\cloud\drive\websites\slidemodel\logo\sebastian\slidemodel-logo-trans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0080" y="3164752"/>
            <a:ext cx="2791845" cy="528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99142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ctangle 48">
            <a:extLst>
              <a:ext uri="{FF2B5EF4-FFF2-40B4-BE49-F238E27FC236}">
                <a16:creationId xmlns:a16="http://schemas.microsoft.com/office/drawing/2014/main" id="{3C29669A-170F-4E9D-8149-B01905DC2FD2}"/>
              </a:ext>
            </a:extLst>
          </p:cNvPr>
          <p:cNvSpPr/>
          <p:nvPr/>
        </p:nvSpPr>
        <p:spPr>
          <a:xfrm>
            <a:off x="360898" y="4463995"/>
            <a:ext cx="363952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sz="2800" b="1" dirty="0">
                <a:solidFill>
                  <a:schemeClr val="accent1"/>
                </a:solidFill>
                <a:latin typeface="+mn-lt"/>
              </a:rPr>
              <a:t>Your title her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A0CA7C6-AAD3-4C2D-8794-C89F35A91C34}"/>
              </a:ext>
            </a:extLst>
          </p:cNvPr>
          <p:cNvSpPr/>
          <p:nvPr/>
        </p:nvSpPr>
        <p:spPr>
          <a:xfrm>
            <a:off x="757001" y="4996828"/>
            <a:ext cx="273442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sz="1800" dirty="0">
                <a:latin typeface="+mn-lt"/>
              </a:rPr>
              <a:t>Lorem ipsum </a:t>
            </a:r>
            <a:r>
              <a:rPr lang="en-IN" sz="1800" dirty="0" err="1">
                <a:latin typeface="+mn-lt"/>
              </a:rPr>
              <a:t>dolor</a:t>
            </a:r>
            <a:r>
              <a:rPr lang="en-IN" sz="1800" dirty="0">
                <a:latin typeface="+mn-lt"/>
              </a:rPr>
              <a:t> sit </a:t>
            </a:r>
            <a:r>
              <a:rPr lang="en-IN" sz="1800" dirty="0" err="1">
                <a:latin typeface="+mn-lt"/>
              </a:rPr>
              <a:t>amet</a:t>
            </a:r>
            <a:r>
              <a:rPr lang="en-IN" sz="1800" dirty="0">
                <a:latin typeface="+mn-lt"/>
              </a:rPr>
              <a:t>, </a:t>
            </a:r>
            <a:r>
              <a:rPr lang="en-IN" sz="1800" dirty="0" err="1">
                <a:latin typeface="+mn-lt"/>
              </a:rPr>
              <a:t>consectetur</a:t>
            </a:r>
            <a:r>
              <a:rPr lang="en-IN" sz="1800" dirty="0">
                <a:latin typeface="+mn-lt"/>
              </a:rPr>
              <a:t> </a:t>
            </a:r>
            <a:r>
              <a:rPr lang="en-IN" sz="1800" dirty="0" err="1">
                <a:latin typeface="+mn-lt"/>
              </a:rPr>
              <a:t>adipiscing</a:t>
            </a:r>
            <a:r>
              <a:rPr lang="en-IN" sz="1800" dirty="0">
                <a:latin typeface="+mn-lt"/>
              </a:rPr>
              <a:t> </a:t>
            </a:r>
            <a:r>
              <a:rPr lang="en-IN" sz="1800" dirty="0" err="1">
                <a:latin typeface="+mn-lt"/>
              </a:rPr>
              <a:t>elit</a:t>
            </a:r>
            <a:r>
              <a:rPr lang="en-IN" sz="1800" dirty="0">
                <a:latin typeface="+mn-lt"/>
              </a:rPr>
              <a:t>  </a:t>
            </a:r>
            <a:r>
              <a:rPr lang="en-IN" sz="1800" dirty="0" err="1">
                <a:latin typeface="+mn-lt"/>
              </a:rPr>
              <a:t>Sed</a:t>
            </a:r>
            <a:r>
              <a:rPr lang="en-IN" sz="1800" dirty="0">
                <a:latin typeface="+mn-lt"/>
              </a:rPr>
              <a:t> do </a:t>
            </a:r>
            <a:r>
              <a:rPr lang="en-IN" sz="1800" dirty="0" err="1">
                <a:latin typeface="+mn-lt"/>
              </a:rPr>
              <a:t>eiusmod</a:t>
            </a:r>
            <a:r>
              <a:rPr lang="en-IN" sz="1800" dirty="0">
                <a:latin typeface="+mn-lt"/>
              </a:rPr>
              <a:t> </a:t>
            </a:r>
            <a:r>
              <a:rPr lang="en-IN" sz="1800" dirty="0" err="1">
                <a:latin typeface="+mn-lt"/>
              </a:rPr>
              <a:t>tempor</a:t>
            </a:r>
            <a:r>
              <a:rPr lang="en-IN" sz="1800" dirty="0">
                <a:latin typeface="+mn-lt"/>
              </a:rPr>
              <a:t> </a:t>
            </a:r>
            <a:r>
              <a:rPr lang="en-IN" sz="1800" dirty="0" err="1">
                <a:latin typeface="+mn-lt"/>
              </a:rPr>
              <a:t>incididunt</a:t>
            </a:r>
            <a:r>
              <a:rPr lang="en-IN" sz="1800" dirty="0">
                <a:latin typeface="+mn-lt"/>
              </a:rPr>
              <a:t> </a:t>
            </a:r>
            <a:r>
              <a:rPr lang="en-IN" sz="1800" dirty="0" err="1">
                <a:latin typeface="+mn-lt"/>
              </a:rPr>
              <a:t>ut</a:t>
            </a:r>
            <a:r>
              <a:rPr lang="en-IN" sz="1800" dirty="0">
                <a:latin typeface="+mn-lt"/>
              </a:rPr>
              <a:t> </a:t>
            </a:r>
            <a:r>
              <a:rPr lang="en-IN" sz="1800" dirty="0" err="1">
                <a:latin typeface="+mn-lt"/>
              </a:rPr>
              <a:t>labore</a:t>
            </a:r>
            <a:r>
              <a:rPr lang="en-IN" sz="1800" dirty="0">
                <a:latin typeface="+mn-lt"/>
              </a:rPr>
              <a:t> et dolore magna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FF0AABC-6FFE-4BD5-AC5A-A1429AC60F0C}"/>
              </a:ext>
            </a:extLst>
          </p:cNvPr>
          <p:cNvSpPr/>
          <p:nvPr/>
        </p:nvSpPr>
        <p:spPr>
          <a:xfrm>
            <a:off x="4294065" y="4463995"/>
            <a:ext cx="363952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sz="2800" b="1" dirty="0">
                <a:solidFill>
                  <a:schemeClr val="accent2"/>
                </a:solidFill>
                <a:latin typeface="+mn-lt"/>
              </a:rPr>
              <a:t>Your title her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E4C7A4B-109A-4577-BE1E-D7711A7F5FF4}"/>
              </a:ext>
            </a:extLst>
          </p:cNvPr>
          <p:cNvSpPr/>
          <p:nvPr/>
        </p:nvSpPr>
        <p:spPr>
          <a:xfrm>
            <a:off x="4690168" y="4996828"/>
            <a:ext cx="273442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sz="1800" dirty="0">
                <a:latin typeface="+mn-lt"/>
              </a:rPr>
              <a:t>Lorem ipsum </a:t>
            </a:r>
            <a:r>
              <a:rPr lang="en-IN" sz="1800" dirty="0" err="1">
                <a:latin typeface="+mn-lt"/>
              </a:rPr>
              <a:t>dolor</a:t>
            </a:r>
            <a:r>
              <a:rPr lang="en-IN" sz="1800" dirty="0">
                <a:latin typeface="+mn-lt"/>
              </a:rPr>
              <a:t> sit </a:t>
            </a:r>
            <a:r>
              <a:rPr lang="en-IN" sz="1800" dirty="0" err="1">
                <a:latin typeface="+mn-lt"/>
              </a:rPr>
              <a:t>amet</a:t>
            </a:r>
            <a:r>
              <a:rPr lang="en-IN" sz="1800" dirty="0">
                <a:latin typeface="+mn-lt"/>
              </a:rPr>
              <a:t>, </a:t>
            </a:r>
            <a:r>
              <a:rPr lang="en-IN" sz="1800" dirty="0" err="1">
                <a:latin typeface="+mn-lt"/>
              </a:rPr>
              <a:t>consectetur</a:t>
            </a:r>
            <a:r>
              <a:rPr lang="en-IN" sz="1800" dirty="0">
                <a:latin typeface="+mn-lt"/>
              </a:rPr>
              <a:t> </a:t>
            </a:r>
            <a:r>
              <a:rPr lang="en-IN" sz="1800" dirty="0" err="1">
                <a:latin typeface="+mn-lt"/>
              </a:rPr>
              <a:t>adipiscing</a:t>
            </a:r>
            <a:r>
              <a:rPr lang="en-IN" sz="1800" dirty="0">
                <a:latin typeface="+mn-lt"/>
              </a:rPr>
              <a:t> </a:t>
            </a:r>
            <a:r>
              <a:rPr lang="en-IN" sz="1800" dirty="0" err="1">
                <a:latin typeface="+mn-lt"/>
              </a:rPr>
              <a:t>elit</a:t>
            </a:r>
            <a:r>
              <a:rPr lang="en-IN" sz="1800" dirty="0">
                <a:latin typeface="+mn-lt"/>
              </a:rPr>
              <a:t>  </a:t>
            </a:r>
            <a:r>
              <a:rPr lang="en-IN" sz="1800" dirty="0" err="1">
                <a:latin typeface="+mn-lt"/>
              </a:rPr>
              <a:t>Sed</a:t>
            </a:r>
            <a:r>
              <a:rPr lang="en-IN" sz="1800" dirty="0">
                <a:latin typeface="+mn-lt"/>
              </a:rPr>
              <a:t> do </a:t>
            </a:r>
            <a:r>
              <a:rPr lang="en-IN" sz="1800" dirty="0" err="1">
                <a:latin typeface="+mn-lt"/>
              </a:rPr>
              <a:t>eiusmod</a:t>
            </a:r>
            <a:r>
              <a:rPr lang="en-IN" sz="1800" dirty="0">
                <a:latin typeface="+mn-lt"/>
              </a:rPr>
              <a:t> </a:t>
            </a:r>
            <a:r>
              <a:rPr lang="en-IN" sz="1800" dirty="0" err="1">
                <a:latin typeface="+mn-lt"/>
              </a:rPr>
              <a:t>tempor</a:t>
            </a:r>
            <a:r>
              <a:rPr lang="en-IN" sz="1800" dirty="0">
                <a:latin typeface="+mn-lt"/>
              </a:rPr>
              <a:t> </a:t>
            </a:r>
            <a:r>
              <a:rPr lang="en-IN" sz="1800" dirty="0" err="1">
                <a:latin typeface="+mn-lt"/>
              </a:rPr>
              <a:t>incididunt</a:t>
            </a:r>
            <a:r>
              <a:rPr lang="en-IN" sz="1800" dirty="0">
                <a:latin typeface="+mn-lt"/>
              </a:rPr>
              <a:t> </a:t>
            </a:r>
            <a:r>
              <a:rPr lang="en-IN" sz="1800" dirty="0" err="1">
                <a:latin typeface="+mn-lt"/>
              </a:rPr>
              <a:t>ut</a:t>
            </a:r>
            <a:r>
              <a:rPr lang="en-IN" sz="1800" dirty="0">
                <a:latin typeface="+mn-lt"/>
              </a:rPr>
              <a:t> </a:t>
            </a:r>
            <a:r>
              <a:rPr lang="en-IN" sz="1800" dirty="0" err="1">
                <a:latin typeface="+mn-lt"/>
              </a:rPr>
              <a:t>labore</a:t>
            </a:r>
            <a:r>
              <a:rPr lang="en-IN" sz="1800" dirty="0">
                <a:latin typeface="+mn-lt"/>
              </a:rPr>
              <a:t> et dolore magna 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E0E74A7-CA0A-4FB7-B6A4-8EB994750939}"/>
              </a:ext>
            </a:extLst>
          </p:cNvPr>
          <p:cNvSpPr/>
          <p:nvPr/>
        </p:nvSpPr>
        <p:spPr>
          <a:xfrm>
            <a:off x="8246281" y="4463995"/>
            <a:ext cx="363952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sz="2800" b="1" dirty="0">
                <a:solidFill>
                  <a:schemeClr val="accent3"/>
                </a:solidFill>
                <a:latin typeface="+mn-lt"/>
              </a:rPr>
              <a:t>Your title her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18386BC-B910-4028-B8C8-3D759D7C1364}"/>
              </a:ext>
            </a:extLst>
          </p:cNvPr>
          <p:cNvSpPr/>
          <p:nvPr/>
        </p:nvSpPr>
        <p:spPr>
          <a:xfrm>
            <a:off x="8642384" y="4996828"/>
            <a:ext cx="273442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sz="1800" dirty="0">
                <a:latin typeface="+mn-lt"/>
              </a:rPr>
              <a:t>Lorem ipsum </a:t>
            </a:r>
            <a:r>
              <a:rPr lang="en-IN" sz="1800" dirty="0" err="1">
                <a:latin typeface="+mn-lt"/>
              </a:rPr>
              <a:t>dolor</a:t>
            </a:r>
            <a:r>
              <a:rPr lang="en-IN" sz="1800" dirty="0">
                <a:latin typeface="+mn-lt"/>
              </a:rPr>
              <a:t> sit </a:t>
            </a:r>
            <a:r>
              <a:rPr lang="en-IN" sz="1800" dirty="0" err="1">
                <a:latin typeface="+mn-lt"/>
              </a:rPr>
              <a:t>amet</a:t>
            </a:r>
            <a:r>
              <a:rPr lang="en-IN" sz="1800" dirty="0">
                <a:latin typeface="+mn-lt"/>
              </a:rPr>
              <a:t>, </a:t>
            </a:r>
            <a:r>
              <a:rPr lang="en-IN" sz="1800" dirty="0" err="1">
                <a:latin typeface="+mn-lt"/>
              </a:rPr>
              <a:t>consectetur</a:t>
            </a:r>
            <a:r>
              <a:rPr lang="en-IN" sz="1800" dirty="0">
                <a:latin typeface="+mn-lt"/>
              </a:rPr>
              <a:t> </a:t>
            </a:r>
            <a:r>
              <a:rPr lang="en-IN" sz="1800" dirty="0" err="1">
                <a:latin typeface="+mn-lt"/>
              </a:rPr>
              <a:t>adipiscing</a:t>
            </a:r>
            <a:r>
              <a:rPr lang="en-IN" sz="1800" dirty="0">
                <a:latin typeface="+mn-lt"/>
              </a:rPr>
              <a:t> </a:t>
            </a:r>
            <a:r>
              <a:rPr lang="en-IN" sz="1800" dirty="0" err="1">
                <a:latin typeface="+mn-lt"/>
              </a:rPr>
              <a:t>elit</a:t>
            </a:r>
            <a:r>
              <a:rPr lang="en-IN" sz="1800" dirty="0">
                <a:latin typeface="+mn-lt"/>
              </a:rPr>
              <a:t>  </a:t>
            </a:r>
            <a:r>
              <a:rPr lang="en-IN" sz="1800" dirty="0" err="1">
                <a:latin typeface="+mn-lt"/>
              </a:rPr>
              <a:t>Sed</a:t>
            </a:r>
            <a:r>
              <a:rPr lang="en-IN" sz="1800" dirty="0">
                <a:latin typeface="+mn-lt"/>
              </a:rPr>
              <a:t> do </a:t>
            </a:r>
            <a:r>
              <a:rPr lang="en-IN" sz="1800" dirty="0" err="1">
                <a:latin typeface="+mn-lt"/>
              </a:rPr>
              <a:t>eiusmod</a:t>
            </a:r>
            <a:r>
              <a:rPr lang="en-IN" sz="1800" dirty="0">
                <a:latin typeface="+mn-lt"/>
              </a:rPr>
              <a:t> </a:t>
            </a:r>
            <a:r>
              <a:rPr lang="en-IN" sz="1800" dirty="0" err="1">
                <a:latin typeface="+mn-lt"/>
              </a:rPr>
              <a:t>tempor</a:t>
            </a:r>
            <a:r>
              <a:rPr lang="en-IN" sz="1800" dirty="0">
                <a:latin typeface="+mn-lt"/>
              </a:rPr>
              <a:t> </a:t>
            </a:r>
            <a:r>
              <a:rPr lang="en-IN" sz="1800" dirty="0" err="1">
                <a:latin typeface="+mn-lt"/>
              </a:rPr>
              <a:t>incididunt</a:t>
            </a:r>
            <a:r>
              <a:rPr lang="en-IN" sz="1800" dirty="0">
                <a:latin typeface="+mn-lt"/>
              </a:rPr>
              <a:t> </a:t>
            </a:r>
            <a:r>
              <a:rPr lang="en-IN" sz="1800" dirty="0" err="1">
                <a:latin typeface="+mn-lt"/>
              </a:rPr>
              <a:t>ut</a:t>
            </a:r>
            <a:r>
              <a:rPr lang="en-IN" sz="1800" dirty="0">
                <a:latin typeface="+mn-lt"/>
              </a:rPr>
              <a:t> </a:t>
            </a:r>
            <a:r>
              <a:rPr lang="en-IN" sz="1800" dirty="0" err="1">
                <a:latin typeface="+mn-lt"/>
              </a:rPr>
              <a:t>labore</a:t>
            </a:r>
            <a:r>
              <a:rPr lang="en-IN" sz="1800" dirty="0">
                <a:latin typeface="+mn-lt"/>
              </a:rPr>
              <a:t> et dolore magna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21B3C65-302E-4C7F-B98A-5E1737AD6B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ompany Overview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702629-0882-49DC-92A0-D5F48749D1B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IN"/>
              <a:t>Add your </a:t>
            </a:r>
            <a:r>
              <a:rPr lang="en-IN" dirty="0"/>
              <a:t>subtitle here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C6DD46FC-AA08-4948-9E38-6C4F0C8A4EE0}"/>
              </a:ext>
            </a:extLst>
          </p:cNvPr>
          <p:cNvSpPr/>
          <p:nvPr/>
        </p:nvSpPr>
        <p:spPr>
          <a:xfrm>
            <a:off x="785212" y="1812524"/>
            <a:ext cx="2785302" cy="2785302"/>
          </a:xfrm>
          <a:prstGeom prst="ellipse">
            <a:avLst/>
          </a:prstGeom>
          <a:solidFill>
            <a:schemeClr val="bg1">
              <a:alpha val="7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600" b="1" dirty="0" err="1">
              <a:solidFill>
                <a:schemeClr val="accent4"/>
              </a:solidFill>
            </a:endParaRPr>
          </a:p>
        </p:txBody>
      </p:sp>
      <p:sp>
        <p:nvSpPr>
          <p:cNvPr id="19" name="Freeform 5">
            <a:extLst>
              <a:ext uri="{FF2B5EF4-FFF2-40B4-BE49-F238E27FC236}">
                <a16:creationId xmlns:a16="http://schemas.microsoft.com/office/drawing/2014/main" id="{8730D775-DAB3-4181-89A7-B443335720E3}"/>
              </a:ext>
            </a:extLst>
          </p:cNvPr>
          <p:cNvSpPr>
            <a:spLocks/>
          </p:cNvSpPr>
          <p:nvPr/>
        </p:nvSpPr>
        <p:spPr bwMode="auto">
          <a:xfrm>
            <a:off x="2177863" y="2092465"/>
            <a:ext cx="1100013" cy="1112041"/>
          </a:xfrm>
          <a:custGeom>
            <a:avLst/>
            <a:gdLst>
              <a:gd name="T0" fmla="*/ 0 w 2106"/>
              <a:gd name="T1" fmla="*/ 0 h 2106"/>
              <a:gd name="T2" fmla="*/ 2106 w 2106"/>
              <a:gd name="T3" fmla="*/ 2106 h 2106"/>
              <a:gd name="T4" fmla="*/ 1326 w 2106"/>
              <a:gd name="T5" fmla="*/ 2106 h 2106"/>
              <a:gd name="T6" fmla="*/ 0 w 2106"/>
              <a:gd name="T7" fmla="*/ 779 h 2106"/>
              <a:gd name="T8" fmla="*/ 0 w 2106"/>
              <a:gd name="T9" fmla="*/ 0 h 2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06" h="2106">
                <a:moveTo>
                  <a:pt x="0" y="0"/>
                </a:moveTo>
                <a:cubicBezTo>
                  <a:pt x="1163" y="0"/>
                  <a:pt x="2106" y="943"/>
                  <a:pt x="2106" y="2106"/>
                </a:cubicBezTo>
                <a:lnTo>
                  <a:pt x="1326" y="2106"/>
                </a:lnTo>
                <a:cubicBezTo>
                  <a:pt x="1326" y="1373"/>
                  <a:pt x="732" y="779"/>
                  <a:pt x="0" y="77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0" name="Freeform 7">
            <a:extLst>
              <a:ext uri="{FF2B5EF4-FFF2-40B4-BE49-F238E27FC236}">
                <a16:creationId xmlns:a16="http://schemas.microsoft.com/office/drawing/2014/main" id="{6CF2C88F-5C32-4EC3-AC3E-2FA4BA184639}"/>
              </a:ext>
            </a:extLst>
          </p:cNvPr>
          <p:cNvSpPr>
            <a:spLocks/>
          </p:cNvSpPr>
          <p:nvPr/>
        </p:nvSpPr>
        <p:spPr bwMode="auto">
          <a:xfrm>
            <a:off x="1077850" y="2092465"/>
            <a:ext cx="2200024" cy="2225420"/>
          </a:xfrm>
          <a:custGeom>
            <a:avLst/>
            <a:gdLst>
              <a:gd name="T0" fmla="*/ 4212 w 4212"/>
              <a:gd name="T1" fmla="*/ 2106 h 4212"/>
              <a:gd name="T2" fmla="*/ 2106 w 4212"/>
              <a:gd name="T3" fmla="*/ 4212 h 4212"/>
              <a:gd name="T4" fmla="*/ 0 w 4212"/>
              <a:gd name="T5" fmla="*/ 2106 h 4212"/>
              <a:gd name="T6" fmla="*/ 2106 w 4212"/>
              <a:gd name="T7" fmla="*/ 0 h 4212"/>
              <a:gd name="T8" fmla="*/ 2106 w 4212"/>
              <a:gd name="T9" fmla="*/ 779 h 4212"/>
              <a:gd name="T10" fmla="*/ 779 w 4212"/>
              <a:gd name="T11" fmla="*/ 2106 h 4212"/>
              <a:gd name="T12" fmla="*/ 2106 w 4212"/>
              <a:gd name="T13" fmla="*/ 3433 h 4212"/>
              <a:gd name="T14" fmla="*/ 3432 w 4212"/>
              <a:gd name="T15" fmla="*/ 2106 h 4212"/>
              <a:gd name="T16" fmla="*/ 4212 w 4212"/>
              <a:gd name="T17" fmla="*/ 2106 h 4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212" h="4212">
                <a:moveTo>
                  <a:pt x="4212" y="2106"/>
                </a:moveTo>
                <a:cubicBezTo>
                  <a:pt x="4212" y="3269"/>
                  <a:pt x="3269" y="4212"/>
                  <a:pt x="2106" y="4212"/>
                </a:cubicBezTo>
                <a:cubicBezTo>
                  <a:pt x="943" y="4212"/>
                  <a:pt x="0" y="3269"/>
                  <a:pt x="0" y="2106"/>
                </a:cubicBezTo>
                <a:cubicBezTo>
                  <a:pt x="0" y="943"/>
                  <a:pt x="943" y="0"/>
                  <a:pt x="2106" y="0"/>
                </a:cubicBezTo>
                <a:lnTo>
                  <a:pt x="2106" y="779"/>
                </a:lnTo>
                <a:cubicBezTo>
                  <a:pt x="1373" y="779"/>
                  <a:pt x="779" y="1373"/>
                  <a:pt x="779" y="2106"/>
                </a:cubicBezTo>
                <a:cubicBezTo>
                  <a:pt x="779" y="2839"/>
                  <a:pt x="1373" y="3433"/>
                  <a:pt x="2106" y="3433"/>
                </a:cubicBezTo>
                <a:cubicBezTo>
                  <a:pt x="2838" y="3433"/>
                  <a:pt x="3432" y="2839"/>
                  <a:pt x="3432" y="2106"/>
                </a:cubicBezTo>
                <a:lnTo>
                  <a:pt x="4212" y="2106"/>
                </a:lnTo>
                <a:close/>
              </a:path>
            </a:pathLst>
          </a:custGeom>
          <a:solidFill>
            <a:srgbClr val="CCCC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9091B4E-003B-4AE2-A125-251741DDFEEC}"/>
              </a:ext>
            </a:extLst>
          </p:cNvPr>
          <p:cNvSpPr/>
          <p:nvPr/>
        </p:nvSpPr>
        <p:spPr>
          <a:xfrm>
            <a:off x="1535321" y="2757036"/>
            <a:ext cx="1258678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4800" b="1" dirty="0">
                <a:solidFill>
                  <a:schemeClr val="accent1"/>
                </a:solidFill>
                <a:latin typeface="+mn-lt"/>
              </a:rPr>
              <a:t>25%</a:t>
            </a:r>
            <a:endParaRPr lang="en-IN" sz="4800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B71E2700-7F01-4679-A7AB-3A3D4FD7B1A3}"/>
              </a:ext>
            </a:extLst>
          </p:cNvPr>
          <p:cNvSpPr/>
          <p:nvPr/>
        </p:nvSpPr>
        <p:spPr>
          <a:xfrm>
            <a:off x="4705988" y="1812524"/>
            <a:ext cx="2785302" cy="2785302"/>
          </a:xfrm>
          <a:prstGeom prst="ellipse">
            <a:avLst/>
          </a:prstGeom>
          <a:solidFill>
            <a:schemeClr val="bg1">
              <a:alpha val="7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600" b="1" dirty="0" err="1">
              <a:solidFill>
                <a:schemeClr val="accent4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139E770-3CC3-47BD-8B72-7579557C39EF}"/>
              </a:ext>
            </a:extLst>
          </p:cNvPr>
          <p:cNvGrpSpPr/>
          <p:nvPr/>
        </p:nvGrpSpPr>
        <p:grpSpPr>
          <a:xfrm>
            <a:off x="4999295" y="2092465"/>
            <a:ext cx="2198688" cy="2225420"/>
            <a:chOff x="5071631" y="2523146"/>
            <a:chExt cx="2198688" cy="2225420"/>
          </a:xfrm>
        </p:grpSpPr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E1D948B5-3E53-4D71-B9D3-11BCDDD6B16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1644" y="2523146"/>
              <a:ext cx="1098675" cy="2225420"/>
            </a:xfrm>
            <a:custGeom>
              <a:avLst/>
              <a:gdLst>
                <a:gd name="T0" fmla="*/ 0 w 2106"/>
                <a:gd name="T1" fmla="*/ 0 h 4212"/>
                <a:gd name="T2" fmla="*/ 2106 w 2106"/>
                <a:gd name="T3" fmla="*/ 2106 h 4212"/>
                <a:gd name="T4" fmla="*/ 0 w 2106"/>
                <a:gd name="T5" fmla="*/ 4212 h 4212"/>
                <a:gd name="T6" fmla="*/ 0 w 2106"/>
                <a:gd name="T7" fmla="*/ 3433 h 4212"/>
                <a:gd name="T8" fmla="*/ 1327 w 2106"/>
                <a:gd name="T9" fmla="*/ 2106 h 4212"/>
                <a:gd name="T10" fmla="*/ 0 w 2106"/>
                <a:gd name="T11" fmla="*/ 779 h 4212"/>
                <a:gd name="T12" fmla="*/ 0 w 2106"/>
                <a:gd name="T13" fmla="*/ 0 h 4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06" h="4212">
                  <a:moveTo>
                    <a:pt x="0" y="0"/>
                  </a:moveTo>
                  <a:cubicBezTo>
                    <a:pt x="1163" y="0"/>
                    <a:pt x="2106" y="943"/>
                    <a:pt x="2106" y="2106"/>
                  </a:cubicBezTo>
                  <a:cubicBezTo>
                    <a:pt x="2106" y="3269"/>
                    <a:pt x="1163" y="4212"/>
                    <a:pt x="0" y="4212"/>
                  </a:cubicBezTo>
                  <a:lnTo>
                    <a:pt x="0" y="3433"/>
                  </a:lnTo>
                  <a:cubicBezTo>
                    <a:pt x="733" y="3433"/>
                    <a:pt x="1327" y="2839"/>
                    <a:pt x="1327" y="2106"/>
                  </a:cubicBezTo>
                  <a:cubicBezTo>
                    <a:pt x="1327" y="1373"/>
                    <a:pt x="733" y="779"/>
                    <a:pt x="0" y="77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" name="Freeform 14">
              <a:extLst>
                <a:ext uri="{FF2B5EF4-FFF2-40B4-BE49-F238E27FC236}">
                  <a16:creationId xmlns:a16="http://schemas.microsoft.com/office/drawing/2014/main" id="{BEB7F9C5-1394-41A0-AFF9-4B1E712BE8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1631" y="2523146"/>
              <a:ext cx="1100013" cy="2225420"/>
            </a:xfrm>
            <a:custGeom>
              <a:avLst/>
              <a:gdLst>
                <a:gd name="T0" fmla="*/ 2106 w 2106"/>
                <a:gd name="T1" fmla="*/ 4212 h 4212"/>
                <a:gd name="T2" fmla="*/ 0 w 2106"/>
                <a:gd name="T3" fmla="*/ 2106 h 4212"/>
                <a:gd name="T4" fmla="*/ 2106 w 2106"/>
                <a:gd name="T5" fmla="*/ 0 h 4212"/>
                <a:gd name="T6" fmla="*/ 2106 w 2106"/>
                <a:gd name="T7" fmla="*/ 779 h 4212"/>
                <a:gd name="T8" fmla="*/ 779 w 2106"/>
                <a:gd name="T9" fmla="*/ 2106 h 4212"/>
                <a:gd name="T10" fmla="*/ 2106 w 2106"/>
                <a:gd name="T11" fmla="*/ 3433 h 4212"/>
                <a:gd name="T12" fmla="*/ 2106 w 2106"/>
                <a:gd name="T13" fmla="*/ 4212 h 4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06" h="4212">
                  <a:moveTo>
                    <a:pt x="2106" y="4212"/>
                  </a:moveTo>
                  <a:cubicBezTo>
                    <a:pt x="943" y="4212"/>
                    <a:pt x="0" y="3269"/>
                    <a:pt x="0" y="2106"/>
                  </a:cubicBezTo>
                  <a:cubicBezTo>
                    <a:pt x="0" y="943"/>
                    <a:pt x="943" y="0"/>
                    <a:pt x="2106" y="0"/>
                  </a:cubicBezTo>
                  <a:lnTo>
                    <a:pt x="2106" y="779"/>
                  </a:lnTo>
                  <a:cubicBezTo>
                    <a:pt x="1373" y="779"/>
                    <a:pt x="779" y="1373"/>
                    <a:pt x="779" y="2106"/>
                  </a:cubicBezTo>
                  <a:cubicBezTo>
                    <a:pt x="779" y="2839"/>
                    <a:pt x="1373" y="3433"/>
                    <a:pt x="2106" y="3433"/>
                  </a:cubicBezTo>
                  <a:lnTo>
                    <a:pt x="2106" y="4212"/>
                  </a:lnTo>
                  <a:close/>
                </a:path>
              </a:pathLst>
            </a:custGeom>
            <a:solidFill>
              <a:srgbClr val="CCCCC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64932C32-A39F-440D-BF23-7B0AAE26F4ED}"/>
                </a:ext>
              </a:extLst>
            </p:cNvPr>
            <p:cNvSpPr/>
            <p:nvPr/>
          </p:nvSpPr>
          <p:spPr>
            <a:xfrm>
              <a:off x="5553325" y="3187717"/>
              <a:ext cx="1258678" cy="8309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sz="4800" b="1" dirty="0">
                  <a:solidFill>
                    <a:schemeClr val="accent2"/>
                  </a:solidFill>
                  <a:latin typeface="+mn-lt"/>
                </a:rPr>
                <a:t>50%</a:t>
              </a:r>
              <a:endParaRPr lang="en-IN" sz="4800" dirty="0">
                <a:solidFill>
                  <a:schemeClr val="accent2"/>
                </a:solidFill>
                <a:latin typeface="+mn-lt"/>
              </a:endParaRPr>
            </a:p>
          </p:txBody>
        </p:sp>
      </p:grpSp>
      <p:sp>
        <p:nvSpPr>
          <p:cNvPr id="31" name="Oval 30">
            <a:extLst>
              <a:ext uri="{FF2B5EF4-FFF2-40B4-BE49-F238E27FC236}">
                <a16:creationId xmlns:a16="http://schemas.microsoft.com/office/drawing/2014/main" id="{E69FD04B-27B6-4A51-8038-502E0C6DB996}"/>
              </a:ext>
            </a:extLst>
          </p:cNvPr>
          <p:cNvSpPr/>
          <p:nvPr/>
        </p:nvSpPr>
        <p:spPr>
          <a:xfrm>
            <a:off x="8626764" y="1812524"/>
            <a:ext cx="2785302" cy="2785302"/>
          </a:xfrm>
          <a:prstGeom prst="ellipse">
            <a:avLst/>
          </a:prstGeom>
          <a:solidFill>
            <a:schemeClr val="bg1">
              <a:alpha val="7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600" b="1" dirty="0" err="1">
              <a:solidFill>
                <a:schemeClr val="accent4"/>
              </a:solidFill>
            </a:endParaRPr>
          </a:p>
        </p:txBody>
      </p:sp>
      <p:sp>
        <p:nvSpPr>
          <p:cNvPr id="37" name="Freeform 19">
            <a:extLst>
              <a:ext uri="{FF2B5EF4-FFF2-40B4-BE49-F238E27FC236}">
                <a16:creationId xmlns:a16="http://schemas.microsoft.com/office/drawing/2014/main" id="{170AD0E9-2B88-4FCE-AA70-DA239F7353B3}"/>
              </a:ext>
            </a:extLst>
          </p:cNvPr>
          <p:cNvSpPr>
            <a:spLocks/>
          </p:cNvSpPr>
          <p:nvPr/>
        </p:nvSpPr>
        <p:spPr bwMode="auto">
          <a:xfrm>
            <a:off x="8919403" y="2084996"/>
            <a:ext cx="2200024" cy="2225420"/>
          </a:xfrm>
          <a:custGeom>
            <a:avLst/>
            <a:gdLst>
              <a:gd name="T0" fmla="*/ 2106 w 4212"/>
              <a:gd name="T1" fmla="*/ 0 h 4212"/>
              <a:gd name="T2" fmla="*/ 4212 w 4212"/>
              <a:gd name="T3" fmla="*/ 2106 h 4212"/>
              <a:gd name="T4" fmla="*/ 2106 w 4212"/>
              <a:gd name="T5" fmla="*/ 4212 h 4212"/>
              <a:gd name="T6" fmla="*/ 0 w 4212"/>
              <a:gd name="T7" fmla="*/ 2106 h 4212"/>
              <a:gd name="T8" fmla="*/ 780 w 4212"/>
              <a:gd name="T9" fmla="*/ 2106 h 4212"/>
              <a:gd name="T10" fmla="*/ 2106 w 4212"/>
              <a:gd name="T11" fmla="*/ 3433 h 4212"/>
              <a:gd name="T12" fmla="*/ 3433 w 4212"/>
              <a:gd name="T13" fmla="*/ 2106 h 4212"/>
              <a:gd name="T14" fmla="*/ 2106 w 4212"/>
              <a:gd name="T15" fmla="*/ 779 h 4212"/>
              <a:gd name="T16" fmla="*/ 2106 w 4212"/>
              <a:gd name="T17" fmla="*/ 0 h 4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212" h="4212">
                <a:moveTo>
                  <a:pt x="2106" y="0"/>
                </a:moveTo>
                <a:cubicBezTo>
                  <a:pt x="3269" y="0"/>
                  <a:pt x="4212" y="943"/>
                  <a:pt x="4212" y="2106"/>
                </a:cubicBezTo>
                <a:cubicBezTo>
                  <a:pt x="4212" y="3269"/>
                  <a:pt x="3269" y="4212"/>
                  <a:pt x="2106" y="4212"/>
                </a:cubicBezTo>
                <a:cubicBezTo>
                  <a:pt x="943" y="4212"/>
                  <a:pt x="0" y="3269"/>
                  <a:pt x="0" y="2106"/>
                </a:cubicBezTo>
                <a:lnTo>
                  <a:pt x="780" y="2106"/>
                </a:lnTo>
                <a:cubicBezTo>
                  <a:pt x="780" y="2839"/>
                  <a:pt x="1374" y="3433"/>
                  <a:pt x="2106" y="3433"/>
                </a:cubicBezTo>
                <a:cubicBezTo>
                  <a:pt x="2839" y="3433"/>
                  <a:pt x="3433" y="2839"/>
                  <a:pt x="3433" y="2106"/>
                </a:cubicBezTo>
                <a:cubicBezTo>
                  <a:pt x="3433" y="1373"/>
                  <a:pt x="2839" y="779"/>
                  <a:pt x="2106" y="779"/>
                </a:cubicBezTo>
                <a:lnTo>
                  <a:pt x="2106" y="0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38" name="Freeform 21">
            <a:extLst>
              <a:ext uri="{FF2B5EF4-FFF2-40B4-BE49-F238E27FC236}">
                <a16:creationId xmlns:a16="http://schemas.microsoft.com/office/drawing/2014/main" id="{D4A3FE2E-55F0-4ABA-B67B-38A34B0C4D51}"/>
              </a:ext>
            </a:extLst>
          </p:cNvPr>
          <p:cNvSpPr>
            <a:spLocks/>
          </p:cNvSpPr>
          <p:nvPr/>
        </p:nvSpPr>
        <p:spPr bwMode="auto">
          <a:xfrm>
            <a:off x="8919403" y="2084996"/>
            <a:ext cx="1100012" cy="1112041"/>
          </a:xfrm>
          <a:custGeom>
            <a:avLst/>
            <a:gdLst>
              <a:gd name="T0" fmla="*/ 0 w 2106"/>
              <a:gd name="T1" fmla="*/ 2106 h 2106"/>
              <a:gd name="T2" fmla="*/ 2106 w 2106"/>
              <a:gd name="T3" fmla="*/ 0 h 2106"/>
              <a:gd name="T4" fmla="*/ 2106 w 2106"/>
              <a:gd name="T5" fmla="*/ 779 h 2106"/>
              <a:gd name="T6" fmla="*/ 780 w 2106"/>
              <a:gd name="T7" fmla="*/ 2106 h 2106"/>
              <a:gd name="T8" fmla="*/ 0 w 2106"/>
              <a:gd name="T9" fmla="*/ 2106 h 2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06" h="2106">
                <a:moveTo>
                  <a:pt x="0" y="2106"/>
                </a:moveTo>
                <a:cubicBezTo>
                  <a:pt x="0" y="943"/>
                  <a:pt x="943" y="0"/>
                  <a:pt x="2106" y="0"/>
                </a:cubicBezTo>
                <a:lnTo>
                  <a:pt x="2106" y="779"/>
                </a:lnTo>
                <a:cubicBezTo>
                  <a:pt x="1374" y="779"/>
                  <a:pt x="780" y="1373"/>
                  <a:pt x="780" y="2106"/>
                </a:cubicBezTo>
                <a:lnTo>
                  <a:pt x="0" y="2106"/>
                </a:lnTo>
                <a:close/>
              </a:path>
            </a:pathLst>
          </a:custGeom>
          <a:solidFill>
            <a:srgbClr val="CCCC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09F2DD94-6087-4C0A-A883-29651A07B406}"/>
              </a:ext>
            </a:extLst>
          </p:cNvPr>
          <p:cNvSpPr/>
          <p:nvPr/>
        </p:nvSpPr>
        <p:spPr>
          <a:xfrm>
            <a:off x="9390075" y="2749567"/>
            <a:ext cx="1258678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4800" b="1" dirty="0">
                <a:solidFill>
                  <a:schemeClr val="accent3"/>
                </a:solidFill>
                <a:latin typeface="+mn-lt"/>
              </a:rPr>
              <a:t>75%</a:t>
            </a:r>
            <a:endParaRPr lang="en-IN" sz="4800" dirty="0">
              <a:solidFill>
                <a:schemeClr val="accent3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290994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E11114-A52A-4A54-9812-2B97ADC9D1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00" y="230315"/>
            <a:ext cx="10820400" cy="584775"/>
          </a:xfrm>
        </p:spPr>
        <p:txBody>
          <a:bodyPr/>
          <a:lstStyle/>
          <a:p>
            <a:r>
              <a:rPr lang="en-IN" dirty="0"/>
              <a:t>Our Servic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1DF701C-FA90-464F-8ACF-3B382779B5B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IN" dirty="0"/>
              <a:t>Add your subtitle her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B0FE189-EDB3-470E-BE4C-5DCD3F1BE28A}"/>
              </a:ext>
            </a:extLst>
          </p:cNvPr>
          <p:cNvCxnSpPr>
            <a:cxnSpLocks/>
            <a:endCxn id="5" idx="3"/>
          </p:cNvCxnSpPr>
          <p:nvPr/>
        </p:nvCxnSpPr>
        <p:spPr>
          <a:xfrm flipV="1">
            <a:off x="2212450" y="2076941"/>
            <a:ext cx="946311" cy="964560"/>
          </a:xfrm>
          <a:prstGeom prst="line">
            <a:avLst/>
          </a:prstGeom>
          <a:ln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B70AE4E-698B-405F-8135-09725685648C}"/>
              </a:ext>
            </a:extLst>
          </p:cNvPr>
          <p:cNvCxnSpPr>
            <a:cxnSpLocks/>
          </p:cNvCxnSpPr>
          <p:nvPr/>
        </p:nvCxnSpPr>
        <p:spPr>
          <a:xfrm flipV="1">
            <a:off x="2629243" y="2852906"/>
            <a:ext cx="1383049" cy="66858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EC5C21E-6F76-4FC0-86C0-4B64DB06EBB7}"/>
              </a:ext>
            </a:extLst>
          </p:cNvPr>
          <p:cNvCxnSpPr>
            <a:cxnSpLocks/>
            <a:stCxn id="3" idx="6"/>
            <a:endCxn id="8" idx="2"/>
          </p:cNvCxnSpPr>
          <p:nvPr/>
        </p:nvCxnSpPr>
        <p:spPr>
          <a:xfrm>
            <a:off x="2713584" y="3813023"/>
            <a:ext cx="19324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80C5F7F-0AF1-4CBB-BA02-44081638F827}"/>
              </a:ext>
            </a:extLst>
          </p:cNvPr>
          <p:cNvCxnSpPr>
            <a:cxnSpLocks/>
          </p:cNvCxnSpPr>
          <p:nvPr/>
        </p:nvCxnSpPr>
        <p:spPr>
          <a:xfrm>
            <a:off x="2565769" y="4235930"/>
            <a:ext cx="1446522" cy="560137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FCF6D79-4150-4F75-A06B-8DB25C19226E}"/>
              </a:ext>
            </a:extLst>
          </p:cNvPr>
          <p:cNvCxnSpPr>
            <a:cxnSpLocks/>
            <a:endCxn id="10" idx="1"/>
          </p:cNvCxnSpPr>
          <p:nvPr/>
        </p:nvCxnSpPr>
        <p:spPr>
          <a:xfrm>
            <a:off x="2146131" y="4601690"/>
            <a:ext cx="1012630" cy="94741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Oval 4">
            <a:extLst>
              <a:ext uri="{FF2B5EF4-FFF2-40B4-BE49-F238E27FC236}">
                <a16:creationId xmlns:a16="http://schemas.microsoft.com/office/drawing/2014/main" id="{6D580469-BE66-415D-8B5B-0A2CE94AF10D}"/>
              </a:ext>
            </a:extLst>
          </p:cNvPr>
          <p:cNvSpPr/>
          <p:nvPr/>
        </p:nvSpPr>
        <p:spPr>
          <a:xfrm>
            <a:off x="2983004" y="1052553"/>
            <a:ext cx="1200146" cy="1200145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4000" dirty="0"/>
              <a:t>01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4B8840A-00BC-4934-9B5E-4D399BC7F537}"/>
              </a:ext>
            </a:extLst>
          </p:cNvPr>
          <p:cNvSpPr/>
          <p:nvPr/>
        </p:nvSpPr>
        <p:spPr>
          <a:xfrm>
            <a:off x="3899564" y="2132751"/>
            <a:ext cx="1200146" cy="12001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4000" dirty="0"/>
              <a:t>02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A64479A-27BB-4272-AE59-CF09EA649029}"/>
              </a:ext>
            </a:extLst>
          </p:cNvPr>
          <p:cNvSpPr/>
          <p:nvPr/>
        </p:nvSpPr>
        <p:spPr>
          <a:xfrm>
            <a:off x="4646064" y="3212950"/>
            <a:ext cx="1200146" cy="12001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4000" dirty="0"/>
              <a:t>03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D0D5B57F-5932-407B-8D34-88AFB9FDEA1D}"/>
              </a:ext>
            </a:extLst>
          </p:cNvPr>
          <p:cNvSpPr/>
          <p:nvPr/>
        </p:nvSpPr>
        <p:spPr>
          <a:xfrm>
            <a:off x="3899564" y="4293148"/>
            <a:ext cx="1200146" cy="12001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4000" dirty="0"/>
              <a:t>04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3E87B7AD-47F2-4759-8138-6244B81F2685}"/>
              </a:ext>
            </a:extLst>
          </p:cNvPr>
          <p:cNvSpPr/>
          <p:nvPr/>
        </p:nvSpPr>
        <p:spPr>
          <a:xfrm>
            <a:off x="2983004" y="5373348"/>
            <a:ext cx="1200146" cy="120014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4000" dirty="0"/>
              <a:t>05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E751E3FC-224F-42A4-827D-C6EC2FEA6EE3}"/>
              </a:ext>
            </a:extLst>
          </p:cNvPr>
          <p:cNvSpPr/>
          <p:nvPr/>
        </p:nvSpPr>
        <p:spPr>
          <a:xfrm>
            <a:off x="793350" y="2852906"/>
            <a:ext cx="1920234" cy="1920233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600" b="1" dirty="0" err="1">
              <a:solidFill>
                <a:schemeClr val="accent4"/>
              </a:solidFill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EDAFDA72-6A9C-4524-8C2B-9B5A6B977A6F}"/>
              </a:ext>
            </a:extLst>
          </p:cNvPr>
          <p:cNvSpPr/>
          <p:nvPr/>
        </p:nvSpPr>
        <p:spPr>
          <a:xfrm>
            <a:off x="981944" y="3041501"/>
            <a:ext cx="1543045" cy="1543045"/>
          </a:xfrm>
          <a:prstGeom prst="ellipse">
            <a:avLst/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0">
                <a:srgbClr val="ECF0F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381000" dist="38100" dir="2700000" sx="101000" sy="101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 err="1"/>
          </a:p>
        </p:txBody>
      </p:sp>
      <p:pic>
        <p:nvPicPr>
          <p:cNvPr id="36" name="Graphic 35" descr="Gears">
            <a:extLst>
              <a:ext uri="{FF2B5EF4-FFF2-40B4-BE49-F238E27FC236}">
                <a16:creationId xmlns:a16="http://schemas.microsoft.com/office/drawing/2014/main" id="{FD91B5BF-9B5C-4F68-8EA3-006140B53A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3394" y="3212950"/>
            <a:ext cx="1200146" cy="1200144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BF10479C-F9E2-4785-A25B-7500F24279F8}"/>
              </a:ext>
            </a:extLst>
          </p:cNvPr>
          <p:cNvGrpSpPr/>
          <p:nvPr/>
        </p:nvGrpSpPr>
        <p:grpSpPr>
          <a:xfrm>
            <a:off x="4299109" y="1113326"/>
            <a:ext cx="6680201" cy="738424"/>
            <a:chOff x="4229659" y="1113326"/>
            <a:chExt cx="6680201" cy="738424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153725B8-0C53-4DA8-B643-33D5429545D9}"/>
                </a:ext>
              </a:extLst>
            </p:cNvPr>
            <p:cNvSpPr/>
            <p:nvPr/>
          </p:nvSpPr>
          <p:spPr>
            <a:xfrm>
              <a:off x="4229659" y="1451640"/>
              <a:ext cx="6680201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IN" sz="20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rPr>
                <a:t>You can edit this text. This text can be edited.</a:t>
              </a:r>
              <a:endPara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DC3F78C-9956-4491-96D5-7F6083C04520}"/>
                </a:ext>
              </a:extLst>
            </p:cNvPr>
            <p:cNvSpPr/>
            <p:nvPr/>
          </p:nvSpPr>
          <p:spPr>
            <a:xfrm>
              <a:off x="4229659" y="1113326"/>
              <a:ext cx="2121093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sz="18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DIT TITLE HERE</a:t>
              </a:r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3F7AA01A-267A-4FED-BB6D-0F5E2E2D8578}"/>
              </a:ext>
            </a:extLst>
          </p:cNvPr>
          <p:cNvGrpSpPr/>
          <p:nvPr/>
        </p:nvGrpSpPr>
        <p:grpSpPr>
          <a:xfrm>
            <a:off x="5359655" y="2303077"/>
            <a:ext cx="6680201" cy="738424"/>
            <a:chOff x="4229659" y="1113326"/>
            <a:chExt cx="6680201" cy="73842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2517CD66-8B9E-4358-975C-8F8681A7C32F}"/>
                </a:ext>
              </a:extLst>
            </p:cNvPr>
            <p:cNvSpPr/>
            <p:nvPr/>
          </p:nvSpPr>
          <p:spPr>
            <a:xfrm>
              <a:off x="4229659" y="1451640"/>
              <a:ext cx="6680201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IN" sz="20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You can edit this text. This text can be edited.</a:t>
              </a:r>
              <a:endParaRPr lang="en-IN" sz="20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F510298-8A2A-4DA5-AB9F-1727FA20CFA5}"/>
                </a:ext>
              </a:extLst>
            </p:cNvPr>
            <p:cNvSpPr/>
            <p:nvPr/>
          </p:nvSpPr>
          <p:spPr>
            <a:xfrm>
              <a:off x="4229659" y="1113326"/>
              <a:ext cx="2121093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sz="18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DIT TITLE HERE</a:t>
              </a:r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E5184F1-BE49-43B5-8DE0-6A0C39B5D39B}"/>
              </a:ext>
            </a:extLst>
          </p:cNvPr>
          <p:cNvGrpSpPr/>
          <p:nvPr/>
        </p:nvGrpSpPr>
        <p:grpSpPr>
          <a:xfrm>
            <a:off x="6064601" y="3462050"/>
            <a:ext cx="6680201" cy="738424"/>
            <a:chOff x="4229659" y="1113326"/>
            <a:chExt cx="6680201" cy="738424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C9640DD0-78A6-453C-AA64-AC95D65765BE}"/>
                </a:ext>
              </a:extLst>
            </p:cNvPr>
            <p:cNvSpPr/>
            <p:nvPr/>
          </p:nvSpPr>
          <p:spPr>
            <a:xfrm>
              <a:off x="4229659" y="1451640"/>
              <a:ext cx="6680201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IN" sz="20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You can edit this text. This text can be edited.</a:t>
              </a:r>
              <a:endParaRPr lang="en-IN" sz="20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0445A05D-8006-4312-AE25-B566B4CD89DA}"/>
                </a:ext>
              </a:extLst>
            </p:cNvPr>
            <p:cNvSpPr/>
            <p:nvPr/>
          </p:nvSpPr>
          <p:spPr>
            <a:xfrm>
              <a:off x="4229659" y="1113326"/>
              <a:ext cx="2121093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sz="18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DIT TITLE HERE</a:t>
              </a:r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0DD48A28-B67C-49AC-BEA7-59B8C83BBF2C}"/>
              </a:ext>
            </a:extLst>
          </p:cNvPr>
          <p:cNvGrpSpPr/>
          <p:nvPr/>
        </p:nvGrpSpPr>
        <p:grpSpPr>
          <a:xfrm>
            <a:off x="5359655" y="4601690"/>
            <a:ext cx="6680201" cy="738424"/>
            <a:chOff x="4229659" y="1113326"/>
            <a:chExt cx="6680201" cy="738424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6A3593E6-38D1-43B8-AD12-2F3E020B688D}"/>
                </a:ext>
              </a:extLst>
            </p:cNvPr>
            <p:cNvSpPr/>
            <p:nvPr/>
          </p:nvSpPr>
          <p:spPr>
            <a:xfrm>
              <a:off x="4229659" y="1451640"/>
              <a:ext cx="6680201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IN" sz="20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You can edit this text. This text can be edited.</a:t>
              </a:r>
              <a:endParaRPr lang="en-IN" sz="20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BE9E6B00-BED9-4032-9276-8C9F442967AF}"/>
                </a:ext>
              </a:extLst>
            </p:cNvPr>
            <p:cNvSpPr/>
            <p:nvPr/>
          </p:nvSpPr>
          <p:spPr>
            <a:xfrm>
              <a:off x="4229659" y="1113326"/>
              <a:ext cx="2121093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sz="18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DIT TITLE HERE</a:t>
              </a:r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23635837-04AD-4C40-836C-8C874B5F0C08}"/>
              </a:ext>
            </a:extLst>
          </p:cNvPr>
          <p:cNvGrpSpPr/>
          <p:nvPr/>
        </p:nvGrpSpPr>
        <p:grpSpPr>
          <a:xfrm>
            <a:off x="4499637" y="5741330"/>
            <a:ext cx="6680201" cy="738424"/>
            <a:chOff x="4229659" y="1113326"/>
            <a:chExt cx="6680201" cy="738424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92B0A5CB-6B9E-4936-8429-E4DAD8A23402}"/>
                </a:ext>
              </a:extLst>
            </p:cNvPr>
            <p:cNvSpPr/>
            <p:nvPr/>
          </p:nvSpPr>
          <p:spPr>
            <a:xfrm>
              <a:off x="4229659" y="1451640"/>
              <a:ext cx="6680201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IN" sz="20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You can edit this text. This text can be edited.</a:t>
              </a:r>
              <a:endParaRPr lang="en-IN" sz="20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981C4C1C-AA86-44F5-822A-24C9D5518BD8}"/>
                </a:ext>
              </a:extLst>
            </p:cNvPr>
            <p:cNvSpPr/>
            <p:nvPr/>
          </p:nvSpPr>
          <p:spPr>
            <a:xfrm>
              <a:off x="4229659" y="1113326"/>
              <a:ext cx="2121093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sz="18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DIT TITLE HERE</a:t>
              </a:r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177125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" name="Title 1">
            <a:extLst>
              <a:ext uri="{FF2B5EF4-FFF2-40B4-BE49-F238E27FC236}">
                <a16:creationId xmlns:a16="http://schemas.microsoft.com/office/drawing/2014/main" id="{0807BB20-28F3-4851-947F-E1DE740240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Roadmap</a:t>
            </a:r>
          </a:p>
        </p:txBody>
      </p:sp>
      <p:sp>
        <p:nvSpPr>
          <p:cNvPr id="523" name="Text Placeholder 2">
            <a:extLst>
              <a:ext uri="{FF2B5EF4-FFF2-40B4-BE49-F238E27FC236}">
                <a16:creationId xmlns:a16="http://schemas.microsoft.com/office/drawing/2014/main" id="{82BC769A-CB95-44A3-8A9C-6D34296053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IN" dirty="0"/>
              <a:t>Add your subtitle here</a:t>
            </a:r>
          </a:p>
        </p:txBody>
      </p:sp>
      <p:grpSp>
        <p:nvGrpSpPr>
          <p:cNvPr id="524" name="Group 523">
            <a:extLst>
              <a:ext uri="{FF2B5EF4-FFF2-40B4-BE49-F238E27FC236}">
                <a16:creationId xmlns:a16="http://schemas.microsoft.com/office/drawing/2014/main" id="{26F185CC-70E3-4834-8A3A-31E3C080C710}"/>
              </a:ext>
            </a:extLst>
          </p:cNvPr>
          <p:cNvGrpSpPr/>
          <p:nvPr/>
        </p:nvGrpSpPr>
        <p:grpSpPr>
          <a:xfrm>
            <a:off x="5156723" y="1335313"/>
            <a:ext cx="6071714" cy="4863619"/>
            <a:chOff x="6120960" y="1333500"/>
            <a:chExt cx="5270940" cy="3976553"/>
          </a:xfrm>
        </p:grpSpPr>
        <p:grpSp>
          <p:nvGrpSpPr>
            <p:cNvPr id="525" name="Group 524">
              <a:extLst>
                <a:ext uri="{FF2B5EF4-FFF2-40B4-BE49-F238E27FC236}">
                  <a16:creationId xmlns:a16="http://schemas.microsoft.com/office/drawing/2014/main" id="{964EBEAF-D2AB-4312-B506-855C1B554AA1}"/>
                </a:ext>
              </a:extLst>
            </p:cNvPr>
            <p:cNvGrpSpPr/>
            <p:nvPr/>
          </p:nvGrpSpPr>
          <p:grpSpPr>
            <a:xfrm>
              <a:off x="6132357" y="1333500"/>
              <a:ext cx="5250340" cy="3972061"/>
              <a:chOff x="-961382" y="1846733"/>
              <a:chExt cx="3856780" cy="3318276"/>
            </a:xfrm>
            <a:solidFill>
              <a:schemeClr val="bg1">
                <a:lumMod val="75000"/>
              </a:schemeClr>
            </a:solidFill>
          </p:grpSpPr>
          <p:sp>
            <p:nvSpPr>
              <p:cNvPr id="527" name="Freeform: Shape 526">
                <a:extLst>
                  <a:ext uri="{FF2B5EF4-FFF2-40B4-BE49-F238E27FC236}">
                    <a16:creationId xmlns:a16="http://schemas.microsoft.com/office/drawing/2014/main" id="{545D7EE6-B447-49F7-9DFF-1F03F612BA2C}"/>
                  </a:ext>
                </a:extLst>
              </p:cNvPr>
              <p:cNvSpPr/>
              <p:nvPr/>
            </p:nvSpPr>
            <p:spPr>
              <a:xfrm>
                <a:off x="967226" y="1850553"/>
                <a:ext cx="1179610" cy="3314456"/>
              </a:xfrm>
              <a:custGeom>
                <a:avLst/>
                <a:gdLst>
                  <a:gd name="connsiteX0" fmla="*/ 1356 w 1179610"/>
                  <a:gd name="connsiteY0" fmla="*/ 0 h 3314456"/>
                  <a:gd name="connsiteX1" fmla="*/ 1179610 w 1179610"/>
                  <a:gd name="connsiteY1" fmla="*/ 3308065 h 3314456"/>
                  <a:gd name="connsiteX2" fmla="*/ 2510 w 1179610"/>
                  <a:gd name="connsiteY2" fmla="*/ 3314456 h 3314456"/>
                  <a:gd name="connsiteX3" fmla="*/ 1253 w 1179610"/>
                  <a:gd name="connsiteY3" fmla="*/ 1655318 h 3314456"/>
                  <a:gd name="connsiteX4" fmla="*/ 0 w 1179610"/>
                  <a:gd name="connsiteY4" fmla="*/ 2338 h 3314456"/>
                  <a:gd name="connsiteX5" fmla="*/ 1356 w 1179610"/>
                  <a:gd name="connsiteY5" fmla="*/ 0 h 3314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79610" h="3314456">
                    <a:moveTo>
                      <a:pt x="1356" y="0"/>
                    </a:moveTo>
                    <a:lnTo>
                      <a:pt x="1179610" y="3308065"/>
                    </a:lnTo>
                    <a:lnTo>
                      <a:pt x="2510" y="3314456"/>
                    </a:lnTo>
                    <a:cubicBezTo>
                      <a:pt x="1027" y="2764606"/>
                      <a:pt x="1140" y="2209962"/>
                      <a:pt x="1253" y="1655318"/>
                    </a:cubicBezTo>
                    <a:lnTo>
                      <a:pt x="0" y="2338"/>
                    </a:lnTo>
                    <a:lnTo>
                      <a:pt x="1356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28" name="Freeform: Shape 527">
                <a:extLst>
                  <a:ext uri="{FF2B5EF4-FFF2-40B4-BE49-F238E27FC236}">
                    <a16:creationId xmlns:a16="http://schemas.microsoft.com/office/drawing/2014/main" id="{D3F6ECF3-18BE-40A0-B6CC-2E89DCD1C5C1}"/>
                  </a:ext>
                </a:extLst>
              </p:cNvPr>
              <p:cNvSpPr/>
              <p:nvPr/>
            </p:nvSpPr>
            <p:spPr>
              <a:xfrm>
                <a:off x="968583" y="1846733"/>
                <a:ext cx="1926815" cy="3318276"/>
              </a:xfrm>
              <a:custGeom>
                <a:avLst/>
                <a:gdLst>
                  <a:gd name="connsiteX0" fmla="*/ 2215 w 1926815"/>
                  <a:gd name="connsiteY0" fmla="*/ 0 h 3318276"/>
                  <a:gd name="connsiteX1" fmla="*/ 1926815 w 1926815"/>
                  <a:gd name="connsiteY1" fmla="*/ 3318276 h 3318276"/>
                  <a:gd name="connsiteX2" fmla="*/ 1154 w 1926815"/>
                  <a:gd name="connsiteY2" fmla="*/ 3318276 h 3318276"/>
                  <a:gd name="connsiteX3" fmla="*/ 1178254 w 1926815"/>
                  <a:gd name="connsiteY3" fmla="*/ 3311885 h 3318276"/>
                  <a:gd name="connsiteX4" fmla="*/ 0 w 1926815"/>
                  <a:gd name="connsiteY4" fmla="*/ 3820 h 3318276"/>
                  <a:gd name="connsiteX5" fmla="*/ 2215 w 1926815"/>
                  <a:gd name="connsiteY5" fmla="*/ 0 h 3318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26815" h="3318276">
                    <a:moveTo>
                      <a:pt x="2215" y="0"/>
                    </a:moveTo>
                    <a:lnTo>
                      <a:pt x="1926815" y="3318276"/>
                    </a:lnTo>
                    <a:lnTo>
                      <a:pt x="1154" y="3318276"/>
                    </a:lnTo>
                    <a:lnTo>
                      <a:pt x="1178254" y="3311885"/>
                    </a:lnTo>
                    <a:lnTo>
                      <a:pt x="0" y="3820"/>
                    </a:lnTo>
                    <a:lnTo>
                      <a:pt x="2215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29" name="Freeform: Shape 528">
                <a:extLst>
                  <a:ext uri="{FF2B5EF4-FFF2-40B4-BE49-F238E27FC236}">
                    <a16:creationId xmlns:a16="http://schemas.microsoft.com/office/drawing/2014/main" id="{C186B60B-C496-4C3A-B3F0-1A78444E3B8F}"/>
                  </a:ext>
                </a:extLst>
              </p:cNvPr>
              <p:cNvSpPr/>
              <p:nvPr/>
            </p:nvSpPr>
            <p:spPr>
              <a:xfrm flipH="1">
                <a:off x="-212820" y="1850553"/>
                <a:ext cx="1179610" cy="3314456"/>
              </a:xfrm>
              <a:custGeom>
                <a:avLst/>
                <a:gdLst>
                  <a:gd name="connsiteX0" fmla="*/ 1356 w 1179610"/>
                  <a:gd name="connsiteY0" fmla="*/ 0 h 3314456"/>
                  <a:gd name="connsiteX1" fmla="*/ 1179610 w 1179610"/>
                  <a:gd name="connsiteY1" fmla="*/ 3308065 h 3314456"/>
                  <a:gd name="connsiteX2" fmla="*/ 2510 w 1179610"/>
                  <a:gd name="connsiteY2" fmla="*/ 3314456 h 3314456"/>
                  <a:gd name="connsiteX3" fmla="*/ 1253 w 1179610"/>
                  <a:gd name="connsiteY3" fmla="*/ 1655318 h 3314456"/>
                  <a:gd name="connsiteX4" fmla="*/ 0 w 1179610"/>
                  <a:gd name="connsiteY4" fmla="*/ 2338 h 3314456"/>
                  <a:gd name="connsiteX5" fmla="*/ 1356 w 1179610"/>
                  <a:gd name="connsiteY5" fmla="*/ 0 h 3314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79610" h="3314456">
                    <a:moveTo>
                      <a:pt x="1356" y="0"/>
                    </a:moveTo>
                    <a:lnTo>
                      <a:pt x="1179610" y="3308065"/>
                    </a:lnTo>
                    <a:lnTo>
                      <a:pt x="2510" y="3314456"/>
                    </a:lnTo>
                    <a:cubicBezTo>
                      <a:pt x="1027" y="2764606"/>
                      <a:pt x="1140" y="2209962"/>
                      <a:pt x="1253" y="1655318"/>
                    </a:cubicBezTo>
                    <a:lnTo>
                      <a:pt x="0" y="2338"/>
                    </a:lnTo>
                    <a:lnTo>
                      <a:pt x="1356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30" name="Freeform: Shape 529">
                <a:extLst>
                  <a:ext uri="{FF2B5EF4-FFF2-40B4-BE49-F238E27FC236}">
                    <a16:creationId xmlns:a16="http://schemas.microsoft.com/office/drawing/2014/main" id="{77E786F1-DF2B-4EEE-A9D3-84597398E2F0}"/>
                  </a:ext>
                </a:extLst>
              </p:cNvPr>
              <p:cNvSpPr/>
              <p:nvPr/>
            </p:nvSpPr>
            <p:spPr>
              <a:xfrm flipH="1">
                <a:off x="-961382" y="1846733"/>
                <a:ext cx="1926815" cy="3318276"/>
              </a:xfrm>
              <a:custGeom>
                <a:avLst/>
                <a:gdLst>
                  <a:gd name="connsiteX0" fmla="*/ 2215 w 1926815"/>
                  <a:gd name="connsiteY0" fmla="*/ 0 h 3318276"/>
                  <a:gd name="connsiteX1" fmla="*/ 1926815 w 1926815"/>
                  <a:gd name="connsiteY1" fmla="*/ 3318276 h 3318276"/>
                  <a:gd name="connsiteX2" fmla="*/ 1154 w 1926815"/>
                  <a:gd name="connsiteY2" fmla="*/ 3318276 h 3318276"/>
                  <a:gd name="connsiteX3" fmla="*/ 1178254 w 1926815"/>
                  <a:gd name="connsiteY3" fmla="*/ 3311885 h 3318276"/>
                  <a:gd name="connsiteX4" fmla="*/ 0 w 1926815"/>
                  <a:gd name="connsiteY4" fmla="*/ 3820 h 3318276"/>
                  <a:gd name="connsiteX5" fmla="*/ 2215 w 1926815"/>
                  <a:gd name="connsiteY5" fmla="*/ 0 h 3318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26815" h="3318276">
                    <a:moveTo>
                      <a:pt x="2215" y="0"/>
                    </a:moveTo>
                    <a:lnTo>
                      <a:pt x="1926815" y="3318276"/>
                    </a:lnTo>
                    <a:lnTo>
                      <a:pt x="1154" y="3318276"/>
                    </a:lnTo>
                    <a:lnTo>
                      <a:pt x="1178254" y="3311885"/>
                    </a:lnTo>
                    <a:lnTo>
                      <a:pt x="0" y="3820"/>
                    </a:lnTo>
                    <a:lnTo>
                      <a:pt x="2215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</p:grpSp>
        <p:sp>
          <p:nvSpPr>
            <p:cNvPr id="526" name="Freeform: Shape 525">
              <a:extLst>
                <a:ext uri="{FF2B5EF4-FFF2-40B4-BE49-F238E27FC236}">
                  <a16:creationId xmlns:a16="http://schemas.microsoft.com/office/drawing/2014/main" id="{B3FC957E-AA5B-4AA5-B59C-25AD4C01E39C}"/>
                </a:ext>
              </a:extLst>
            </p:cNvPr>
            <p:cNvSpPr/>
            <p:nvPr/>
          </p:nvSpPr>
          <p:spPr>
            <a:xfrm>
              <a:off x="6120960" y="2395787"/>
              <a:ext cx="5270940" cy="2914266"/>
            </a:xfrm>
            <a:custGeom>
              <a:avLst/>
              <a:gdLst>
                <a:gd name="connsiteX0" fmla="*/ 0 w 3886200"/>
                <a:gd name="connsiteY0" fmla="*/ 2209800 h 2209800"/>
                <a:gd name="connsiteX1" fmla="*/ 3886200 w 3886200"/>
                <a:gd name="connsiteY1" fmla="*/ 2209800 h 2209800"/>
                <a:gd name="connsiteX2" fmla="*/ 2583180 w 3886200"/>
                <a:gd name="connsiteY2" fmla="*/ 0 h 2209800"/>
                <a:gd name="connsiteX3" fmla="*/ 2430780 w 3886200"/>
                <a:gd name="connsiteY3" fmla="*/ 236220 h 2209800"/>
                <a:gd name="connsiteX4" fmla="*/ 2049780 w 3886200"/>
                <a:gd name="connsiteY4" fmla="*/ 259080 h 2209800"/>
                <a:gd name="connsiteX5" fmla="*/ 1912620 w 3886200"/>
                <a:gd name="connsiteY5" fmla="*/ 106680 h 2209800"/>
                <a:gd name="connsiteX6" fmla="*/ 1752600 w 3886200"/>
                <a:gd name="connsiteY6" fmla="*/ 289560 h 2209800"/>
                <a:gd name="connsiteX7" fmla="*/ 1676400 w 3886200"/>
                <a:gd name="connsiteY7" fmla="*/ 419100 h 2209800"/>
                <a:gd name="connsiteX8" fmla="*/ 1432560 w 3886200"/>
                <a:gd name="connsiteY8" fmla="*/ 411480 h 2209800"/>
                <a:gd name="connsiteX9" fmla="*/ 1402080 w 3886200"/>
                <a:gd name="connsiteY9" fmla="*/ 175260 h 2209800"/>
                <a:gd name="connsiteX10" fmla="*/ 1287780 w 3886200"/>
                <a:gd name="connsiteY10" fmla="*/ 30480 h 2209800"/>
                <a:gd name="connsiteX11" fmla="*/ 0 w 3886200"/>
                <a:gd name="connsiteY11" fmla="*/ 2209800 h 2209800"/>
                <a:gd name="connsiteX0" fmla="*/ 0 w 3886200"/>
                <a:gd name="connsiteY0" fmla="*/ 2209800 h 2209800"/>
                <a:gd name="connsiteX1" fmla="*/ 3886200 w 3886200"/>
                <a:gd name="connsiteY1" fmla="*/ 2209800 h 2209800"/>
                <a:gd name="connsiteX2" fmla="*/ 2583180 w 3886200"/>
                <a:gd name="connsiteY2" fmla="*/ 0 h 2209800"/>
                <a:gd name="connsiteX3" fmla="*/ 2430780 w 3886200"/>
                <a:gd name="connsiteY3" fmla="*/ 236220 h 2209800"/>
                <a:gd name="connsiteX4" fmla="*/ 2049780 w 3886200"/>
                <a:gd name="connsiteY4" fmla="*/ 259080 h 2209800"/>
                <a:gd name="connsiteX5" fmla="*/ 1912620 w 3886200"/>
                <a:gd name="connsiteY5" fmla="*/ 106680 h 2209800"/>
                <a:gd name="connsiteX6" fmla="*/ 1752600 w 3886200"/>
                <a:gd name="connsiteY6" fmla="*/ 289560 h 2209800"/>
                <a:gd name="connsiteX7" fmla="*/ 1676400 w 3886200"/>
                <a:gd name="connsiteY7" fmla="*/ 419100 h 2209800"/>
                <a:gd name="connsiteX8" fmla="*/ 1432560 w 3886200"/>
                <a:gd name="connsiteY8" fmla="*/ 411480 h 2209800"/>
                <a:gd name="connsiteX9" fmla="*/ 1402080 w 3886200"/>
                <a:gd name="connsiteY9" fmla="*/ 175260 h 2209800"/>
                <a:gd name="connsiteX10" fmla="*/ 1273493 w 3886200"/>
                <a:gd name="connsiteY10" fmla="*/ 35242 h 2209800"/>
                <a:gd name="connsiteX11" fmla="*/ 0 w 3886200"/>
                <a:gd name="connsiteY11" fmla="*/ 2209800 h 2209800"/>
                <a:gd name="connsiteX0" fmla="*/ 0 w 3881437"/>
                <a:gd name="connsiteY0" fmla="*/ 2219325 h 2219325"/>
                <a:gd name="connsiteX1" fmla="*/ 3881437 w 3881437"/>
                <a:gd name="connsiteY1" fmla="*/ 2209800 h 2219325"/>
                <a:gd name="connsiteX2" fmla="*/ 2578417 w 3881437"/>
                <a:gd name="connsiteY2" fmla="*/ 0 h 2219325"/>
                <a:gd name="connsiteX3" fmla="*/ 2426017 w 3881437"/>
                <a:gd name="connsiteY3" fmla="*/ 236220 h 2219325"/>
                <a:gd name="connsiteX4" fmla="*/ 2045017 w 3881437"/>
                <a:gd name="connsiteY4" fmla="*/ 259080 h 2219325"/>
                <a:gd name="connsiteX5" fmla="*/ 1907857 w 3881437"/>
                <a:gd name="connsiteY5" fmla="*/ 106680 h 2219325"/>
                <a:gd name="connsiteX6" fmla="*/ 1747837 w 3881437"/>
                <a:gd name="connsiteY6" fmla="*/ 289560 h 2219325"/>
                <a:gd name="connsiteX7" fmla="*/ 1671637 w 3881437"/>
                <a:gd name="connsiteY7" fmla="*/ 419100 h 2219325"/>
                <a:gd name="connsiteX8" fmla="*/ 1427797 w 3881437"/>
                <a:gd name="connsiteY8" fmla="*/ 411480 h 2219325"/>
                <a:gd name="connsiteX9" fmla="*/ 1397317 w 3881437"/>
                <a:gd name="connsiteY9" fmla="*/ 175260 h 2219325"/>
                <a:gd name="connsiteX10" fmla="*/ 1268730 w 3881437"/>
                <a:gd name="connsiteY10" fmla="*/ 35242 h 2219325"/>
                <a:gd name="connsiteX11" fmla="*/ 0 w 3881437"/>
                <a:gd name="connsiteY11" fmla="*/ 2219325 h 2219325"/>
                <a:gd name="connsiteX0" fmla="*/ 0 w 3871912"/>
                <a:gd name="connsiteY0" fmla="*/ 2219325 h 2219325"/>
                <a:gd name="connsiteX1" fmla="*/ 3871912 w 3871912"/>
                <a:gd name="connsiteY1" fmla="*/ 2214562 h 2219325"/>
                <a:gd name="connsiteX2" fmla="*/ 2578417 w 3871912"/>
                <a:gd name="connsiteY2" fmla="*/ 0 h 2219325"/>
                <a:gd name="connsiteX3" fmla="*/ 2426017 w 3871912"/>
                <a:gd name="connsiteY3" fmla="*/ 236220 h 2219325"/>
                <a:gd name="connsiteX4" fmla="*/ 2045017 w 3871912"/>
                <a:gd name="connsiteY4" fmla="*/ 259080 h 2219325"/>
                <a:gd name="connsiteX5" fmla="*/ 1907857 w 3871912"/>
                <a:gd name="connsiteY5" fmla="*/ 106680 h 2219325"/>
                <a:gd name="connsiteX6" fmla="*/ 1747837 w 3871912"/>
                <a:gd name="connsiteY6" fmla="*/ 289560 h 2219325"/>
                <a:gd name="connsiteX7" fmla="*/ 1671637 w 3871912"/>
                <a:gd name="connsiteY7" fmla="*/ 419100 h 2219325"/>
                <a:gd name="connsiteX8" fmla="*/ 1427797 w 3871912"/>
                <a:gd name="connsiteY8" fmla="*/ 411480 h 2219325"/>
                <a:gd name="connsiteX9" fmla="*/ 1397317 w 3871912"/>
                <a:gd name="connsiteY9" fmla="*/ 175260 h 2219325"/>
                <a:gd name="connsiteX10" fmla="*/ 1268730 w 3871912"/>
                <a:gd name="connsiteY10" fmla="*/ 35242 h 2219325"/>
                <a:gd name="connsiteX11" fmla="*/ 0 w 3871912"/>
                <a:gd name="connsiteY11" fmla="*/ 2219325 h 2219325"/>
                <a:gd name="connsiteX0" fmla="*/ 0 w 3871912"/>
                <a:gd name="connsiteY0" fmla="*/ 2228850 h 2228850"/>
                <a:gd name="connsiteX1" fmla="*/ 3871912 w 3871912"/>
                <a:gd name="connsiteY1" fmla="*/ 2224087 h 2228850"/>
                <a:gd name="connsiteX2" fmla="*/ 2578417 w 3871912"/>
                <a:gd name="connsiteY2" fmla="*/ 0 h 2228850"/>
                <a:gd name="connsiteX3" fmla="*/ 2426017 w 3871912"/>
                <a:gd name="connsiteY3" fmla="*/ 245745 h 2228850"/>
                <a:gd name="connsiteX4" fmla="*/ 2045017 w 3871912"/>
                <a:gd name="connsiteY4" fmla="*/ 268605 h 2228850"/>
                <a:gd name="connsiteX5" fmla="*/ 1907857 w 3871912"/>
                <a:gd name="connsiteY5" fmla="*/ 116205 h 2228850"/>
                <a:gd name="connsiteX6" fmla="*/ 1747837 w 3871912"/>
                <a:gd name="connsiteY6" fmla="*/ 299085 h 2228850"/>
                <a:gd name="connsiteX7" fmla="*/ 1671637 w 3871912"/>
                <a:gd name="connsiteY7" fmla="*/ 428625 h 2228850"/>
                <a:gd name="connsiteX8" fmla="*/ 1427797 w 3871912"/>
                <a:gd name="connsiteY8" fmla="*/ 421005 h 2228850"/>
                <a:gd name="connsiteX9" fmla="*/ 1397317 w 3871912"/>
                <a:gd name="connsiteY9" fmla="*/ 184785 h 2228850"/>
                <a:gd name="connsiteX10" fmla="*/ 1268730 w 3871912"/>
                <a:gd name="connsiteY10" fmla="*/ 44767 h 2228850"/>
                <a:gd name="connsiteX11" fmla="*/ 0 w 3871912"/>
                <a:gd name="connsiteY11" fmla="*/ 2228850 h 2228850"/>
                <a:gd name="connsiteX0" fmla="*/ 0 w 3871912"/>
                <a:gd name="connsiteY0" fmla="*/ 2228850 h 2228850"/>
                <a:gd name="connsiteX1" fmla="*/ 3871912 w 3871912"/>
                <a:gd name="connsiteY1" fmla="*/ 2224087 h 2228850"/>
                <a:gd name="connsiteX2" fmla="*/ 2578417 w 3871912"/>
                <a:gd name="connsiteY2" fmla="*/ 0 h 2228850"/>
                <a:gd name="connsiteX3" fmla="*/ 2426017 w 3871912"/>
                <a:gd name="connsiteY3" fmla="*/ 245745 h 2228850"/>
                <a:gd name="connsiteX4" fmla="*/ 2045017 w 3871912"/>
                <a:gd name="connsiteY4" fmla="*/ 268605 h 2228850"/>
                <a:gd name="connsiteX5" fmla="*/ 1907857 w 3871912"/>
                <a:gd name="connsiteY5" fmla="*/ 116205 h 2228850"/>
                <a:gd name="connsiteX6" fmla="*/ 1747837 w 3871912"/>
                <a:gd name="connsiteY6" fmla="*/ 299085 h 2228850"/>
                <a:gd name="connsiteX7" fmla="*/ 1671637 w 3871912"/>
                <a:gd name="connsiteY7" fmla="*/ 428625 h 2228850"/>
                <a:gd name="connsiteX8" fmla="*/ 1618297 w 3871912"/>
                <a:gd name="connsiteY8" fmla="*/ 20955 h 2228850"/>
                <a:gd name="connsiteX9" fmla="*/ 1397317 w 3871912"/>
                <a:gd name="connsiteY9" fmla="*/ 184785 h 2228850"/>
                <a:gd name="connsiteX10" fmla="*/ 1268730 w 3871912"/>
                <a:gd name="connsiteY10" fmla="*/ 44767 h 2228850"/>
                <a:gd name="connsiteX11" fmla="*/ 0 w 3871912"/>
                <a:gd name="connsiteY11" fmla="*/ 2228850 h 222885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045017 w 3871912"/>
                <a:gd name="connsiteY4" fmla="*/ 47434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671637 w 3871912"/>
                <a:gd name="connsiteY7" fmla="*/ 63436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178367 w 3871912"/>
                <a:gd name="connsiteY4" fmla="*/ 15049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671637 w 3871912"/>
                <a:gd name="connsiteY7" fmla="*/ 63436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178367 w 3871912"/>
                <a:gd name="connsiteY4" fmla="*/ 15049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614487 w 3871912"/>
                <a:gd name="connsiteY7" fmla="*/ 4381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178367 w 3871912"/>
                <a:gd name="connsiteY4" fmla="*/ 15049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741487 w 3871912"/>
                <a:gd name="connsiteY7" fmla="*/ 23431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71912" h="2434590">
                  <a:moveTo>
                    <a:pt x="0" y="2434590"/>
                  </a:moveTo>
                  <a:lnTo>
                    <a:pt x="3871912" y="2429827"/>
                  </a:lnTo>
                  <a:lnTo>
                    <a:pt x="2578417" y="205740"/>
                  </a:lnTo>
                  <a:lnTo>
                    <a:pt x="2426017" y="451485"/>
                  </a:lnTo>
                  <a:lnTo>
                    <a:pt x="2178367" y="150495"/>
                  </a:lnTo>
                  <a:lnTo>
                    <a:pt x="1907857" y="321945"/>
                  </a:lnTo>
                  <a:lnTo>
                    <a:pt x="1747837" y="0"/>
                  </a:lnTo>
                  <a:lnTo>
                    <a:pt x="1741487" y="234315"/>
                  </a:lnTo>
                  <a:lnTo>
                    <a:pt x="1618297" y="226695"/>
                  </a:lnTo>
                  <a:lnTo>
                    <a:pt x="1397317" y="390525"/>
                  </a:lnTo>
                  <a:lnTo>
                    <a:pt x="1268730" y="250507"/>
                  </a:lnTo>
                  <a:lnTo>
                    <a:pt x="0" y="2434590"/>
                  </a:lnTo>
                  <a:close/>
                </a:path>
              </a:pathLst>
            </a:custGeom>
            <a:solidFill>
              <a:srgbClr val="73AF51">
                <a:alpha val="77647"/>
              </a:srgbClr>
            </a:solidFill>
            <a:ln w="9525">
              <a:noFill/>
            </a:ln>
            <a:scene3d>
              <a:camera prst="orthographicFront"/>
              <a:lightRig rig="threePt" dir="t"/>
            </a:scene3d>
            <a:sp3d>
              <a:bevelT w="6350" h="0" prst="angl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1600" b="1" dirty="0">
                <a:solidFill>
                  <a:schemeClr val="accent4"/>
                </a:solidFill>
              </a:endParaRPr>
            </a:p>
          </p:txBody>
        </p:sp>
      </p:grpSp>
      <p:grpSp>
        <p:nvGrpSpPr>
          <p:cNvPr id="531" name="Group 530">
            <a:extLst>
              <a:ext uri="{FF2B5EF4-FFF2-40B4-BE49-F238E27FC236}">
                <a16:creationId xmlns:a16="http://schemas.microsoft.com/office/drawing/2014/main" id="{6688AF5A-C0F0-4F00-A6F2-C1483A884702}"/>
              </a:ext>
            </a:extLst>
          </p:cNvPr>
          <p:cNvGrpSpPr/>
          <p:nvPr/>
        </p:nvGrpSpPr>
        <p:grpSpPr>
          <a:xfrm>
            <a:off x="4169740" y="2881447"/>
            <a:ext cx="5270940" cy="3976553"/>
            <a:chOff x="5193218" y="2184277"/>
            <a:chExt cx="5270940" cy="3976553"/>
          </a:xfrm>
        </p:grpSpPr>
        <p:grpSp>
          <p:nvGrpSpPr>
            <p:cNvPr id="532" name="Group 531">
              <a:extLst>
                <a:ext uri="{FF2B5EF4-FFF2-40B4-BE49-F238E27FC236}">
                  <a16:creationId xmlns:a16="http://schemas.microsoft.com/office/drawing/2014/main" id="{7EA3EB79-CB31-46F6-9CCE-B5D8ADECDBDE}"/>
                </a:ext>
              </a:extLst>
            </p:cNvPr>
            <p:cNvGrpSpPr/>
            <p:nvPr/>
          </p:nvGrpSpPr>
          <p:grpSpPr>
            <a:xfrm>
              <a:off x="5204615" y="2184277"/>
              <a:ext cx="5250340" cy="3972062"/>
              <a:chOff x="-961382" y="1846733"/>
              <a:chExt cx="3856780" cy="3318276"/>
            </a:xfrm>
            <a:solidFill>
              <a:schemeClr val="bg1">
                <a:lumMod val="75000"/>
              </a:schemeClr>
            </a:solidFill>
          </p:grpSpPr>
          <p:sp>
            <p:nvSpPr>
              <p:cNvPr id="534" name="Freeform: Shape 533">
                <a:extLst>
                  <a:ext uri="{FF2B5EF4-FFF2-40B4-BE49-F238E27FC236}">
                    <a16:creationId xmlns:a16="http://schemas.microsoft.com/office/drawing/2014/main" id="{E0266CA8-1D63-4F85-ACA8-95531A36B99C}"/>
                  </a:ext>
                </a:extLst>
              </p:cNvPr>
              <p:cNvSpPr/>
              <p:nvPr/>
            </p:nvSpPr>
            <p:spPr>
              <a:xfrm>
                <a:off x="967226" y="1850553"/>
                <a:ext cx="1179610" cy="3314456"/>
              </a:xfrm>
              <a:custGeom>
                <a:avLst/>
                <a:gdLst>
                  <a:gd name="connsiteX0" fmla="*/ 1356 w 1179610"/>
                  <a:gd name="connsiteY0" fmla="*/ 0 h 3314456"/>
                  <a:gd name="connsiteX1" fmla="*/ 1179610 w 1179610"/>
                  <a:gd name="connsiteY1" fmla="*/ 3308065 h 3314456"/>
                  <a:gd name="connsiteX2" fmla="*/ 2510 w 1179610"/>
                  <a:gd name="connsiteY2" fmla="*/ 3314456 h 3314456"/>
                  <a:gd name="connsiteX3" fmla="*/ 1253 w 1179610"/>
                  <a:gd name="connsiteY3" fmla="*/ 1655318 h 3314456"/>
                  <a:gd name="connsiteX4" fmla="*/ 0 w 1179610"/>
                  <a:gd name="connsiteY4" fmla="*/ 2338 h 3314456"/>
                  <a:gd name="connsiteX5" fmla="*/ 1356 w 1179610"/>
                  <a:gd name="connsiteY5" fmla="*/ 0 h 3314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79610" h="3314456">
                    <a:moveTo>
                      <a:pt x="1356" y="0"/>
                    </a:moveTo>
                    <a:lnTo>
                      <a:pt x="1179610" y="3308065"/>
                    </a:lnTo>
                    <a:lnTo>
                      <a:pt x="2510" y="3314456"/>
                    </a:lnTo>
                    <a:cubicBezTo>
                      <a:pt x="1027" y="2764606"/>
                      <a:pt x="1140" y="2209962"/>
                      <a:pt x="1253" y="1655318"/>
                    </a:cubicBezTo>
                    <a:lnTo>
                      <a:pt x="0" y="2338"/>
                    </a:lnTo>
                    <a:lnTo>
                      <a:pt x="1356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35" name="Freeform: Shape 534">
                <a:extLst>
                  <a:ext uri="{FF2B5EF4-FFF2-40B4-BE49-F238E27FC236}">
                    <a16:creationId xmlns:a16="http://schemas.microsoft.com/office/drawing/2014/main" id="{45093B62-7F1C-4365-A63B-BFD018B53733}"/>
                  </a:ext>
                </a:extLst>
              </p:cNvPr>
              <p:cNvSpPr/>
              <p:nvPr/>
            </p:nvSpPr>
            <p:spPr>
              <a:xfrm>
                <a:off x="968583" y="1846733"/>
                <a:ext cx="1926815" cy="3318276"/>
              </a:xfrm>
              <a:custGeom>
                <a:avLst/>
                <a:gdLst>
                  <a:gd name="connsiteX0" fmla="*/ 2215 w 1926815"/>
                  <a:gd name="connsiteY0" fmla="*/ 0 h 3318276"/>
                  <a:gd name="connsiteX1" fmla="*/ 1926815 w 1926815"/>
                  <a:gd name="connsiteY1" fmla="*/ 3318276 h 3318276"/>
                  <a:gd name="connsiteX2" fmla="*/ 1154 w 1926815"/>
                  <a:gd name="connsiteY2" fmla="*/ 3318276 h 3318276"/>
                  <a:gd name="connsiteX3" fmla="*/ 1178254 w 1926815"/>
                  <a:gd name="connsiteY3" fmla="*/ 3311885 h 3318276"/>
                  <a:gd name="connsiteX4" fmla="*/ 0 w 1926815"/>
                  <a:gd name="connsiteY4" fmla="*/ 3820 h 3318276"/>
                  <a:gd name="connsiteX5" fmla="*/ 2215 w 1926815"/>
                  <a:gd name="connsiteY5" fmla="*/ 0 h 3318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26815" h="3318276">
                    <a:moveTo>
                      <a:pt x="2215" y="0"/>
                    </a:moveTo>
                    <a:lnTo>
                      <a:pt x="1926815" y="3318276"/>
                    </a:lnTo>
                    <a:lnTo>
                      <a:pt x="1154" y="3318276"/>
                    </a:lnTo>
                    <a:lnTo>
                      <a:pt x="1178254" y="3311885"/>
                    </a:lnTo>
                    <a:lnTo>
                      <a:pt x="0" y="3820"/>
                    </a:lnTo>
                    <a:lnTo>
                      <a:pt x="2215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36" name="Freeform: Shape 535">
                <a:extLst>
                  <a:ext uri="{FF2B5EF4-FFF2-40B4-BE49-F238E27FC236}">
                    <a16:creationId xmlns:a16="http://schemas.microsoft.com/office/drawing/2014/main" id="{869FB1C4-0266-4C62-A8D5-17CAB1391A92}"/>
                  </a:ext>
                </a:extLst>
              </p:cNvPr>
              <p:cNvSpPr/>
              <p:nvPr/>
            </p:nvSpPr>
            <p:spPr>
              <a:xfrm flipH="1">
                <a:off x="-212820" y="1850553"/>
                <a:ext cx="1179610" cy="3314456"/>
              </a:xfrm>
              <a:custGeom>
                <a:avLst/>
                <a:gdLst>
                  <a:gd name="connsiteX0" fmla="*/ 1356 w 1179610"/>
                  <a:gd name="connsiteY0" fmla="*/ 0 h 3314456"/>
                  <a:gd name="connsiteX1" fmla="*/ 1179610 w 1179610"/>
                  <a:gd name="connsiteY1" fmla="*/ 3308065 h 3314456"/>
                  <a:gd name="connsiteX2" fmla="*/ 2510 w 1179610"/>
                  <a:gd name="connsiteY2" fmla="*/ 3314456 h 3314456"/>
                  <a:gd name="connsiteX3" fmla="*/ 1253 w 1179610"/>
                  <a:gd name="connsiteY3" fmla="*/ 1655318 h 3314456"/>
                  <a:gd name="connsiteX4" fmla="*/ 0 w 1179610"/>
                  <a:gd name="connsiteY4" fmla="*/ 2338 h 3314456"/>
                  <a:gd name="connsiteX5" fmla="*/ 1356 w 1179610"/>
                  <a:gd name="connsiteY5" fmla="*/ 0 h 3314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79610" h="3314456">
                    <a:moveTo>
                      <a:pt x="1356" y="0"/>
                    </a:moveTo>
                    <a:lnTo>
                      <a:pt x="1179610" y="3308065"/>
                    </a:lnTo>
                    <a:lnTo>
                      <a:pt x="2510" y="3314456"/>
                    </a:lnTo>
                    <a:cubicBezTo>
                      <a:pt x="1027" y="2764606"/>
                      <a:pt x="1140" y="2209962"/>
                      <a:pt x="1253" y="1655318"/>
                    </a:cubicBezTo>
                    <a:lnTo>
                      <a:pt x="0" y="2338"/>
                    </a:lnTo>
                    <a:lnTo>
                      <a:pt x="1356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37" name="Freeform: Shape 536">
                <a:extLst>
                  <a:ext uri="{FF2B5EF4-FFF2-40B4-BE49-F238E27FC236}">
                    <a16:creationId xmlns:a16="http://schemas.microsoft.com/office/drawing/2014/main" id="{67CA104B-41B0-45ED-A5D6-4A8A110A18CA}"/>
                  </a:ext>
                </a:extLst>
              </p:cNvPr>
              <p:cNvSpPr/>
              <p:nvPr/>
            </p:nvSpPr>
            <p:spPr>
              <a:xfrm flipH="1">
                <a:off x="-961382" y="1846733"/>
                <a:ext cx="1926815" cy="3318276"/>
              </a:xfrm>
              <a:custGeom>
                <a:avLst/>
                <a:gdLst>
                  <a:gd name="connsiteX0" fmla="*/ 2215 w 1926815"/>
                  <a:gd name="connsiteY0" fmla="*/ 0 h 3318276"/>
                  <a:gd name="connsiteX1" fmla="*/ 1926815 w 1926815"/>
                  <a:gd name="connsiteY1" fmla="*/ 3318276 h 3318276"/>
                  <a:gd name="connsiteX2" fmla="*/ 1154 w 1926815"/>
                  <a:gd name="connsiteY2" fmla="*/ 3318276 h 3318276"/>
                  <a:gd name="connsiteX3" fmla="*/ 1178254 w 1926815"/>
                  <a:gd name="connsiteY3" fmla="*/ 3311885 h 3318276"/>
                  <a:gd name="connsiteX4" fmla="*/ 0 w 1926815"/>
                  <a:gd name="connsiteY4" fmla="*/ 3820 h 3318276"/>
                  <a:gd name="connsiteX5" fmla="*/ 2215 w 1926815"/>
                  <a:gd name="connsiteY5" fmla="*/ 0 h 3318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26815" h="3318276">
                    <a:moveTo>
                      <a:pt x="2215" y="0"/>
                    </a:moveTo>
                    <a:lnTo>
                      <a:pt x="1926815" y="3318276"/>
                    </a:lnTo>
                    <a:lnTo>
                      <a:pt x="1154" y="3318276"/>
                    </a:lnTo>
                    <a:lnTo>
                      <a:pt x="1178254" y="3311885"/>
                    </a:lnTo>
                    <a:lnTo>
                      <a:pt x="0" y="3820"/>
                    </a:lnTo>
                    <a:lnTo>
                      <a:pt x="2215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</p:grpSp>
        <p:sp>
          <p:nvSpPr>
            <p:cNvPr id="533" name="Freeform: Shape 532">
              <a:extLst>
                <a:ext uri="{FF2B5EF4-FFF2-40B4-BE49-F238E27FC236}">
                  <a16:creationId xmlns:a16="http://schemas.microsoft.com/office/drawing/2014/main" id="{D69199D3-FE4F-4A87-99F3-6D0D5BC515E8}"/>
                </a:ext>
              </a:extLst>
            </p:cNvPr>
            <p:cNvSpPr/>
            <p:nvPr/>
          </p:nvSpPr>
          <p:spPr>
            <a:xfrm>
              <a:off x="5193218" y="3246564"/>
              <a:ext cx="5270940" cy="2914266"/>
            </a:xfrm>
            <a:custGeom>
              <a:avLst/>
              <a:gdLst>
                <a:gd name="connsiteX0" fmla="*/ 0 w 3886200"/>
                <a:gd name="connsiteY0" fmla="*/ 2209800 h 2209800"/>
                <a:gd name="connsiteX1" fmla="*/ 3886200 w 3886200"/>
                <a:gd name="connsiteY1" fmla="*/ 2209800 h 2209800"/>
                <a:gd name="connsiteX2" fmla="*/ 2583180 w 3886200"/>
                <a:gd name="connsiteY2" fmla="*/ 0 h 2209800"/>
                <a:gd name="connsiteX3" fmla="*/ 2430780 w 3886200"/>
                <a:gd name="connsiteY3" fmla="*/ 236220 h 2209800"/>
                <a:gd name="connsiteX4" fmla="*/ 2049780 w 3886200"/>
                <a:gd name="connsiteY4" fmla="*/ 259080 h 2209800"/>
                <a:gd name="connsiteX5" fmla="*/ 1912620 w 3886200"/>
                <a:gd name="connsiteY5" fmla="*/ 106680 h 2209800"/>
                <a:gd name="connsiteX6" fmla="*/ 1752600 w 3886200"/>
                <a:gd name="connsiteY6" fmla="*/ 289560 h 2209800"/>
                <a:gd name="connsiteX7" fmla="*/ 1676400 w 3886200"/>
                <a:gd name="connsiteY7" fmla="*/ 419100 h 2209800"/>
                <a:gd name="connsiteX8" fmla="*/ 1432560 w 3886200"/>
                <a:gd name="connsiteY8" fmla="*/ 411480 h 2209800"/>
                <a:gd name="connsiteX9" fmla="*/ 1402080 w 3886200"/>
                <a:gd name="connsiteY9" fmla="*/ 175260 h 2209800"/>
                <a:gd name="connsiteX10" fmla="*/ 1287780 w 3886200"/>
                <a:gd name="connsiteY10" fmla="*/ 30480 h 2209800"/>
                <a:gd name="connsiteX11" fmla="*/ 0 w 3886200"/>
                <a:gd name="connsiteY11" fmla="*/ 2209800 h 2209800"/>
                <a:gd name="connsiteX0" fmla="*/ 0 w 3886200"/>
                <a:gd name="connsiteY0" fmla="*/ 2209800 h 2209800"/>
                <a:gd name="connsiteX1" fmla="*/ 3886200 w 3886200"/>
                <a:gd name="connsiteY1" fmla="*/ 2209800 h 2209800"/>
                <a:gd name="connsiteX2" fmla="*/ 2583180 w 3886200"/>
                <a:gd name="connsiteY2" fmla="*/ 0 h 2209800"/>
                <a:gd name="connsiteX3" fmla="*/ 2430780 w 3886200"/>
                <a:gd name="connsiteY3" fmla="*/ 236220 h 2209800"/>
                <a:gd name="connsiteX4" fmla="*/ 2049780 w 3886200"/>
                <a:gd name="connsiteY4" fmla="*/ 259080 h 2209800"/>
                <a:gd name="connsiteX5" fmla="*/ 1912620 w 3886200"/>
                <a:gd name="connsiteY5" fmla="*/ 106680 h 2209800"/>
                <a:gd name="connsiteX6" fmla="*/ 1752600 w 3886200"/>
                <a:gd name="connsiteY6" fmla="*/ 289560 h 2209800"/>
                <a:gd name="connsiteX7" fmla="*/ 1676400 w 3886200"/>
                <a:gd name="connsiteY7" fmla="*/ 419100 h 2209800"/>
                <a:gd name="connsiteX8" fmla="*/ 1432560 w 3886200"/>
                <a:gd name="connsiteY8" fmla="*/ 411480 h 2209800"/>
                <a:gd name="connsiteX9" fmla="*/ 1402080 w 3886200"/>
                <a:gd name="connsiteY9" fmla="*/ 175260 h 2209800"/>
                <a:gd name="connsiteX10" fmla="*/ 1273493 w 3886200"/>
                <a:gd name="connsiteY10" fmla="*/ 35242 h 2209800"/>
                <a:gd name="connsiteX11" fmla="*/ 0 w 3886200"/>
                <a:gd name="connsiteY11" fmla="*/ 2209800 h 2209800"/>
                <a:gd name="connsiteX0" fmla="*/ 0 w 3881437"/>
                <a:gd name="connsiteY0" fmla="*/ 2219325 h 2219325"/>
                <a:gd name="connsiteX1" fmla="*/ 3881437 w 3881437"/>
                <a:gd name="connsiteY1" fmla="*/ 2209800 h 2219325"/>
                <a:gd name="connsiteX2" fmla="*/ 2578417 w 3881437"/>
                <a:gd name="connsiteY2" fmla="*/ 0 h 2219325"/>
                <a:gd name="connsiteX3" fmla="*/ 2426017 w 3881437"/>
                <a:gd name="connsiteY3" fmla="*/ 236220 h 2219325"/>
                <a:gd name="connsiteX4" fmla="*/ 2045017 w 3881437"/>
                <a:gd name="connsiteY4" fmla="*/ 259080 h 2219325"/>
                <a:gd name="connsiteX5" fmla="*/ 1907857 w 3881437"/>
                <a:gd name="connsiteY5" fmla="*/ 106680 h 2219325"/>
                <a:gd name="connsiteX6" fmla="*/ 1747837 w 3881437"/>
                <a:gd name="connsiteY6" fmla="*/ 289560 h 2219325"/>
                <a:gd name="connsiteX7" fmla="*/ 1671637 w 3881437"/>
                <a:gd name="connsiteY7" fmla="*/ 419100 h 2219325"/>
                <a:gd name="connsiteX8" fmla="*/ 1427797 w 3881437"/>
                <a:gd name="connsiteY8" fmla="*/ 411480 h 2219325"/>
                <a:gd name="connsiteX9" fmla="*/ 1397317 w 3881437"/>
                <a:gd name="connsiteY9" fmla="*/ 175260 h 2219325"/>
                <a:gd name="connsiteX10" fmla="*/ 1268730 w 3881437"/>
                <a:gd name="connsiteY10" fmla="*/ 35242 h 2219325"/>
                <a:gd name="connsiteX11" fmla="*/ 0 w 3881437"/>
                <a:gd name="connsiteY11" fmla="*/ 2219325 h 2219325"/>
                <a:gd name="connsiteX0" fmla="*/ 0 w 3871912"/>
                <a:gd name="connsiteY0" fmla="*/ 2219325 h 2219325"/>
                <a:gd name="connsiteX1" fmla="*/ 3871912 w 3871912"/>
                <a:gd name="connsiteY1" fmla="*/ 2214562 h 2219325"/>
                <a:gd name="connsiteX2" fmla="*/ 2578417 w 3871912"/>
                <a:gd name="connsiteY2" fmla="*/ 0 h 2219325"/>
                <a:gd name="connsiteX3" fmla="*/ 2426017 w 3871912"/>
                <a:gd name="connsiteY3" fmla="*/ 236220 h 2219325"/>
                <a:gd name="connsiteX4" fmla="*/ 2045017 w 3871912"/>
                <a:gd name="connsiteY4" fmla="*/ 259080 h 2219325"/>
                <a:gd name="connsiteX5" fmla="*/ 1907857 w 3871912"/>
                <a:gd name="connsiteY5" fmla="*/ 106680 h 2219325"/>
                <a:gd name="connsiteX6" fmla="*/ 1747837 w 3871912"/>
                <a:gd name="connsiteY6" fmla="*/ 289560 h 2219325"/>
                <a:gd name="connsiteX7" fmla="*/ 1671637 w 3871912"/>
                <a:gd name="connsiteY7" fmla="*/ 419100 h 2219325"/>
                <a:gd name="connsiteX8" fmla="*/ 1427797 w 3871912"/>
                <a:gd name="connsiteY8" fmla="*/ 411480 h 2219325"/>
                <a:gd name="connsiteX9" fmla="*/ 1397317 w 3871912"/>
                <a:gd name="connsiteY9" fmla="*/ 175260 h 2219325"/>
                <a:gd name="connsiteX10" fmla="*/ 1268730 w 3871912"/>
                <a:gd name="connsiteY10" fmla="*/ 35242 h 2219325"/>
                <a:gd name="connsiteX11" fmla="*/ 0 w 3871912"/>
                <a:gd name="connsiteY11" fmla="*/ 2219325 h 2219325"/>
                <a:gd name="connsiteX0" fmla="*/ 0 w 3871912"/>
                <a:gd name="connsiteY0" fmla="*/ 2228850 h 2228850"/>
                <a:gd name="connsiteX1" fmla="*/ 3871912 w 3871912"/>
                <a:gd name="connsiteY1" fmla="*/ 2224087 h 2228850"/>
                <a:gd name="connsiteX2" fmla="*/ 2578417 w 3871912"/>
                <a:gd name="connsiteY2" fmla="*/ 0 h 2228850"/>
                <a:gd name="connsiteX3" fmla="*/ 2426017 w 3871912"/>
                <a:gd name="connsiteY3" fmla="*/ 245745 h 2228850"/>
                <a:gd name="connsiteX4" fmla="*/ 2045017 w 3871912"/>
                <a:gd name="connsiteY4" fmla="*/ 268605 h 2228850"/>
                <a:gd name="connsiteX5" fmla="*/ 1907857 w 3871912"/>
                <a:gd name="connsiteY5" fmla="*/ 116205 h 2228850"/>
                <a:gd name="connsiteX6" fmla="*/ 1747837 w 3871912"/>
                <a:gd name="connsiteY6" fmla="*/ 299085 h 2228850"/>
                <a:gd name="connsiteX7" fmla="*/ 1671637 w 3871912"/>
                <a:gd name="connsiteY7" fmla="*/ 428625 h 2228850"/>
                <a:gd name="connsiteX8" fmla="*/ 1427797 w 3871912"/>
                <a:gd name="connsiteY8" fmla="*/ 421005 h 2228850"/>
                <a:gd name="connsiteX9" fmla="*/ 1397317 w 3871912"/>
                <a:gd name="connsiteY9" fmla="*/ 184785 h 2228850"/>
                <a:gd name="connsiteX10" fmla="*/ 1268730 w 3871912"/>
                <a:gd name="connsiteY10" fmla="*/ 44767 h 2228850"/>
                <a:gd name="connsiteX11" fmla="*/ 0 w 3871912"/>
                <a:gd name="connsiteY11" fmla="*/ 2228850 h 2228850"/>
                <a:gd name="connsiteX0" fmla="*/ 0 w 3871912"/>
                <a:gd name="connsiteY0" fmla="*/ 2228850 h 2228850"/>
                <a:gd name="connsiteX1" fmla="*/ 3871912 w 3871912"/>
                <a:gd name="connsiteY1" fmla="*/ 2224087 h 2228850"/>
                <a:gd name="connsiteX2" fmla="*/ 2578417 w 3871912"/>
                <a:gd name="connsiteY2" fmla="*/ 0 h 2228850"/>
                <a:gd name="connsiteX3" fmla="*/ 2426017 w 3871912"/>
                <a:gd name="connsiteY3" fmla="*/ 245745 h 2228850"/>
                <a:gd name="connsiteX4" fmla="*/ 2045017 w 3871912"/>
                <a:gd name="connsiteY4" fmla="*/ 268605 h 2228850"/>
                <a:gd name="connsiteX5" fmla="*/ 1907857 w 3871912"/>
                <a:gd name="connsiteY5" fmla="*/ 116205 h 2228850"/>
                <a:gd name="connsiteX6" fmla="*/ 1747837 w 3871912"/>
                <a:gd name="connsiteY6" fmla="*/ 299085 h 2228850"/>
                <a:gd name="connsiteX7" fmla="*/ 1671637 w 3871912"/>
                <a:gd name="connsiteY7" fmla="*/ 428625 h 2228850"/>
                <a:gd name="connsiteX8" fmla="*/ 1618297 w 3871912"/>
                <a:gd name="connsiteY8" fmla="*/ 20955 h 2228850"/>
                <a:gd name="connsiteX9" fmla="*/ 1397317 w 3871912"/>
                <a:gd name="connsiteY9" fmla="*/ 184785 h 2228850"/>
                <a:gd name="connsiteX10" fmla="*/ 1268730 w 3871912"/>
                <a:gd name="connsiteY10" fmla="*/ 44767 h 2228850"/>
                <a:gd name="connsiteX11" fmla="*/ 0 w 3871912"/>
                <a:gd name="connsiteY11" fmla="*/ 2228850 h 222885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045017 w 3871912"/>
                <a:gd name="connsiteY4" fmla="*/ 47434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671637 w 3871912"/>
                <a:gd name="connsiteY7" fmla="*/ 63436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178367 w 3871912"/>
                <a:gd name="connsiteY4" fmla="*/ 15049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671637 w 3871912"/>
                <a:gd name="connsiteY7" fmla="*/ 63436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178367 w 3871912"/>
                <a:gd name="connsiteY4" fmla="*/ 15049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614487 w 3871912"/>
                <a:gd name="connsiteY7" fmla="*/ 4381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178367 w 3871912"/>
                <a:gd name="connsiteY4" fmla="*/ 15049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741487 w 3871912"/>
                <a:gd name="connsiteY7" fmla="*/ 23431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71912" h="2434590">
                  <a:moveTo>
                    <a:pt x="0" y="2434590"/>
                  </a:moveTo>
                  <a:lnTo>
                    <a:pt x="3871912" y="2429827"/>
                  </a:lnTo>
                  <a:lnTo>
                    <a:pt x="2578417" y="205740"/>
                  </a:lnTo>
                  <a:lnTo>
                    <a:pt x="2426017" y="451485"/>
                  </a:lnTo>
                  <a:lnTo>
                    <a:pt x="2178367" y="150495"/>
                  </a:lnTo>
                  <a:lnTo>
                    <a:pt x="1907857" y="321945"/>
                  </a:lnTo>
                  <a:lnTo>
                    <a:pt x="1747837" y="0"/>
                  </a:lnTo>
                  <a:lnTo>
                    <a:pt x="1741487" y="234315"/>
                  </a:lnTo>
                  <a:lnTo>
                    <a:pt x="1618297" y="226695"/>
                  </a:lnTo>
                  <a:lnTo>
                    <a:pt x="1397317" y="390525"/>
                  </a:lnTo>
                  <a:lnTo>
                    <a:pt x="1268730" y="250507"/>
                  </a:lnTo>
                  <a:lnTo>
                    <a:pt x="0" y="2434590"/>
                  </a:lnTo>
                  <a:close/>
                </a:path>
              </a:pathLst>
            </a:custGeom>
            <a:solidFill>
              <a:srgbClr val="5E9042">
                <a:alpha val="77647"/>
              </a:srgbClr>
            </a:solidFill>
            <a:ln w="9525">
              <a:noFill/>
            </a:ln>
            <a:scene3d>
              <a:camera prst="orthographicFront"/>
              <a:lightRig rig="threePt" dir="t"/>
            </a:scene3d>
            <a:sp3d>
              <a:bevelT w="6350" h="0" prst="angl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1600" b="1" dirty="0">
                <a:solidFill>
                  <a:schemeClr val="accent4"/>
                </a:solidFill>
              </a:endParaRPr>
            </a:p>
          </p:txBody>
        </p:sp>
      </p:grpSp>
      <p:grpSp>
        <p:nvGrpSpPr>
          <p:cNvPr id="538" name="Group 537">
            <a:extLst>
              <a:ext uri="{FF2B5EF4-FFF2-40B4-BE49-F238E27FC236}">
                <a16:creationId xmlns:a16="http://schemas.microsoft.com/office/drawing/2014/main" id="{055F2BDE-8594-46F2-B963-85C9FD683A7C}"/>
              </a:ext>
            </a:extLst>
          </p:cNvPr>
          <p:cNvGrpSpPr/>
          <p:nvPr/>
        </p:nvGrpSpPr>
        <p:grpSpPr>
          <a:xfrm>
            <a:off x="3669992" y="3622074"/>
            <a:ext cx="4289236" cy="3235926"/>
            <a:chOff x="5193218" y="2184277"/>
            <a:chExt cx="5270940" cy="3976553"/>
          </a:xfrm>
        </p:grpSpPr>
        <p:grpSp>
          <p:nvGrpSpPr>
            <p:cNvPr id="539" name="Group 538">
              <a:extLst>
                <a:ext uri="{FF2B5EF4-FFF2-40B4-BE49-F238E27FC236}">
                  <a16:creationId xmlns:a16="http://schemas.microsoft.com/office/drawing/2014/main" id="{2072E37B-53F2-4A34-8BA7-39B254E7BC9B}"/>
                </a:ext>
              </a:extLst>
            </p:cNvPr>
            <p:cNvGrpSpPr/>
            <p:nvPr/>
          </p:nvGrpSpPr>
          <p:grpSpPr>
            <a:xfrm>
              <a:off x="5204615" y="2184277"/>
              <a:ext cx="5250340" cy="3972062"/>
              <a:chOff x="-961382" y="1846733"/>
              <a:chExt cx="3856780" cy="3318276"/>
            </a:xfrm>
            <a:solidFill>
              <a:schemeClr val="bg1">
                <a:lumMod val="75000"/>
              </a:schemeClr>
            </a:solidFill>
          </p:grpSpPr>
          <p:sp>
            <p:nvSpPr>
              <p:cNvPr id="541" name="Freeform: Shape 540">
                <a:extLst>
                  <a:ext uri="{FF2B5EF4-FFF2-40B4-BE49-F238E27FC236}">
                    <a16:creationId xmlns:a16="http://schemas.microsoft.com/office/drawing/2014/main" id="{C265C260-9FF9-447D-AED0-9C165C0F4EC6}"/>
                  </a:ext>
                </a:extLst>
              </p:cNvPr>
              <p:cNvSpPr/>
              <p:nvPr/>
            </p:nvSpPr>
            <p:spPr>
              <a:xfrm>
                <a:off x="967226" y="1850553"/>
                <a:ext cx="1179610" cy="3314456"/>
              </a:xfrm>
              <a:custGeom>
                <a:avLst/>
                <a:gdLst>
                  <a:gd name="connsiteX0" fmla="*/ 1356 w 1179610"/>
                  <a:gd name="connsiteY0" fmla="*/ 0 h 3314456"/>
                  <a:gd name="connsiteX1" fmla="*/ 1179610 w 1179610"/>
                  <a:gd name="connsiteY1" fmla="*/ 3308065 h 3314456"/>
                  <a:gd name="connsiteX2" fmla="*/ 2510 w 1179610"/>
                  <a:gd name="connsiteY2" fmla="*/ 3314456 h 3314456"/>
                  <a:gd name="connsiteX3" fmla="*/ 1253 w 1179610"/>
                  <a:gd name="connsiteY3" fmla="*/ 1655318 h 3314456"/>
                  <a:gd name="connsiteX4" fmla="*/ 0 w 1179610"/>
                  <a:gd name="connsiteY4" fmla="*/ 2338 h 3314456"/>
                  <a:gd name="connsiteX5" fmla="*/ 1356 w 1179610"/>
                  <a:gd name="connsiteY5" fmla="*/ 0 h 3314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79610" h="3314456">
                    <a:moveTo>
                      <a:pt x="1356" y="0"/>
                    </a:moveTo>
                    <a:lnTo>
                      <a:pt x="1179610" y="3308065"/>
                    </a:lnTo>
                    <a:lnTo>
                      <a:pt x="2510" y="3314456"/>
                    </a:lnTo>
                    <a:cubicBezTo>
                      <a:pt x="1027" y="2764606"/>
                      <a:pt x="1140" y="2209962"/>
                      <a:pt x="1253" y="1655318"/>
                    </a:cubicBezTo>
                    <a:lnTo>
                      <a:pt x="0" y="2338"/>
                    </a:lnTo>
                    <a:lnTo>
                      <a:pt x="1356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42" name="Freeform: Shape 541">
                <a:extLst>
                  <a:ext uri="{FF2B5EF4-FFF2-40B4-BE49-F238E27FC236}">
                    <a16:creationId xmlns:a16="http://schemas.microsoft.com/office/drawing/2014/main" id="{37D12856-0B90-4FA7-B810-4337A269A55F}"/>
                  </a:ext>
                </a:extLst>
              </p:cNvPr>
              <p:cNvSpPr/>
              <p:nvPr/>
            </p:nvSpPr>
            <p:spPr>
              <a:xfrm>
                <a:off x="968583" y="1846733"/>
                <a:ext cx="1926815" cy="3318276"/>
              </a:xfrm>
              <a:custGeom>
                <a:avLst/>
                <a:gdLst>
                  <a:gd name="connsiteX0" fmla="*/ 2215 w 1926815"/>
                  <a:gd name="connsiteY0" fmla="*/ 0 h 3318276"/>
                  <a:gd name="connsiteX1" fmla="*/ 1926815 w 1926815"/>
                  <a:gd name="connsiteY1" fmla="*/ 3318276 h 3318276"/>
                  <a:gd name="connsiteX2" fmla="*/ 1154 w 1926815"/>
                  <a:gd name="connsiteY2" fmla="*/ 3318276 h 3318276"/>
                  <a:gd name="connsiteX3" fmla="*/ 1178254 w 1926815"/>
                  <a:gd name="connsiteY3" fmla="*/ 3311885 h 3318276"/>
                  <a:gd name="connsiteX4" fmla="*/ 0 w 1926815"/>
                  <a:gd name="connsiteY4" fmla="*/ 3820 h 3318276"/>
                  <a:gd name="connsiteX5" fmla="*/ 2215 w 1926815"/>
                  <a:gd name="connsiteY5" fmla="*/ 0 h 3318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26815" h="3318276">
                    <a:moveTo>
                      <a:pt x="2215" y="0"/>
                    </a:moveTo>
                    <a:lnTo>
                      <a:pt x="1926815" y="3318276"/>
                    </a:lnTo>
                    <a:lnTo>
                      <a:pt x="1154" y="3318276"/>
                    </a:lnTo>
                    <a:lnTo>
                      <a:pt x="1178254" y="3311885"/>
                    </a:lnTo>
                    <a:lnTo>
                      <a:pt x="0" y="3820"/>
                    </a:lnTo>
                    <a:lnTo>
                      <a:pt x="2215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43" name="Freeform: Shape 542">
                <a:extLst>
                  <a:ext uri="{FF2B5EF4-FFF2-40B4-BE49-F238E27FC236}">
                    <a16:creationId xmlns:a16="http://schemas.microsoft.com/office/drawing/2014/main" id="{D6DD3657-A404-440E-9FCB-F335B95CED3E}"/>
                  </a:ext>
                </a:extLst>
              </p:cNvPr>
              <p:cNvSpPr/>
              <p:nvPr/>
            </p:nvSpPr>
            <p:spPr>
              <a:xfrm flipH="1">
                <a:off x="-212820" y="1850553"/>
                <a:ext cx="1179610" cy="3314456"/>
              </a:xfrm>
              <a:custGeom>
                <a:avLst/>
                <a:gdLst>
                  <a:gd name="connsiteX0" fmla="*/ 1356 w 1179610"/>
                  <a:gd name="connsiteY0" fmla="*/ 0 h 3314456"/>
                  <a:gd name="connsiteX1" fmla="*/ 1179610 w 1179610"/>
                  <a:gd name="connsiteY1" fmla="*/ 3308065 h 3314456"/>
                  <a:gd name="connsiteX2" fmla="*/ 2510 w 1179610"/>
                  <a:gd name="connsiteY2" fmla="*/ 3314456 h 3314456"/>
                  <a:gd name="connsiteX3" fmla="*/ 1253 w 1179610"/>
                  <a:gd name="connsiteY3" fmla="*/ 1655318 h 3314456"/>
                  <a:gd name="connsiteX4" fmla="*/ 0 w 1179610"/>
                  <a:gd name="connsiteY4" fmla="*/ 2338 h 3314456"/>
                  <a:gd name="connsiteX5" fmla="*/ 1356 w 1179610"/>
                  <a:gd name="connsiteY5" fmla="*/ 0 h 3314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79610" h="3314456">
                    <a:moveTo>
                      <a:pt x="1356" y="0"/>
                    </a:moveTo>
                    <a:lnTo>
                      <a:pt x="1179610" y="3308065"/>
                    </a:lnTo>
                    <a:lnTo>
                      <a:pt x="2510" y="3314456"/>
                    </a:lnTo>
                    <a:cubicBezTo>
                      <a:pt x="1027" y="2764606"/>
                      <a:pt x="1140" y="2209962"/>
                      <a:pt x="1253" y="1655318"/>
                    </a:cubicBezTo>
                    <a:lnTo>
                      <a:pt x="0" y="2338"/>
                    </a:lnTo>
                    <a:lnTo>
                      <a:pt x="1356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44" name="Freeform: Shape 543">
                <a:extLst>
                  <a:ext uri="{FF2B5EF4-FFF2-40B4-BE49-F238E27FC236}">
                    <a16:creationId xmlns:a16="http://schemas.microsoft.com/office/drawing/2014/main" id="{C47DD0A8-E120-4AC1-81A1-63891582593B}"/>
                  </a:ext>
                </a:extLst>
              </p:cNvPr>
              <p:cNvSpPr/>
              <p:nvPr/>
            </p:nvSpPr>
            <p:spPr>
              <a:xfrm flipH="1">
                <a:off x="-961382" y="1846733"/>
                <a:ext cx="1926815" cy="3318276"/>
              </a:xfrm>
              <a:custGeom>
                <a:avLst/>
                <a:gdLst>
                  <a:gd name="connsiteX0" fmla="*/ 2215 w 1926815"/>
                  <a:gd name="connsiteY0" fmla="*/ 0 h 3318276"/>
                  <a:gd name="connsiteX1" fmla="*/ 1926815 w 1926815"/>
                  <a:gd name="connsiteY1" fmla="*/ 3318276 h 3318276"/>
                  <a:gd name="connsiteX2" fmla="*/ 1154 w 1926815"/>
                  <a:gd name="connsiteY2" fmla="*/ 3318276 h 3318276"/>
                  <a:gd name="connsiteX3" fmla="*/ 1178254 w 1926815"/>
                  <a:gd name="connsiteY3" fmla="*/ 3311885 h 3318276"/>
                  <a:gd name="connsiteX4" fmla="*/ 0 w 1926815"/>
                  <a:gd name="connsiteY4" fmla="*/ 3820 h 3318276"/>
                  <a:gd name="connsiteX5" fmla="*/ 2215 w 1926815"/>
                  <a:gd name="connsiteY5" fmla="*/ 0 h 3318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26815" h="3318276">
                    <a:moveTo>
                      <a:pt x="2215" y="0"/>
                    </a:moveTo>
                    <a:lnTo>
                      <a:pt x="1926815" y="3318276"/>
                    </a:lnTo>
                    <a:lnTo>
                      <a:pt x="1154" y="3318276"/>
                    </a:lnTo>
                    <a:lnTo>
                      <a:pt x="1178254" y="3311885"/>
                    </a:lnTo>
                    <a:lnTo>
                      <a:pt x="0" y="3820"/>
                    </a:lnTo>
                    <a:lnTo>
                      <a:pt x="2215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</p:grpSp>
        <p:sp>
          <p:nvSpPr>
            <p:cNvPr id="540" name="Freeform: Shape 539">
              <a:extLst>
                <a:ext uri="{FF2B5EF4-FFF2-40B4-BE49-F238E27FC236}">
                  <a16:creationId xmlns:a16="http://schemas.microsoft.com/office/drawing/2014/main" id="{97313148-89BA-4D66-B844-908BC0A78592}"/>
                </a:ext>
              </a:extLst>
            </p:cNvPr>
            <p:cNvSpPr/>
            <p:nvPr/>
          </p:nvSpPr>
          <p:spPr>
            <a:xfrm>
              <a:off x="5193218" y="3246564"/>
              <a:ext cx="5270940" cy="2914266"/>
            </a:xfrm>
            <a:custGeom>
              <a:avLst/>
              <a:gdLst>
                <a:gd name="connsiteX0" fmla="*/ 0 w 3886200"/>
                <a:gd name="connsiteY0" fmla="*/ 2209800 h 2209800"/>
                <a:gd name="connsiteX1" fmla="*/ 3886200 w 3886200"/>
                <a:gd name="connsiteY1" fmla="*/ 2209800 h 2209800"/>
                <a:gd name="connsiteX2" fmla="*/ 2583180 w 3886200"/>
                <a:gd name="connsiteY2" fmla="*/ 0 h 2209800"/>
                <a:gd name="connsiteX3" fmla="*/ 2430780 w 3886200"/>
                <a:gd name="connsiteY3" fmla="*/ 236220 h 2209800"/>
                <a:gd name="connsiteX4" fmla="*/ 2049780 w 3886200"/>
                <a:gd name="connsiteY4" fmla="*/ 259080 h 2209800"/>
                <a:gd name="connsiteX5" fmla="*/ 1912620 w 3886200"/>
                <a:gd name="connsiteY5" fmla="*/ 106680 h 2209800"/>
                <a:gd name="connsiteX6" fmla="*/ 1752600 w 3886200"/>
                <a:gd name="connsiteY6" fmla="*/ 289560 h 2209800"/>
                <a:gd name="connsiteX7" fmla="*/ 1676400 w 3886200"/>
                <a:gd name="connsiteY7" fmla="*/ 419100 h 2209800"/>
                <a:gd name="connsiteX8" fmla="*/ 1432560 w 3886200"/>
                <a:gd name="connsiteY8" fmla="*/ 411480 h 2209800"/>
                <a:gd name="connsiteX9" fmla="*/ 1402080 w 3886200"/>
                <a:gd name="connsiteY9" fmla="*/ 175260 h 2209800"/>
                <a:gd name="connsiteX10" fmla="*/ 1287780 w 3886200"/>
                <a:gd name="connsiteY10" fmla="*/ 30480 h 2209800"/>
                <a:gd name="connsiteX11" fmla="*/ 0 w 3886200"/>
                <a:gd name="connsiteY11" fmla="*/ 2209800 h 2209800"/>
                <a:gd name="connsiteX0" fmla="*/ 0 w 3886200"/>
                <a:gd name="connsiteY0" fmla="*/ 2209800 h 2209800"/>
                <a:gd name="connsiteX1" fmla="*/ 3886200 w 3886200"/>
                <a:gd name="connsiteY1" fmla="*/ 2209800 h 2209800"/>
                <a:gd name="connsiteX2" fmla="*/ 2583180 w 3886200"/>
                <a:gd name="connsiteY2" fmla="*/ 0 h 2209800"/>
                <a:gd name="connsiteX3" fmla="*/ 2430780 w 3886200"/>
                <a:gd name="connsiteY3" fmla="*/ 236220 h 2209800"/>
                <a:gd name="connsiteX4" fmla="*/ 2049780 w 3886200"/>
                <a:gd name="connsiteY4" fmla="*/ 259080 h 2209800"/>
                <a:gd name="connsiteX5" fmla="*/ 1912620 w 3886200"/>
                <a:gd name="connsiteY5" fmla="*/ 106680 h 2209800"/>
                <a:gd name="connsiteX6" fmla="*/ 1752600 w 3886200"/>
                <a:gd name="connsiteY6" fmla="*/ 289560 h 2209800"/>
                <a:gd name="connsiteX7" fmla="*/ 1676400 w 3886200"/>
                <a:gd name="connsiteY7" fmla="*/ 419100 h 2209800"/>
                <a:gd name="connsiteX8" fmla="*/ 1432560 w 3886200"/>
                <a:gd name="connsiteY8" fmla="*/ 411480 h 2209800"/>
                <a:gd name="connsiteX9" fmla="*/ 1402080 w 3886200"/>
                <a:gd name="connsiteY9" fmla="*/ 175260 h 2209800"/>
                <a:gd name="connsiteX10" fmla="*/ 1273493 w 3886200"/>
                <a:gd name="connsiteY10" fmla="*/ 35242 h 2209800"/>
                <a:gd name="connsiteX11" fmla="*/ 0 w 3886200"/>
                <a:gd name="connsiteY11" fmla="*/ 2209800 h 2209800"/>
                <a:gd name="connsiteX0" fmla="*/ 0 w 3881437"/>
                <a:gd name="connsiteY0" fmla="*/ 2219325 h 2219325"/>
                <a:gd name="connsiteX1" fmla="*/ 3881437 w 3881437"/>
                <a:gd name="connsiteY1" fmla="*/ 2209800 h 2219325"/>
                <a:gd name="connsiteX2" fmla="*/ 2578417 w 3881437"/>
                <a:gd name="connsiteY2" fmla="*/ 0 h 2219325"/>
                <a:gd name="connsiteX3" fmla="*/ 2426017 w 3881437"/>
                <a:gd name="connsiteY3" fmla="*/ 236220 h 2219325"/>
                <a:gd name="connsiteX4" fmla="*/ 2045017 w 3881437"/>
                <a:gd name="connsiteY4" fmla="*/ 259080 h 2219325"/>
                <a:gd name="connsiteX5" fmla="*/ 1907857 w 3881437"/>
                <a:gd name="connsiteY5" fmla="*/ 106680 h 2219325"/>
                <a:gd name="connsiteX6" fmla="*/ 1747837 w 3881437"/>
                <a:gd name="connsiteY6" fmla="*/ 289560 h 2219325"/>
                <a:gd name="connsiteX7" fmla="*/ 1671637 w 3881437"/>
                <a:gd name="connsiteY7" fmla="*/ 419100 h 2219325"/>
                <a:gd name="connsiteX8" fmla="*/ 1427797 w 3881437"/>
                <a:gd name="connsiteY8" fmla="*/ 411480 h 2219325"/>
                <a:gd name="connsiteX9" fmla="*/ 1397317 w 3881437"/>
                <a:gd name="connsiteY9" fmla="*/ 175260 h 2219325"/>
                <a:gd name="connsiteX10" fmla="*/ 1268730 w 3881437"/>
                <a:gd name="connsiteY10" fmla="*/ 35242 h 2219325"/>
                <a:gd name="connsiteX11" fmla="*/ 0 w 3881437"/>
                <a:gd name="connsiteY11" fmla="*/ 2219325 h 2219325"/>
                <a:gd name="connsiteX0" fmla="*/ 0 w 3871912"/>
                <a:gd name="connsiteY0" fmla="*/ 2219325 h 2219325"/>
                <a:gd name="connsiteX1" fmla="*/ 3871912 w 3871912"/>
                <a:gd name="connsiteY1" fmla="*/ 2214562 h 2219325"/>
                <a:gd name="connsiteX2" fmla="*/ 2578417 w 3871912"/>
                <a:gd name="connsiteY2" fmla="*/ 0 h 2219325"/>
                <a:gd name="connsiteX3" fmla="*/ 2426017 w 3871912"/>
                <a:gd name="connsiteY3" fmla="*/ 236220 h 2219325"/>
                <a:gd name="connsiteX4" fmla="*/ 2045017 w 3871912"/>
                <a:gd name="connsiteY4" fmla="*/ 259080 h 2219325"/>
                <a:gd name="connsiteX5" fmla="*/ 1907857 w 3871912"/>
                <a:gd name="connsiteY5" fmla="*/ 106680 h 2219325"/>
                <a:gd name="connsiteX6" fmla="*/ 1747837 w 3871912"/>
                <a:gd name="connsiteY6" fmla="*/ 289560 h 2219325"/>
                <a:gd name="connsiteX7" fmla="*/ 1671637 w 3871912"/>
                <a:gd name="connsiteY7" fmla="*/ 419100 h 2219325"/>
                <a:gd name="connsiteX8" fmla="*/ 1427797 w 3871912"/>
                <a:gd name="connsiteY8" fmla="*/ 411480 h 2219325"/>
                <a:gd name="connsiteX9" fmla="*/ 1397317 w 3871912"/>
                <a:gd name="connsiteY9" fmla="*/ 175260 h 2219325"/>
                <a:gd name="connsiteX10" fmla="*/ 1268730 w 3871912"/>
                <a:gd name="connsiteY10" fmla="*/ 35242 h 2219325"/>
                <a:gd name="connsiteX11" fmla="*/ 0 w 3871912"/>
                <a:gd name="connsiteY11" fmla="*/ 2219325 h 2219325"/>
                <a:gd name="connsiteX0" fmla="*/ 0 w 3871912"/>
                <a:gd name="connsiteY0" fmla="*/ 2228850 h 2228850"/>
                <a:gd name="connsiteX1" fmla="*/ 3871912 w 3871912"/>
                <a:gd name="connsiteY1" fmla="*/ 2224087 h 2228850"/>
                <a:gd name="connsiteX2" fmla="*/ 2578417 w 3871912"/>
                <a:gd name="connsiteY2" fmla="*/ 0 h 2228850"/>
                <a:gd name="connsiteX3" fmla="*/ 2426017 w 3871912"/>
                <a:gd name="connsiteY3" fmla="*/ 245745 h 2228850"/>
                <a:gd name="connsiteX4" fmla="*/ 2045017 w 3871912"/>
                <a:gd name="connsiteY4" fmla="*/ 268605 h 2228850"/>
                <a:gd name="connsiteX5" fmla="*/ 1907857 w 3871912"/>
                <a:gd name="connsiteY5" fmla="*/ 116205 h 2228850"/>
                <a:gd name="connsiteX6" fmla="*/ 1747837 w 3871912"/>
                <a:gd name="connsiteY6" fmla="*/ 299085 h 2228850"/>
                <a:gd name="connsiteX7" fmla="*/ 1671637 w 3871912"/>
                <a:gd name="connsiteY7" fmla="*/ 428625 h 2228850"/>
                <a:gd name="connsiteX8" fmla="*/ 1427797 w 3871912"/>
                <a:gd name="connsiteY8" fmla="*/ 421005 h 2228850"/>
                <a:gd name="connsiteX9" fmla="*/ 1397317 w 3871912"/>
                <a:gd name="connsiteY9" fmla="*/ 184785 h 2228850"/>
                <a:gd name="connsiteX10" fmla="*/ 1268730 w 3871912"/>
                <a:gd name="connsiteY10" fmla="*/ 44767 h 2228850"/>
                <a:gd name="connsiteX11" fmla="*/ 0 w 3871912"/>
                <a:gd name="connsiteY11" fmla="*/ 2228850 h 2228850"/>
                <a:gd name="connsiteX0" fmla="*/ 0 w 3871912"/>
                <a:gd name="connsiteY0" fmla="*/ 2228850 h 2228850"/>
                <a:gd name="connsiteX1" fmla="*/ 3871912 w 3871912"/>
                <a:gd name="connsiteY1" fmla="*/ 2224087 h 2228850"/>
                <a:gd name="connsiteX2" fmla="*/ 2578417 w 3871912"/>
                <a:gd name="connsiteY2" fmla="*/ 0 h 2228850"/>
                <a:gd name="connsiteX3" fmla="*/ 2426017 w 3871912"/>
                <a:gd name="connsiteY3" fmla="*/ 245745 h 2228850"/>
                <a:gd name="connsiteX4" fmla="*/ 2045017 w 3871912"/>
                <a:gd name="connsiteY4" fmla="*/ 268605 h 2228850"/>
                <a:gd name="connsiteX5" fmla="*/ 1907857 w 3871912"/>
                <a:gd name="connsiteY5" fmla="*/ 116205 h 2228850"/>
                <a:gd name="connsiteX6" fmla="*/ 1747837 w 3871912"/>
                <a:gd name="connsiteY6" fmla="*/ 299085 h 2228850"/>
                <a:gd name="connsiteX7" fmla="*/ 1671637 w 3871912"/>
                <a:gd name="connsiteY7" fmla="*/ 428625 h 2228850"/>
                <a:gd name="connsiteX8" fmla="*/ 1618297 w 3871912"/>
                <a:gd name="connsiteY8" fmla="*/ 20955 h 2228850"/>
                <a:gd name="connsiteX9" fmla="*/ 1397317 w 3871912"/>
                <a:gd name="connsiteY9" fmla="*/ 184785 h 2228850"/>
                <a:gd name="connsiteX10" fmla="*/ 1268730 w 3871912"/>
                <a:gd name="connsiteY10" fmla="*/ 44767 h 2228850"/>
                <a:gd name="connsiteX11" fmla="*/ 0 w 3871912"/>
                <a:gd name="connsiteY11" fmla="*/ 2228850 h 222885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045017 w 3871912"/>
                <a:gd name="connsiteY4" fmla="*/ 47434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671637 w 3871912"/>
                <a:gd name="connsiteY7" fmla="*/ 63436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178367 w 3871912"/>
                <a:gd name="connsiteY4" fmla="*/ 15049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671637 w 3871912"/>
                <a:gd name="connsiteY7" fmla="*/ 63436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178367 w 3871912"/>
                <a:gd name="connsiteY4" fmla="*/ 15049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614487 w 3871912"/>
                <a:gd name="connsiteY7" fmla="*/ 4381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178367 w 3871912"/>
                <a:gd name="connsiteY4" fmla="*/ 15049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741487 w 3871912"/>
                <a:gd name="connsiteY7" fmla="*/ 23431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71912" h="2434590">
                  <a:moveTo>
                    <a:pt x="0" y="2434590"/>
                  </a:moveTo>
                  <a:lnTo>
                    <a:pt x="3871912" y="2429827"/>
                  </a:lnTo>
                  <a:lnTo>
                    <a:pt x="2578417" y="205740"/>
                  </a:lnTo>
                  <a:lnTo>
                    <a:pt x="2426017" y="451485"/>
                  </a:lnTo>
                  <a:lnTo>
                    <a:pt x="2178367" y="150495"/>
                  </a:lnTo>
                  <a:lnTo>
                    <a:pt x="1907857" y="321945"/>
                  </a:lnTo>
                  <a:lnTo>
                    <a:pt x="1747837" y="0"/>
                  </a:lnTo>
                  <a:lnTo>
                    <a:pt x="1741487" y="234315"/>
                  </a:lnTo>
                  <a:lnTo>
                    <a:pt x="1618297" y="226695"/>
                  </a:lnTo>
                  <a:lnTo>
                    <a:pt x="1397317" y="390525"/>
                  </a:lnTo>
                  <a:lnTo>
                    <a:pt x="1268730" y="250507"/>
                  </a:lnTo>
                  <a:lnTo>
                    <a:pt x="0" y="2434590"/>
                  </a:lnTo>
                  <a:close/>
                </a:path>
              </a:pathLst>
            </a:custGeom>
            <a:solidFill>
              <a:srgbClr val="5E9042">
                <a:alpha val="78000"/>
              </a:srgbClr>
            </a:solidFill>
            <a:ln w="9525">
              <a:noFill/>
            </a:ln>
            <a:scene3d>
              <a:camera prst="orthographicFront"/>
              <a:lightRig rig="threePt" dir="t"/>
            </a:scene3d>
            <a:sp3d>
              <a:bevelT w="6350" h="0" prst="angl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1600" b="1" dirty="0">
                <a:solidFill>
                  <a:schemeClr val="accent4"/>
                </a:solidFill>
              </a:endParaRPr>
            </a:p>
          </p:txBody>
        </p:sp>
      </p:grpSp>
      <p:grpSp>
        <p:nvGrpSpPr>
          <p:cNvPr id="286" name="Group 285">
            <a:extLst>
              <a:ext uri="{FF2B5EF4-FFF2-40B4-BE49-F238E27FC236}">
                <a16:creationId xmlns:a16="http://schemas.microsoft.com/office/drawing/2014/main" id="{B6018669-1197-4EF4-84CF-D7459A5056D7}"/>
              </a:ext>
            </a:extLst>
          </p:cNvPr>
          <p:cNvGrpSpPr/>
          <p:nvPr/>
        </p:nvGrpSpPr>
        <p:grpSpPr>
          <a:xfrm>
            <a:off x="5705209" y="464484"/>
            <a:ext cx="1746470" cy="1746470"/>
            <a:chOff x="4504782" y="583785"/>
            <a:chExt cx="1746470" cy="1746470"/>
          </a:xfrm>
          <a:effectLst/>
        </p:grpSpPr>
        <p:sp>
          <p:nvSpPr>
            <p:cNvPr id="287" name="Oval 286">
              <a:extLst>
                <a:ext uri="{FF2B5EF4-FFF2-40B4-BE49-F238E27FC236}">
                  <a16:creationId xmlns:a16="http://schemas.microsoft.com/office/drawing/2014/main" id="{F8296D2E-C62E-442A-B284-01EF22F485D3}"/>
                </a:ext>
              </a:extLst>
            </p:cNvPr>
            <p:cNvSpPr/>
            <p:nvPr/>
          </p:nvSpPr>
          <p:spPr>
            <a:xfrm>
              <a:off x="4504782" y="583785"/>
              <a:ext cx="1746470" cy="174647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288" name="Rectangle 287">
              <a:extLst>
                <a:ext uri="{FF2B5EF4-FFF2-40B4-BE49-F238E27FC236}">
                  <a16:creationId xmlns:a16="http://schemas.microsoft.com/office/drawing/2014/main" id="{6EB7ECE7-F63A-4C51-BE6A-13BC0E759F35}"/>
                </a:ext>
              </a:extLst>
            </p:cNvPr>
            <p:cNvSpPr/>
            <p:nvPr/>
          </p:nvSpPr>
          <p:spPr>
            <a:xfrm>
              <a:off x="5051025" y="692095"/>
              <a:ext cx="550151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IN" sz="2800" dirty="0">
                  <a:solidFill>
                    <a:schemeClr val="bg1"/>
                  </a:solidFill>
                  <a:latin typeface="+mn-lt"/>
                </a:rPr>
                <a:t>03</a:t>
              </a:r>
            </a:p>
          </p:txBody>
        </p:sp>
        <p:sp>
          <p:nvSpPr>
            <p:cNvPr id="289" name="Rectangle 288">
              <a:extLst>
                <a:ext uri="{FF2B5EF4-FFF2-40B4-BE49-F238E27FC236}">
                  <a16:creationId xmlns:a16="http://schemas.microsoft.com/office/drawing/2014/main" id="{6F43371B-2E28-4347-9466-625BE13886BE}"/>
                </a:ext>
              </a:extLst>
            </p:cNvPr>
            <p:cNvSpPr/>
            <p:nvPr/>
          </p:nvSpPr>
          <p:spPr>
            <a:xfrm>
              <a:off x="4554653" y="1116646"/>
              <a:ext cx="1646729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IN" sz="2000">
                  <a:solidFill>
                    <a:schemeClr val="bg1"/>
                  </a:solidFill>
                </a:rPr>
                <a:t>EDIT HERE</a:t>
              </a:r>
              <a:endParaRPr lang="en-IN" sz="2000" dirty="0">
                <a:solidFill>
                  <a:schemeClr val="bg1"/>
                </a:solidFill>
              </a:endParaRPr>
            </a:p>
          </p:txBody>
        </p:sp>
        <p:sp>
          <p:nvSpPr>
            <p:cNvPr id="290" name="Rectangle 289">
              <a:extLst>
                <a:ext uri="{FF2B5EF4-FFF2-40B4-BE49-F238E27FC236}">
                  <a16:creationId xmlns:a16="http://schemas.microsoft.com/office/drawing/2014/main" id="{A4F5B4BD-EE99-4B0B-B3B2-AC792BC4DEDB}"/>
                </a:ext>
              </a:extLst>
            </p:cNvPr>
            <p:cNvSpPr/>
            <p:nvPr/>
          </p:nvSpPr>
          <p:spPr>
            <a:xfrm>
              <a:off x="4703855" y="1504393"/>
              <a:ext cx="1368242" cy="64633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IN" sz="1400">
                  <a:solidFill>
                    <a:schemeClr val="bg1"/>
                  </a:solidFill>
                </a:rPr>
                <a:t>This text can be edited. Edit text here.</a:t>
              </a:r>
              <a:endParaRPr lang="en-IN" sz="1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91" name="Group 290">
            <a:extLst>
              <a:ext uri="{FF2B5EF4-FFF2-40B4-BE49-F238E27FC236}">
                <a16:creationId xmlns:a16="http://schemas.microsoft.com/office/drawing/2014/main" id="{E8E02D71-8469-41C1-9C0E-6742E8EF3231}"/>
              </a:ext>
            </a:extLst>
          </p:cNvPr>
          <p:cNvGrpSpPr/>
          <p:nvPr/>
        </p:nvGrpSpPr>
        <p:grpSpPr>
          <a:xfrm>
            <a:off x="3700316" y="1853762"/>
            <a:ext cx="1746470" cy="1746470"/>
            <a:chOff x="2411207" y="1780780"/>
            <a:chExt cx="1746470" cy="1746470"/>
          </a:xfrm>
          <a:effectLst/>
        </p:grpSpPr>
        <p:sp>
          <p:nvSpPr>
            <p:cNvPr id="292" name="Oval 291">
              <a:extLst>
                <a:ext uri="{FF2B5EF4-FFF2-40B4-BE49-F238E27FC236}">
                  <a16:creationId xmlns:a16="http://schemas.microsoft.com/office/drawing/2014/main" id="{0ACF8CE3-993E-4A4B-901E-4935D76BA0C2}"/>
                </a:ext>
              </a:extLst>
            </p:cNvPr>
            <p:cNvSpPr/>
            <p:nvPr/>
          </p:nvSpPr>
          <p:spPr>
            <a:xfrm>
              <a:off x="2411207" y="1780780"/>
              <a:ext cx="1746470" cy="174647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293" name="Rectangle 292">
              <a:extLst>
                <a:ext uri="{FF2B5EF4-FFF2-40B4-BE49-F238E27FC236}">
                  <a16:creationId xmlns:a16="http://schemas.microsoft.com/office/drawing/2014/main" id="{13425B1B-1F9F-4FF5-91D6-E73814B449D8}"/>
                </a:ext>
              </a:extLst>
            </p:cNvPr>
            <p:cNvSpPr/>
            <p:nvPr/>
          </p:nvSpPr>
          <p:spPr>
            <a:xfrm>
              <a:off x="2957450" y="1897480"/>
              <a:ext cx="550151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IN" sz="2800">
                  <a:solidFill>
                    <a:schemeClr val="bg1"/>
                  </a:solidFill>
                  <a:latin typeface="+mn-lt"/>
                </a:rPr>
                <a:t>02</a:t>
              </a:r>
              <a:endParaRPr lang="en-IN" sz="28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94" name="Rectangle 293">
              <a:extLst>
                <a:ext uri="{FF2B5EF4-FFF2-40B4-BE49-F238E27FC236}">
                  <a16:creationId xmlns:a16="http://schemas.microsoft.com/office/drawing/2014/main" id="{5045B72C-7B35-4D52-8293-59306249D8F5}"/>
                </a:ext>
              </a:extLst>
            </p:cNvPr>
            <p:cNvSpPr/>
            <p:nvPr/>
          </p:nvSpPr>
          <p:spPr>
            <a:xfrm>
              <a:off x="2461078" y="2322031"/>
              <a:ext cx="1646729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IN" sz="2000">
                  <a:solidFill>
                    <a:schemeClr val="bg1"/>
                  </a:solidFill>
                  <a:latin typeface="+mn-lt"/>
                </a:rPr>
                <a:t>EDIT HERE</a:t>
              </a:r>
              <a:endParaRPr lang="en-IN" sz="20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95" name="Rectangle 294">
              <a:extLst>
                <a:ext uri="{FF2B5EF4-FFF2-40B4-BE49-F238E27FC236}">
                  <a16:creationId xmlns:a16="http://schemas.microsoft.com/office/drawing/2014/main" id="{66CBE894-E707-4D0E-9DDC-72A1885C83D0}"/>
                </a:ext>
              </a:extLst>
            </p:cNvPr>
            <p:cNvSpPr/>
            <p:nvPr/>
          </p:nvSpPr>
          <p:spPr>
            <a:xfrm>
              <a:off x="2610280" y="2709778"/>
              <a:ext cx="1368242" cy="64633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IN" sz="1400">
                  <a:solidFill>
                    <a:schemeClr val="bg1"/>
                  </a:solidFill>
                  <a:latin typeface="+mn-lt"/>
                </a:rPr>
                <a:t>This text can be edited. Edit text here.</a:t>
              </a:r>
              <a:endParaRPr lang="en-IN" sz="1400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DB204B01-4765-4407-A0BE-A8E001ACB48B}"/>
              </a:ext>
            </a:extLst>
          </p:cNvPr>
          <p:cNvGrpSpPr/>
          <p:nvPr/>
        </p:nvGrpSpPr>
        <p:grpSpPr>
          <a:xfrm flipH="1">
            <a:off x="1" y="4460421"/>
            <a:ext cx="12191999" cy="2419506"/>
            <a:chOff x="1" y="4460421"/>
            <a:chExt cx="12191999" cy="2419506"/>
          </a:xfrm>
        </p:grpSpPr>
        <p:sp>
          <p:nvSpPr>
            <p:cNvPr id="261" name="Freeform: Shape 260">
              <a:extLst>
                <a:ext uri="{FF2B5EF4-FFF2-40B4-BE49-F238E27FC236}">
                  <a16:creationId xmlns:a16="http://schemas.microsoft.com/office/drawing/2014/main" id="{AFCDAB66-6697-4928-9A5E-0BBC074B0DAD}"/>
                </a:ext>
              </a:extLst>
            </p:cNvPr>
            <p:cNvSpPr/>
            <p:nvPr/>
          </p:nvSpPr>
          <p:spPr>
            <a:xfrm>
              <a:off x="1" y="4460421"/>
              <a:ext cx="12191999" cy="2416629"/>
            </a:xfrm>
            <a:custGeom>
              <a:avLst/>
              <a:gdLst>
                <a:gd name="connsiteX0" fmla="*/ 8957869 w 12191999"/>
                <a:gd name="connsiteY0" fmla="*/ 2 h 2735201"/>
                <a:gd name="connsiteX1" fmla="*/ 10308907 w 12191999"/>
                <a:gd name="connsiteY1" fmla="*/ 807424 h 2735201"/>
                <a:gd name="connsiteX2" fmla="*/ 10570413 w 12191999"/>
                <a:gd name="connsiteY2" fmla="*/ 1015401 h 2735201"/>
                <a:gd name="connsiteX3" fmla="*/ 11524632 w 12191999"/>
                <a:gd name="connsiteY3" fmla="*/ 1661816 h 2735201"/>
                <a:gd name="connsiteX4" fmla="*/ 11624783 w 12191999"/>
                <a:gd name="connsiteY4" fmla="*/ 1833257 h 2735201"/>
                <a:gd name="connsiteX5" fmla="*/ 11852906 w 12191999"/>
                <a:gd name="connsiteY5" fmla="*/ 1836067 h 2735201"/>
                <a:gd name="connsiteX6" fmla="*/ 12144607 w 12191999"/>
                <a:gd name="connsiteY6" fmla="*/ 1878209 h 2735201"/>
                <a:gd name="connsiteX7" fmla="*/ 12191999 w 12191999"/>
                <a:gd name="connsiteY7" fmla="*/ 1894228 h 2735201"/>
                <a:gd name="connsiteX8" fmla="*/ 12191999 w 12191999"/>
                <a:gd name="connsiteY8" fmla="*/ 2735201 h 2735201"/>
                <a:gd name="connsiteX9" fmla="*/ 6452313 w 12191999"/>
                <a:gd name="connsiteY9" fmla="*/ 2735201 h 2735201"/>
                <a:gd name="connsiteX10" fmla="*/ 5172234 w 12191999"/>
                <a:gd name="connsiteY10" fmla="*/ 2735201 h 2735201"/>
                <a:gd name="connsiteX11" fmla="*/ 2657884 w 12191999"/>
                <a:gd name="connsiteY11" fmla="*/ 2735201 h 2735201"/>
                <a:gd name="connsiteX12" fmla="*/ 1235768 w 12191999"/>
                <a:gd name="connsiteY12" fmla="*/ 2735201 h 2735201"/>
                <a:gd name="connsiteX13" fmla="*/ 0 w 12191999"/>
                <a:gd name="connsiteY13" fmla="*/ 2735201 h 2735201"/>
                <a:gd name="connsiteX14" fmla="*/ 0 w 12191999"/>
                <a:gd name="connsiteY14" fmla="*/ 1746328 h 2735201"/>
                <a:gd name="connsiteX15" fmla="*/ 39705 w 12191999"/>
                <a:gd name="connsiteY15" fmla="*/ 1798250 h 2735201"/>
                <a:gd name="connsiteX16" fmla="*/ 186799 w 12191999"/>
                <a:gd name="connsiteY16" fmla="*/ 1760135 h 2735201"/>
                <a:gd name="connsiteX17" fmla="*/ 729916 w 12191999"/>
                <a:gd name="connsiteY17" fmla="*/ 1594336 h 2735201"/>
                <a:gd name="connsiteX18" fmla="*/ 1325836 w 12191999"/>
                <a:gd name="connsiteY18" fmla="*/ 1847799 h 2735201"/>
                <a:gd name="connsiteX19" fmla="*/ 1534160 w 12191999"/>
                <a:gd name="connsiteY19" fmla="*/ 2150335 h 2735201"/>
                <a:gd name="connsiteX20" fmla="*/ 1544687 w 12191999"/>
                <a:gd name="connsiteY20" fmla="*/ 2171439 h 2735201"/>
                <a:gd name="connsiteX21" fmla="*/ 1545220 w 12191999"/>
                <a:gd name="connsiteY21" fmla="*/ 2170800 h 2735201"/>
                <a:gd name="connsiteX22" fmla="*/ 2359487 w 12191999"/>
                <a:gd name="connsiteY22" fmla="*/ 1859106 h 2735201"/>
                <a:gd name="connsiteX23" fmla="*/ 2704296 w 12191999"/>
                <a:gd name="connsiteY23" fmla="*/ 1775434 h 2735201"/>
                <a:gd name="connsiteX24" fmla="*/ 3093885 w 12191999"/>
                <a:gd name="connsiteY24" fmla="*/ 1196514 h 2735201"/>
                <a:gd name="connsiteX25" fmla="*/ 4197720 w 12191999"/>
                <a:gd name="connsiteY25" fmla="*/ 769108 h 2735201"/>
                <a:gd name="connsiteX26" fmla="*/ 5288121 w 12191999"/>
                <a:gd name="connsiteY26" fmla="*/ 1189730 h 2735201"/>
                <a:gd name="connsiteX27" fmla="*/ 5636569 w 12191999"/>
                <a:gd name="connsiteY27" fmla="*/ 1639184 h 2735201"/>
                <a:gd name="connsiteX28" fmla="*/ 5669040 w 12191999"/>
                <a:gd name="connsiteY28" fmla="*/ 1715253 h 2735201"/>
                <a:gd name="connsiteX29" fmla="*/ 5772236 w 12191999"/>
                <a:gd name="connsiteY29" fmla="*/ 1691376 h 2735201"/>
                <a:gd name="connsiteX30" fmla="*/ 6094206 w 12191999"/>
                <a:gd name="connsiteY30" fmla="*/ 1703974 h 2735201"/>
                <a:gd name="connsiteX31" fmla="*/ 6275035 w 12191999"/>
                <a:gd name="connsiteY31" fmla="*/ 1642143 h 2735201"/>
                <a:gd name="connsiteX32" fmla="*/ 6742408 w 12191999"/>
                <a:gd name="connsiteY32" fmla="*/ 1240241 h 2735201"/>
                <a:gd name="connsiteX33" fmla="*/ 7184742 w 12191999"/>
                <a:gd name="connsiteY33" fmla="*/ 1169978 h 2735201"/>
                <a:gd name="connsiteX34" fmla="*/ 7465723 w 12191999"/>
                <a:gd name="connsiteY34" fmla="*/ 1169978 h 2735201"/>
                <a:gd name="connsiteX35" fmla="*/ 7521362 w 12191999"/>
                <a:gd name="connsiteY35" fmla="*/ 1018211 h 2735201"/>
                <a:gd name="connsiteX36" fmla="*/ 7958133 w 12191999"/>
                <a:gd name="connsiteY36" fmla="*/ 374606 h 2735201"/>
                <a:gd name="connsiteX37" fmla="*/ 8728742 w 12191999"/>
                <a:gd name="connsiteY37" fmla="*/ 20483 h 2735201"/>
                <a:gd name="connsiteX38" fmla="*/ 8957869 w 12191999"/>
                <a:gd name="connsiteY38" fmla="*/ 2 h 2735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2191999" h="2735201">
                  <a:moveTo>
                    <a:pt x="8957869" y="2"/>
                  </a:moveTo>
                  <a:cubicBezTo>
                    <a:pt x="9496785" y="-728"/>
                    <a:pt x="10050878" y="320504"/>
                    <a:pt x="10308907" y="807424"/>
                  </a:cubicBezTo>
                  <a:cubicBezTo>
                    <a:pt x="10406276" y="990106"/>
                    <a:pt x="10417404" y="1001348"/>
                    <a:pt x="10570413" y="1015401"/>
                  </a:cubicBezTo>
                  <a:cubicBezTo>
                    <a:pt x="10907033" y="1049127"/>
                    <a:pt x="11329893" y="1335798"/>
                    <a:pt x="11524632" y="1661816"/>
                  </a:cubicBezTo>
                  <a:lnTo>
                    <a:pt x="11624783" y="1833257"/>
                  </a:lnTo>
                  <a:lnTo>
                    <a:pt x="11852906" y="1836067"/>
                  </a:lnTo>
                  <a:cubicBezTo>
                    <a:pt x="11954101" y="1837121"/>
                    <a:pt x="12052165" y="1851613"/>
                    <a:pt x="12144607" y="1878209"/>
                  </a:cubicBezTo>
                  <a:lnTo>
                    <a:pt x="12191999" y="1894228"/>
                  </a:lnTo>
                  <a:lnTo>
                    <a:pt x="12191999" y="2735201"/>
                  </a:lnTo>
                  <a:lnTo>
                    <a:pt x="6452313" y="2735201"/>
                  </a:lnTo>
                  <a:lnTo>
                    <a:pt x="5172234" y="2735201"/>
                  </a:lnTo>
                  <a:lnTo>
                    <a:pt x="2657884" y="2735201"/>
                  </a:lnTo>
                  <a:lnTo>
                    <a:pt x="1235768" y="2735201"/>
                  </a:lnTo>
                  <a:lnTo>
                    <a:pt x="0" y="2735201"/>
                  </a:lnTo>
                  <a:lnTo>
                    <a:pt x="0" y="1746328"/>
                  </a:lnTo>
                  <a:lnTo>
                    <a:pt x="39705" y="1798250"/>
                  </a:lnTo>
                  <a:cubicBezTo>
                    <a:pt x="66106" y="1836365"/>
                    <a:pt x="77421" y="1834459"/>
                    <a:pt x="186799" y="1760135"/>
                  </a:cubicBezTo>
                  <a:cubicBezTo>
                    <a:pt x="360295" y="1641979"/>
                    <a:pt x="511160" y="1596242"/>
                    <a:pt x="729916" y="1594336"/>
                  </a:cubicBezTo>
                  <a:cubicBezTo>
                    <a:pt x="971301" y="1594336"/>
                    <a:pt x="1152340" y="1670566"/>
                    <a:pt x="1325836" y="1847799"/>
                  </a:cubicBezTo>
                  <a:cubicBezTo>
                    <a:pt x="1391840" y="1916882"/>
                    <a:pt x="1478470" y="2046264"/>
                    <a:pt x="1534160" y="2150335"/>
                  </a:cubicBezTo>
                  <a:lnTo>
                    <a:pt x="1544687" y="2171439"/>
                  </a:lnTo>
                  <a:lnTo>
                    <a:pt x="1545220" y="2170800"/>
                  </a:lnTo>
                  <a:cubicBezTo>
                    <a:pt x="1757752" y="1956629"/>
                    <a:pt x="2065617" y="1826598"/>
                    <a:pt x="2359487" y="1859106"/>
                  </a:cubicBezTo>
                  <a:cubicBezTo>
                    <a:pt x="2679667" y="1895288"/>
                    <a:pt x="2655038" y="1899811"/>
                    <a:pt x="2704296" y="1775434"/>
                  </a:cubicBezTo>
                  <a:cubicBezTo>
                    <a:pt x="2766988" y="1610351"/>
                    <a:pt x="2977456" y="1300538"/>
                    <a:pt x="3093885" y="1196514"/>
                  </a:cubicBezTo>
                  <a:cubicBezTo>
                    <a:pt x="3416303" y="909315"/>
                    <a:pt x="3779024" y="769108"/>
                    <a:pt x="4197720" y="769108"/>
                  </a:cubicBezTo>
                  <a:cubicBezTo>
                    <a:pt x="4643284" y="769108"/>
                    <a:pt x="4974659" y="895747"/>
                    <a:pt x="5288121" y="1189730"/>
                  </a:cubicBezTo>
                  <a:cubicBezTo>
                    <a:pt x="5431418" y="1323153"/>
                    <a:pt x="5548967" y="1475232"/>
                    <a:pt x="5636569" y="1639184"/>
                  </a:cubicBezTo>
                  <a:lnTo>
                    <a:pt x="5669040" y="1715253"/>
                  </a:lnTo>
                  <a:lnTo>
                    <a:pt x="5772236" y="1691376"/>
                  </a:lnTo>
                  <a:cubicBezTo>
                    <a:pt x="5883471" y="1672751"/>
                    <a:pt x="5995098" y="1675518"/>
                    <a:pt x="6094206" y="1703974"/>
                  </a:cubicBezTo>
                  <a:cubicBezTo>
                    <a:pt x="6216613" y="1737700"/>
                    <a:pt x="6227741" y="1734889"/>
                    <a:pt x="6275035" y="1642143"/>
                  </a:cubicBezTo>
                  <a:cubicBezTo>
                    <a:pt x="6344584" y="1507239"/>
                    <a:pt x="6553233" y="1327367"/>
                    <a:pt x="6742408" y="1240241"/>
                  </a:cubicBezTo>
                  <a:cubicBezTo>
                    <a:pt x="6862033" y="1186841"/>
                    <a:pt x="6973312" y="1167168"/>
                    <a:pt x="7184742" y="1169978"/>
                  </a:cubicBezTo>
                  <a:lnTo>
                    <a:pt x="7465723" y="1169978"/>
                  </a:lnTo>
                  <a:lnTo>
                    <a:pt x="7521362" y="1018211"/>
                  </a:lnTo>
                  <a:cubicBezTo>
                    <a:pt x="7599258" y="807424"/>
                    <a:pt x="7807906" y="501079"/>
                    <a:pt x="7958133" y="374606"/>
                  </a:cubicBezTo>
                  <a:cubicBezTo>
                    <a:pt x="8152872" y="208787"/>
                    <a:pt x="8458889" y="71072"/>
                    <a:pt x="8728742" y="20483"/>
                  </a:cubicBezTo>
                  <a:cubicBezTo>
                    <a:pt x="8804203" y="6782"/>
                    <a:pt x="8880881" y="107"/>
                    <a:pt x="8957869" y="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noFill/>
            </a:ln>
            <a:effectLst>
              <a:outerShdw blurRad="241300" dist="38100" dir="1440000" algn="tl" rotWithShape="0">
                <a:schemeClr val="bg1">
                  <a:alpha val="6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1600" b="1" dirty="0">
                <a:solidFill>
                  <a:schemeClr val="accent4"/>
                </a:solidFill>
              </a:endParaRPr>
            </a:p>
          </p:txBody>
        </p:sp>
        <p:sp useBgFill="1">
          <p:nvSpPr>
            <p:cNvPr id="262" name="Freeform: Shape 261">
              <a:extLst>
                <a:ext uri="{FF2B5EF4-FFF2-40B4-BE49-F238E27FC236}">
                  <a16:creationId xmlns:a16="http://schemas.microsoft.com/office/drawing/2014/main" id="{04221490-9EAC-4168-8A93-AC881F3E65AC}"/>
                </a:ext>
              </a:extLst>
            </p:cNvPr>
            <p:cNvSpPr/>
            <p:nvPr/>
          </p:nvSpPr>
          <p:spPr>
            <a:xfrm>
              <a:off x="1" y="4611667"/>
              <a:ext cx="12191999" cy="2268260"/>
            </a:xfrm>
            <a:custGeom>
              <a:avLst/>
              <a:gdLst>
                <a:gd name="connsiteX0" fmla="*/ 8957869 w 12191999"/>
                <a:gd name="connsiteY0" fmla="*/ 2 h 2735201"/>
                <a:gd name="connsiteX1" fmla="*/ 10308907 w 12191999"/>
                <a:gd name="connsiteY1" fmla="*/ 807424 h 2735201"/>
                <a:gd name="connsiteX2" fmla="*/ 10570413 w 12191999"/>
                <a:gd name="connsiteY2" fmla="*/ 1015401 h 2735201"/>
                <a:gd name="connsiteX3" fmla="*/ 11524632 w 12191999"/>
                <a:gd name="connsiteY3" fmla="*/ 1661816 h 2735201"/>
                <a:gd name="connsiteX4" fmla="*/ 11624783 w 12191999"/>
                <a:gd name="connsiteY4" fmla="*/ 1833257 h 2735201"/>
                <a:gd name="connsiteX5" fmla="*/ 11852906 w 12191999"/>
                <a:gd name="connsiteY5" fmla="*/ 1836067 h 2735201"/>
                <a:gd name="connsiteX6" fmla="*/ 12144607 w 12191999"/>
                <a:gd name="connsiteY6" fmla="*/ 1878209 h 2735201"/>
                <a:gd name="connsiteX7" fmla="*/ 12191999 w 12191999"/>
                <a:gd name="connsiteY7" fmla="*/ 1894228 h 2735201"/>
                <a:gd name="connsiteX8" fmla="*/ 12191999 w 12191999"/>
                <a:gd name="connsiteY8" fmla="*/ 2735201 h 2735201"/>
                <a:gd name="connsiteX9" fmla="*/ 6452313 w 12191999"/>
                <a:gd name="connsiteY9" fmla="*/ 2735201 h 2735201"/>
                <a:gd name="connsiteX10" fmla="*/ 5172234 w 12191999"/>
                <a:gd name="connsiteY10" fmla="*/ 2735201 h 2735201"/>
                <a:gd name="connsiteX11" fmla="*/ 2657884 w 12191999"/>
                <a:gd name="connsiteY11" fmla="*/ 2735201 h 2735201"/>
                <a:gd name="connsiteX12" fmla="*/ 1235768 w 12191999"/>
                <a:gd name="connsiteY12" fmla="*/ 2735201 h 2735201"/>
                <a:gd name="connsiteX13" fmla="*/ 0 w 12191999"/>
                <a:gd name="connsiteY13" fmla="*/ 2735201 h 2735201"/>
                <a:gd name="connsiteX14" fmla="*/ 0 w 12191999"/>
                <a:gd name="connsiteY14" fmla="*/ 1746328 h 2735201"/>
                <a:gd name="connsiteX15" fmla="*/ 39705 w 12191999"/>
                <a:gd name="connsiteY15" fmla="*/ 1798250 h 2735201"/>
                <a:gd name="connsiteX16" fmla="*/ 186799 w 12191999"/>
                <a:gd name="connsiteY16" fmla="*/ 1760135 h 2735201"/>
                <a:gd name="connsiteX17" fmla="*/ 729916 w 12191999"/>
                <a:gd name="connsiteY17" fmla="*/ 1594336 h 2735201"/>
                <a:gd name="connsiteX18" fmla="*/ 1325836 w 12191999"/>
                <a:gd name="connsiteY18" fmla="*/ 1847799 h 2735201"/>
                <a:gd name="connsiteX19" fmla="*/ 1534160 w 12191999"/>
                <a:gd name="connsiteY19" fmla="*/ 2150335 h 2735201"/>
                <a:gd name="connsiteX20" fmla="*/ 1544687 w 12191999"/>
                <a:gd name="connsiteY20" fmla="*/ 2171439 h 2735201"/>
                <a:gd name="connsiteX21" fmla="*/ 1545220 w 12191999"/>
                <a:gd name="connsiteY21" fmla="*/ 2170800 h 2735201"/>
                <a:gd name="connsiteX22" fmla="*/ 2359487 w 12191999"/>
                <a:gd name="connsiteY22" fmla="*/ 1859106 h 2735201"/>
                <a:gd name="connsiteX23" fmla="*/ 2704296 w 12191999"/>
                <a:gd name="connsiteY23" fmla="*/ 1775434 h 2735201"/>
                <a:gd name="connsiteX24" fmla="*/ 3093885 w 12191999"/>
                <a:gd name="connsiteY24" fmla="*/ 1196514 h 2735201"/>
                <a:gd name="connsiteX25" fmla="*/ 4197720 w 12191999"/>
                <a:gd name="connsiteY25" fmla="*/ 769108 h 2735201"/>
                <a:gd name="connsiteX26" fmla="*/ 5288121 w 12191999"/>
                <a:gd name="connsiteY26" fmla="*/ 1189730 h 2735201"/>
                <a:gd name="connsiteX27" fmla="*/ 5636569 w 12191999"/>
                <a:gd name="connsiteY27" fmla="*/ 1639184 h 2735201"/>
                <a:gd name="connsiteX28" fmla="*/ 5669040 w 12191999"/>
                <a:gd name="connsiteY28" fmla="*/ 1715253 h 2735201"/>
                <a:gd name="connsiteX29" fmla="*/ 5772236 w 12191999"/>
                <a:gd name="connsiteY29" fmla="*/ 1691376 h 2735201"/>
                <a:gd name="connsiteX30" fmla="*/ 6094206 w 12191999"/>
                <a:gd name="connsiteY30" fmla="*/ 1703974 h 2735201"/>
                <a:gd name="connsiteX31" fmla="*/ 6275035 w 12191999"/>
                <a:gd name="connsiteY31" fmla="*/ 1642143 h 2735201"/>
                <a:gd name="connsiteX32" fmla="*/ 6742408 w 12191999"/>
                <a:gd name="connsiteY32" fmla="*/ 1240241 h 2735201"/>
                <a:gd name="connsiteX33" fmla="*/ 7184742 w 12191999"/>
                <a:gd name="connsiteY33" fmla="*/ 1169978 h 2735201"/>
                <a:gd name="connsiteX34" fmla="*/ 7465723 w 12191999"/>
                <a:gd name="connsiteY34" fmla="*/ 1169978 h 2735201"/>
                <a:gd name="connsiteX35" fmla="*/ 7521362 w 12191999"/>
                <a:gd name="connsiteY35" fmla="*/ 1018211 h 2735201"/>
                <a:gd name="connsiteX36" fmla="*/ 7958133 w 12191999"/>
                <a:gd name="connsiteY36" fmla="*/ 374606 h 2735201"/>
                <a:gd name="connsiteX37" fmla="*/ 8728742 w 12191999"/>
                <a:gd name="connsiteY37" fmla="*/ 20483 h 2735201"/>
                <a:gd name="connsiteX38" fmla="*/ 8957869 w 12191999"/>
                <a:gd name="connsiteY38" fmla="*/ 2 h 2735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2191999" h="2735201">
                  <a:moveTo>
                    <a:pt x="8957869" y="2"/>
                  </a:moveTo>
                  <a:cubicBezTo>
                    <a:pt x="9496785" y="-728"/>
                    <a:pt x="10050878" y="320504"/>
                    <a:pt x="10308907" y="807424"/>
                  </a:cubicBezTo>
                  <a:cubicBezTo>
                    <a:pt x="10406276" y="990106"/>
                    <a:pt x="10417404" y="1001348"/>
                    <a:pt x="10570413" y="1015401"/>
                  </a:cubicBezTo>
                  <a:cubicBezTo>
                    <a:pt x="10907033" y="1049127"/>
                    <a:pt x="11329893" y="1335798"/>
                    <a:pt x="11524632" y="1661816"/>
                  </a:cubicBezTo>
                  <a:lnTo>
                    <a:pt x="11624783" y="1833257"/>
                  </a:lnTo>
                  <a:lnTo>
                    <a:pt x="11852906" y="1836067"/>
                  </a:lnTo>
                  <a:cubicBezTo>
                    <a:pt x="11954101" y="1837121"/>
                    <a:pt x="12052165" y="1851613"/>
                    <a:pt x="12144607" y="1878209"/>
                  </a:cubicBezTo>
                  <a:lnTo>
                    <a:pt x="12191999" y="1894228"/>
                  </a:lnTo>
                  <a:lnTo>
                    <a:pt x="12191999" y="2735201"/>
                  </a:lnTo>
                  <a:lnTo>
                    <a:pt x="6452313" y="2735201"/>
                  </a:lnTo>
                  <a:lnTo>
                    <a:pt x="5172234" y="2735201"/>
                  </a:lnTo>
                  <a:lnTo>
                    <a:pt x="2657884" y="2735201"/>
                  </a:lnTo>
                  <a:lnTo>
                    <a:pt x="1235768" y="2735201"/>
                  </a:lnTo>
                  <a:lnTo>
                    <a:pt x="0" y="2735201"/>
                  </a:lnTo>
                  <a:lnTo>
                    <a:pt x="0" y="1746328"/>
                  </a:lnTo>
                  <a:lnTo>
                    <a:pt x="39705" y="1798250"/>
                  </a:lnTo>
                  <a:cubicBezTo>
                    <a:pt x="66106" y="1836365"/>
                    <a:pt x="77421" y="1834459"/>
                    <a:pt x="186799" y="1760135"/>
                  </a:cubicBezTo>
                  <a:cubicBezTo>
                    <a:pt x="360295" y="1641979"/>
                    <a:pt x="511160" y="1596242"/>
                    <a:pt x="729916" y="1594336"/>
                  </a:cubicBezTo>
                  <a:cubicBezTo>
                    <a:pt x="971301" y="1594336"/>
                    <a:pt x="1152340" y="1670566"/>
                    <a:pt x="1325836" y="1847799"/>
                  </a:cubicBezTo>
                  <a:cubicBezTo>
                    <a:pt x="1391840" y="1916882"/>
                    <a:pt x="1478470" y="2046264"/>
                    <a:pt x="1534160" y="2150335"/>
                  </a:cubicBezTo>
                  <a:lnTo>
                    <a:pt x="1544687" y="2171439"/>
                  </a:lnTo>
                  <a:lnTo>
                    <a:pt x="1545220" y="2170800"/>
                  </a:lnTo>
                  <a:cubicBezTo>
                    <a:pt x="1757752" y="1956629"/>
                    <a:pt x="2065617" y="1826598"/>
                    <a:pt x="2359487" y="1859106"/>
                  </a:cubicBezTo>
                  <a:cubicBezTo>
                    <a:pt x="2679667" y="1895288"/>
                    <a:pt x="2655038" y="1899811"/>
                    <a:pt x="2704296" y="1775434"/>
                  </a:cubicBezTo>
                  <a:cubicBezTo>
                    <a:pt x="2766988" y="1610351"/>
                    <a:pt x="2977456" y="1300538"/>
                    <a:pt x="3093885" y="1196514"/>
                  </a:cubicBezTo>
                  <a:cubicBezTo>
                    <a:pt x="3416303" y="909315"/>
                    <a:pt x="3779024" y="769108"/>
                    <a:pt x="4197720" y="769108"/>
                  </a:cubicBezTo>
                  <a:cubicBezTo>
                    <a:pt x="4643284" y="769108"/>
                    <a:pt x="4974659" y="895747"/>
                    <a:pt x="5288121" y="1189730"/>
                  </a:cubicBezTo>
                  <a:cubicBezTo>
                    <a:pt x="5431418" y="1323153"/>
                    <a:pt x="5548967" y="1475232"/>
                    <a:pt x="5636569" y="1639184"/>
                  </a:cubicBezTo>
                  <a:lnTo>
                    <a:pt x="5669040" y="1715253"/>
                  </a:lnTo>
                  <a:lnTo>
                    <a:pt x="5772236" y="1691376"/>
                  </a:lnTo>
                  <a:cubicBezTo>
                    <a:pt x="5883471" y="1672751"/>
                    <a:pt x="5995098" y="1675518"/>
                    <a:pt x="6094206" y="1703974"/>
                  </a:cubicBezTo>
                  <a:cubicBezTo>
                    <a:pt x="6216613" y="1737700"/>
                    <a:pt x="6227741" y="1734889"/>
                    <a:pt x="6275035" y="1642143"/>
                  </a:cubicBezTo>
                  <a:cubicBezTo>
                    <a:pt x="6344584" y="1507239"/>
                    <a:pt x="6553233" y="1327367"/>
                    <a:pt x="6742408" y="1240241"/>
                  </a:cubicBezTo>
                  <a:cubicBezTo>
                    <a:pt x="6862033" y="1186841"/>
                    <a:pt x="6973312" y="1167168"/>
                    <a:pt x="7184742" y="1169978"/>
                  </a:cubicBezTo>
                  <a:lnTo>
                    <a:pt x="7465723" y="1169978"/>
                  </a:lnTo>
                  <a:lnTo>
                    <a:pt x="7521362" y="1018211"/>
                  </a:lnTo>
                  <a:cubicBezTo>
                    <a:pt x="7599258" y="807424"/>
                    <a:pt x="7807906" y="501079"/>
                    <a:pt x="7958133" y="374606"/>
                  </a:cubicBezTo>
                  <a:cubicBezTo>
                    <a:pt x="8152872" y="208787"/>
                    <a:pt x="8458889" y="71072"/>
                    <a:pt x="8728742" y="20483"/>
                  </a:cubicBezTo>
                  <a:cubicBezTo>
                    <a:pt x="8804203" y="6782"/>
                    <a:pt x="8880881" y="107"/>
                    <a:pt x="8957869" y="2"/>
                  </a:cubicBezTo>
                  <a:close/>
                </a:path>
              </a:pathLst>
            </a:custGeom>
            <a:ln w="9525">
              <a:noFill/>
            </a:ln>
            <a:effectLst>
              <a:outerShdw blurRad="241300" dist="38100" dir="1440000" algn="tl" rotWithShape="0">
                <a:schemeClr val="bg1">
                  <a:alpha val="6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1600" b="1" dirty="0">
                <a:solidFill>
                  <a:schemeClr val="accent4"/>
                </a:solidFill>
              </a:endParaRPr>
            </a:p>
          </p:txBody>
        </p:sp>
      </p:grpSp>
      <p:grpSp>
        <p:nvGrpSpPr>
          <p:cNvPr id="296" name="Group 295">
            <a:extLst>
              <a:ext uri="{FF2B5EF4-FFF2-40B4-BE49-F238E27FC236}">
                <a16:creationId xmlns:a16="http://schemas.microsoft.com/office/drawing/2014/main" id="{FC8FE9CB-A058-4DA4-B308-1EAC0AFC8C4F}"/>
              </a:ext>
            </a:extLst>
          </p:cNvPr>
          <p:cNvGrpSpPr/>
          <p:nvPr/>
        </p:nvGrpSpPr>
        <p:grpSpPr>
          <a:xfrm>
            <a:off x="1923522" y="3402991"/>
            <a:ext cx="1746470" cy="1746470"/>
            <a:chOff x="1136993" y="3428625"/>
            <a:chExt cx="1746470" cy="1746470"/>
          </a:xfrm>
          <a:effectLst/>
        </p:grpSpPr>
        <p:sp>
          <p:nvSpPr>
            <p:cNvPr id="299" name="Oval 298">
              <a:extLst>
                <a:ext uri="{FF2B5EF4-FFF2-40B4-BE49-F238E27FC236}">
                  <a16:creationId xmlns:a16="http://schemas.microsoft.com/office/drawing/2014/main" id="{00D2976D-7914-487E-8583-AD675380765F}"/>
                </a:ext>
              </a:extLst>
            </p:cNvPr>
            <p:cNvSpPr/>
            <p:nvPr/>
          </p:nvSpPr>
          <p:spPr>
            <a:xfrm>
              <a:off x="1136993" y="3428625"/>
              <a:ext cx="1746470" cy="174647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302" name="Rectangle 301">
              <a:extLst>
                <a:ext uri="{FF2B5EF4-FFF2-40B4-BE49-F238E27FC236}">
                  <a16:creationId xmlns:a16="http://schemas.microsoft.com/office/drawing/2014/main" id="{8C82D24B-AF98-45D2-BAB1-A6274FA92453}"/>
                </a:ext>
              </a:extLst>
            </p:cNvPr>
            <p:cNvSpPr/>
            <p:nvPr/>
          </p:nvSpPr>
          <p:spPr>
            <a:xfrm>
              <a:off x="1683236" y="3537730"/>
              <a:ext cx="550151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IN" sz="2800" dirty="0">
                  <a:solidFill>
                    <a:schemeClr val="bg1"/>
                  </a:solidFill>
                  <a:latin typeface="+mn-lt"/>
                </a:rPr>
                <a:t>01</a:t>
              </a:r>
            </a:p>
          </p:txBody>
        </p:sp>
        <p:sp>
          <p:nvSpPr>
            <p:cNvPr id="307" name="Rectangle 306">
              <a:extLst>
                <a:ext uri="{FF2B5EF4-FFF2-40B4-BE49-F238E27FC236}">
                  <a16:creationId xmlns:a16="http://schemas.microsoft.com/office/drawing/2014/main" id="{053C35A7-24C3-4177-A10B-34F7D3E9DE4E}"/>
                </a:ext>
              </a:extLst>
            </p:cNvPr>
            <p:cNvSpPr/>
            <p:nvPr/>
          </p:nvSpPr>
          <p:spPr>
            <a:xfrm>
              <a:off x="1186864" y="3962281"/>
              <a:ext cx="1646729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IN" sz="2000">
                  <a:solidFill>
                    <a:schemeClr val="bg1"/>
                  </a:solidFill>
                </a:rPr>
                <a:t>EDIT HERE</a:t>
              </a:r>
              <a:endParaRPr lang="en-IN" sz="2000" dirty="0">
                <a:solidFill>
                  <a:schemeClr val="bg1"/>
                </a:solidFill>
              </a:endParaRPr>
            </a:p>
          </p:txBody>
        </p:sp>
        <p:sp>
          <p:nvSpPr>
            <p:cNvPr id="308" name="Rectangle 307">
              <a:extLst>
                <a:ext uri="{FF2B5EF4-FFF2-40B4-BE49-F238E27FC236}">
                  <a16:creationId xmlns:a16="http://schemas.microsoft.com/office/drawing/2014/main" id="{120EE5F2-4AD1-4EF0-95C8-ED360104802F}"/>
                </a:ext>
              </a:extLst>
            </p:cNvPr>
            <p:cNvSpPr/>
            <p:nvPr/>
          </p:nvSpPr>
          <p:spPr>
            <a:xfrm>
              <a:off x="1336066" y="4350028"/>
              <a:ext cx="1368242" cy="64633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IN" sz="1400">
                  <a:solidFill>
                    <a:schemeClr val="bg1"/>
                  </a:solidFill>
                </a:rPr>
                <a:t>This text can be edited. Edit text here.</a:t>
              </a:r>
              <a:endParaRPr lang="en-IN" sz="1400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240B02B-5B9B-4423-B6A6-AD370F2605E8}"/>
              </a:ext>
            </a:extLst>
          </p:cNvPr>
          <p:cNvCxnSpPr>
            <a:stCxn id="261" idx="18"/>
          </p:cNvCxnSpPr>
          <p:nvPr/>
        </p:nvCxnSpPr>
        <p:spPr>
          <a:xfrm flipH="1" flipV="1">
            <a:off x="8391161" y="4486512"/>
            <a:ext cx="2475003" cy="1606493"/>
          </a:xfrm>
          <a:prstGeom prst="line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B3DB520-3ED2-4C70-AA82-61C0DCEDAA31}"/>
              </a:ext>
            </a:extLst>
          </p:cNvPr>
          <p:cNvCxnSpPr>
            <a:cxnSpLocks/>
          </p:cNvCxnSpPr>
          <p:nvPr/>
        </p:nvCxnSpPr>
        <p:spPr>
          <a:xfrm flipH="1">
            <a:off x="8372640" y="3606684"/>
            <a:ext cx="814713" cy="906115"/>
          </a:xfrm>
          <a:prstGeom prst="line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41B0FA2-8640-46C2-8EEF-08A3AD2BC75B}"/>
              </a:ext>
            </a:extLst>
          </p:cNvPr>
          <p:cNvCxnSpPr>
            <a:cxnSpLocks/>
            <a:stCxn id="521" idx="3"/>
          </p:cNvCxnSpPr>
          <p:nvPr/>
        </p:nvCxnSpPr>
        <p:spPr>
          <a:xfrm>
            <a:off x="8116393" y="1415707"/>
            <a:ext cx="1087503" cy="2206367"/>
          </a:xfrm>
          <a:prstGeom prst="line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9" name="Group 518">
            <a:extLst>
              <a:ext uri="{FF2B5EF4-FFF2-40B4-BE49-F238E27FC236}">
                <a16:creationId xmlns:a16="http://schemas.microsoft.com/office/drawing/2014/main" id="{C4EDC8C0-D0E9-4775-97EB-497B071F9319}"/>
              </a:ext>
            </a:extLst>
          </p:cNvPr>
          <p:cNvGrpSpPr/>
          <p:nvPr/>
        </p:nvGrpSpPr>
        <p:grpSpPr>
          <a:xfrm>
            <a:off x="8092785" y="550488"/>
            <a:ext cx="411883" cy="990865"/>
            <a:chOff x="9053309" y="399730"/>
            <a:chExt cx="411883" cy="990865"/>
          </a:xfrm>
        </p:grpSpPr>
        <p:sp>
          <p:nvSpPr>
            <p:cNvPr id="520" name="Freeform 9">
              <a:extLst>
                <a:ext uri="{FF2B5EF4-FFF2-40B4-BE49-F238E27FC236}">
                  <a16:creationId xmlns:a16="http://schemas.microsoft.com/office/drawing/2014/main" id="{5B6F9A9E-3630-4AAB-91CD-99C522A2E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9072942" y="399730"/>
              <a:ext cx="392250" cy="364890"/>
            </a:xfrm>
            <a:custGeom>
              <a:avLst/>
              <a:gdLst>
                <a:gd name="T0" fmla="*/ 47 w 1913"/>
                <a:gd name="T1" fmla="*/ 1746 h 1762"/>
                <a:gd name="T2" fmla="*/ 0 w 1913"/>
                <a:gd name="T3" fmla="*/ 1717 h 1762"/>
                <a:gd name="T4" fmla="*/ 757 w 1913"/>
                <a:gd name="T5" fmla="*/ 8 h 1762"/>
                <a:gd name="T6" fmla="*/ 859 w 1913"/>
                <a:gd name="T7" fmla="*/ 52 h 1762"/>
                <a:gd name="T8" fmla="*/ 844 w 1913"/>
                <a:gd name="T9" fmla="*/ 106 h 1762"/>
                <a:gd name="T10" fmla="*/ 828 w 1913"/>
                <a:gd name="T11" fmla="*/ 151 h 1762"/>
                <a:gd name="T12" fmla="*/ 901 w 1913"/>
                <a:gd name="T13" fmla="*/ 142 h 1762"/>
                <a:gd name="T14" fmla="*/ 1072 w 1913"/>
                <a:gd name="T15" fmla="*/ 154 h 1762"/>
                <a:gd name="T16" fmla="*/ 1482 w 1913"/>
                <a:gd name="T17" fmla="*/ 412 h 1762"/>
                <a:gd name="T18" fmla="*/ 1513 w 1913"/>
                <a:gd name="T19" fmla="*/ 465 h 1762"/>
                <a:gd name="T20" fmla="*/ 1475 w 1913"/>
                <a:gd name="T21" fmla="*/ 550 h 1762"/>
                <a:gd name="T22" fmla="*/ 1458 w 1913"/>
                <a:gd name="T23" fmla="*/ 659 h 1762"/>
                <a:gd name="T24" fmla="*/ 1864 w 1913"/>
                <a:gd name="T25" fmla="*/ 804 h 1762"/>
                <a:gd name="T26" fmla="*/ 1913 w 1913"/>
                <a:gd name="T27" fmla="*/ 805 h 1762"/>
                <a:gd name="T28" fmla="*/ 1548 w 1913"/>
                <a:gd name="T29" fmla="*/ 1596 h 1762"/>
                <a:gd name="T30" fmla="*/ 1079 w 1913"/>
                <a:gd name="T31" fmla="*/ 1479 h 1762"/>
                <a:gd name="T32" fmla="*/ 1008 w 1913"/>
                <a:gd name="T33" fmla="*/ 1382 h 1762"/>
                <a:gd name="T34" fmla="*/ 1029 w 1913"/>
                <a:gd name="T35" fmla="*/ 1253 h 1762"/>
                <a:gd name="T36" fmla="*/ 1067 w 1913"/>
                <a:gd name="T37" fmla="*/ 1166 h 1762"/>
                <a:gd name="T38" fmla="*/ 1037 w 1913"/>
                <a:gd name="T39" fmla="*/ 1143 h 1762"/>
                <a:gd name="T40" fmla="*/ 675 w 1913"/>
                <a:gd name="T41" fmla="*/ 975 h 1762"/>
                <a:gd name="T42" fmla="*/ 465 w 1913"/>
                <a:gd name="T43" fmla="*/ 972 h 1762"/>
                <a:gd name="T44" fmla="*/ 281 w 1913"/>
                <a:gd name="T45" fmla="*/ 1369 h 1762"/>
                <a:gd name="T46" fmla="*/ 102 w 1913"/>
                <a:gd name="T47" fmla="*/ 1757 h 1762"/>
                <a:gd name="T48" fmla="*/ 47 w 1913"/>
                <a:gd name="T49" fmla="*/ 1746 h 1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13" h="1762">
                  <a:moveTo>
                    <a:pt x="47" y="1746"/>
                  </a:moveTo>
                  <a:cubicBezTo>
                    <a:pt x="21" y="1736"/>
                    <a:pt x="0" y="1723"/>
                    <a:pt x="0" y="1717"/>
                  </a:cubicBezTo>
                  <a:cubicBezTo>
                    <a:pt x="0" y="1707"/>
                    <a:pt x="748" y="18"/>
                    <a:pt x="757" y="8"/>
                  </a:cubicBezTo>
                  <a:cubicBezTo>
                    <a:pt x="764" y="0"/>
                    <a:pt x="853" y="38"/>
                    <a:pt x="859" y="52"/>
                  </a:cubicBezTo>
                  <a:cubicBezTo>
                    <a:pt x="862" y="60"/>
                    <a:pt x="855" y="84"/>
                    <a:pt x="844" y="106"/>
                  </a:cubicBezTo>
                  <a:cubicBezTo>
                    <a:pt x="832" y="128"/>
                    <a:pt x="825" y="148"/>
                    <a:pt x="828" y="151"/>
                  </a:cubicBezTo>
                  <a:cubicBezTo>
                    <a:pt x="831" y="154"/>
                    <a:pt x="864" y="150"/>
                    <a:pt x="901" y="142"/>
                  </a:cubicBezTo>
                  <a:cubicBezTo>
                    <a:pt x="959" y="130"/>
                    <a:pt x="983" y="131"/>
                    <a:pt x="1072" y="154"/>
                  </a:cubicBezTo>
                  <a:cubicBezTo>
                    <a:pt x="1264" y="203"/>
                    <a:pt x="1414" y="297"/>
                    <a:pt x="1482" y="412"/>
                  </a:cubicBezTo>
                  <a:lnTo>
                    <a:pt x="1513" y="465"/>
                  </a:lnTo>
                  <a:lnTo>
                    <a:pt x="1475" y="550"/>
                  </a:lnTo>
                  <a:cubicBezTo>
                    <a:pt x="1439" y="631"/>
                    <a:pt x="1438" y="636"/>
                    <a:pt x="1458" y="659"/>
                  </a:cubicBezTo>
                  <a:cubicBezTo>
                    <a:pt x="1516" y="722"/>
                    <a:pt x="1769" y="813"/>
                    <a:pt x="1864" y="804"/>
                  </a:cubicBezTo>
                  <a:cubicBezTo>
                    <a:pt x="1891" y="801"/>
                    <a:pt x="1913" y="802"/>
                    <a:pt x="1913" y="805"/>
                  </a:cubicBezTo>
                  <a:cubicBezTo>
                    <a:pt x="1913" y="829"/>
                    <a:pt x="1567" y="1580"/>
                    <a:pt x="1548" y="1596"/>
                  </a:cubicBezTo>
                  <a:cubicBezTo>
                    <a:pt x="1460" y="1672"/>
                    <a:pt x="1204" y="1608"/>
                    <a:pt x="1079" y="1479"/>
                  </a:cubicBezTo>
                  <a:cubicBezTo>
                    <a:pt x="1050" y="1449"/>
                    <a:pt x="1018" y="1406"/>
                    <a:pt x="1008" y="1382"/>
                  </a:cubicBezTo>
                  <a:cubicBezTo>
                    <a:pt x="992" y="1342"/>
                    <a:pt x="993" y="1335"/>
                    <a:pt x="1029" y="1253"/>
                  </a:cubicBezTo>
                  <a:lnTo>
                    <a:pt x="1067" y="1166"/>
                  </a:lnTo>
                  <a:lnTo>
                    <a:pt x="1037" y="1143"/>
                  </a:lnTo>
                  <a:cubicBezTo>
                    <a:pt x="978" y="1097"/>
                    <a:pt x="755" y="994"/>
                    <a:pt x="675" y="975"/>
                  </a:cubicBezTo>
                  <a:cubicBezTo>
                    <a:pt x="575" y="952"/>
                    <a:pt x="483" y="951"/>
                    <a:pt x="465" y="972"/>
                  </a:cubicBezTo>
                  <a:cubicBezTo>
                    <a:pt x="458" y="981"/>
                    <a:pt x="375" y="1160"/>
                    <a:pt x="281" y="1369"/>
                  </a:cubicBezTo>
                  <a:cubicBezTo>
                    <a:pt x="188" y="1579"/>
                    <a:pt x="107" y="1753"/>
                    <a:pt x="102" y="1757"/>
                  </a:cubicBezTo>
                  <a:cubicBezTo>
                    <a:pt x="98" y="1762"/>
                    <a:pt x="73" y="1757"/>
                    <a:pt x="47" y="174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521" name="Freeform 13">
              <a:extLst>
                <a:ext uri="{FF2B5EF4-FFF2-40B4-BE49-F238E27FC236}">
                  <a16:creationId xmlns:a16="http://schemas.microsoft.com/office/drawing/2014/main" id="{396DDA30-B49F-4DEE-B4CF-B80C94AC1D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53309" y="694347"/>
              <a:ext cx="300998" cy="696248"/>
            </a:xfrm>
            <a:custGeom>
              <a:avLst/>
              <a:gdLst>
                <a:gd name="T0" fmla="*/ 386 w 3366"/>
                <a:gd name="T1" fmla="*/ 7638 h 7708"/>
                <a:gd name="T2" fmla="*/ 277 w 3366"/>
                <a:gd name="T3" fmla="*/ 7581 h 7708"/>
                <a:gd name="T4" fmla="*/ 162 w 3366"/>
                <a:gd name="T5" fmla="*/ 7370 h 7708"/>
                <a:gd name="T6" fmla="*/ 264 w 3366"/>
                <a:gd name="T7" fmla="*/ 6317 h 7708"/>
                <a:gd name="T8" fmla="*/ 585 w 3366"/>
                <a:gd name="T9" fmla="*/ 4817 h 7708"/>
                <a:gd name="T10" fmla="*/ 807 w 3366"/>
                <a:gd name="T11" fmla="*/ 4210 h 7708"/>
                <a:gd name="T12" fmla="*/ 864 w 3366"/>
                <a:gd name="T13" fmla="*/ 3129 h 7708"/>
                <a:gd name="T14" fmla="*/ 864 w 3366"/>
                <a:gd name="T15" fmla="*/ 2667 h 7708"/>
                <a:gd name="T16" fmla="*/ 774 w 3366"/>
                <a:gd name="T17" fmla="*/ 2517 h 7708"/>
                <a:gd name="T18" fmla="*/ 50 w 3366"/>
                <a:gd name="T19" fmla="*/ 611 h 7708"/>
                <a:gd name="T20" fmla="*/ 210 w 3366"/>
                <a:gd name="T21" fmla="*/ 110 h 7708"/>
                <a:gd name="T22" fmla="*/ 688 w 3366"/>
                <a:gd name="T23" fmla="*/ 150 h 7708"/>
                <a:gd name="T24" fmla="*/ 806 w 3366"/>
                <a:gd name="T25" fmla="*/ 504 h 7708"/>
                <a:gd name="T26" fmla="*/ 1242 w 3366"/>
                <a:gd name="T27" fmla="*/ 1773 h 7708"/>
                <a:gd name="T28" fmla="*/ 1315 w 3366"/>
                <a:gd name="T29" fmla="*/ 1921 h 7708"/>
                <a:gd name="T30" fmla="*/ 1406 w 3366"/>
                <a:gd name="T31" fmla="*/ 1905 h 7708"/>
                <a:gd name="T32" fmla="*/ 1922 w 3366"/>
                <a:gd name="T33" fmla="*/ 1963 h 7708"/>
                <a:gd name="T34" fmla="*/ 2193 w 3366"/>
                <a:gd name="T35" fmla="*/ 2208 h 7708"/>
                <a:gd name="T36" fmla="*/ 2285 w 3366"/>
                <a:gd name="T37" fmla="*/ 2283 h 7708"/>
                <a:gd name="T38" fmla="*/ 2397 w 3366"/>
                <a:gd name="T39" fmla="*/ 2349 h 7708"/>
                <a:gd name="T40" fmla="*/ 2463 w 3366"/>
                <a:gd name="T41" fmla="*/ 2398 h 7708"/>
                <a:gd name="T42" fmla="*/ 2470 w 3366"/>
                <a:gd name="T43" fmla="*/ 2366 h 7708"/>
                <a:gd name="T44" fmla="*/ 2676 w 3366"/>
                <a:gd name="T45" fmla="*/ 2097 h 7708"/>
                <a:gd name="T46" fmla="*/ 2854 w 3366"/>
                <a:gd name="T47" fmla="*/ 2056 h 7708"/>
                <a:gd name="T48" fmla="*/ 3177 w 3366"/>
                <a:gd name="T49" fmla="*/ 2237 h 7708"/>
                <a:gd name="T50" fmla="*/ 3338 w 3366"/>
                <a:gd name="T51" fmla="*/ 3114 h 7708"/>
                <a:gd name="T52" fmla="*/ 3356 w 3366"/>
                <a:gd name="T53" fmla="*/ 3470 h 7708"/>
                <a:gd name="T54" fmla="*/ 3105 w 3366"/>
                <a:gd name="T55" fmla="*/ 3780 h 7708"/>
                <a:gd name="T56" fmla="*/ 2829 w 3366"/>
                <a:gd name="T57" fmla="*/ 3762 h 7708"/>
                <a:gd name="T58" fmla="*/ 2560 w 3366"/>
                <a:gd name="T59" fmla="*/ 3548 h 7708"/>
                <a:gd name="T60" fmla="*/ 2332 w 3366"/>
                <a:gd name="T61" fmla="*/ 3360 h 7708"/>
                <a:gd name="T62" fmla="*/ 2320 w 3366"/>
                <a:gd name="T63" fmla="*/ 3507 h 7708"/>
                <a:gd name="T64" fmla="*/ 2255 w 3366"/>
                <a:gd name="T65" fmla="*/ 4460 h 7708"/>
                <a:gd name="T66" fmla="*/ 2217 w 3366"/>
                <a:gd name="T67" fmla="*/ 4604 h 7708"/>
                <a:gd name="T68" fmla="*/ 2206 w 3366"/>
                <a:gd name="T69" fmla="*/ 4785 h 7708"/>
                <a:gd name="T70" fmla="*/ 2239 w 3366"/>
                <a:gd name="T71" fmla="*/ 5167 h 7708"/>
                <a:gd name="T72" fmla="*/ 2363 w 3366"/>
                <a:gd name="T73" fmla="*/ 6617 h 7708"/>
                <a:gd name="T74" fmla="*/ 2432 w 3366"/>
                <a:gd name="T75" fmla="*/ 7225 h 7708"/>
                <a:gd name="T76" fmla="*/ 2411 w 3366"/>
                <a:gd name="T77" fmla="*/ 7339 h 7708"/>
                <a:gd name="T78" fmla="*/ 2180 w 3366"/>
                <a:gd name="T79" fmla="*/ 7592 h 7708"/>
                <a:gd name="T80" fmla="*/ 1854 w 3366"/>
                <a:gd name="T81" fmla="*/ 7600 h 7708"/>
                <a:gd name="T82" fmla="*/ 1706 w 3366"/>
                <a:gd name="T83" fmla="*/ 7412 h 7708"/>
                <a:gd name="T84" fmla="*/ 1538 w 3366"/>
                <a:gd name="T85" fmla="*/ 5898 h 7708"/>
                <a:gd name="T86" fmla="*/ 1494 w 3366"/>
                <a:gd name="T87" fmla="*/ 5373 h 7708"/>
                <a:gd name="T88" fmla="*/ 1470 w 3366"/>
                <a:gd name="T89" fmla="*/ 5085 h 7708"/>
                <a:gd name="T90" fmla="*/ 1393 w 3366"/>
                <a:gd name="T91" fmla="*/ 5050 h 7708"/>
                <a:gd name="T92" fmla="*/ 1315 w 3366"/>
                <a:gd name="T93" fmla="*/ 5038 h 7708"/>
                <a:gd name="T94" fmla="*/ 1212 w 3366"/>
                <a:gd name="T95" fmla="*/ 5410 h 7708"/>
                <a:gd name="T96" fmla="*/ 939 w 3366"/>
                <a:gd name="T97" fmla="*/ 7123 h 7708"/>
                <a:gd name="T98" fmla="*/ 901 w 3366"/>
                <a:gd name="T99" fmla="*/ 7393 h 7708"/>
                <a:gd name="T100" fmla="*/ 386 w 3366"/>
                <a:gd name="T101" fmla="*/ 7638 h 7708"/>
                <a:gd name="T102" fmla="*/ 1945 w 3366"/>
                <a:gd name="T103" fmla="*/ 1890 h 7708"/>
                <a:gd name="T104" fmla="*/ 1553 w 3366"/>
                <a:gd name="T105" fmla="*/ 1693 h 7708"/>
                <a:gd name="T106" fmla="*/ 1358 w 3366"/>
                <a:gd name="T107" fmla="*/ 1217 h 7708"/>
                <a:gd name="T108" fmla="*/ 1832 w 3366"/>
                <a:gd name="T109" fmla="*/ 579 h 7708"/>
                <a:gd name="T110" fmla="*/ 2219 w 3366"/>
                <a:gd name="T111" fmla="*/ 577 h 7708"/>
                <a:gd name="T112" fmla="*/ 2616 w 3366"/>
                <a:gd name="T113" fmla="*/ 902 h 7708"/>
                <a:gd name="T114" fmla="*/ 2696 w 3366"/>
                <a:gd name="T115" fmla="*/ 1223 h 7708"/>
                <a:gd name="T116" fmla="*/ 2249 w 3366"/>
                <a:gd name="T117" fmla="*/ 1853 h 7708"/>
                <a:gd name="T118" fmla="*/ 1945 w 3366"/>
                <a:gd name="T119" fmla="*/ 1890 h 7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366" h="7708">
                  <a:moveTo>
                    <a:pt x="386" y="7638"/>
                  </a:moveTo>
                  <a:cubicBezTo>
                    <a:pt x="351" y="7625"/>
                    <a:pt x="302" y="7599"/>
                    <a:pt x="277" y="7581"/>
                  </a:cubicBezTo>
                  <a:cubicBezTo>
                    <a:pt x="224" y="7540"/>
                    <a:pt x="172" y="7445"/>
                    <a:pt x="162" y="7370"/>
                  </a:cubicBezTo>
                  <a:cubicBezTo>
                    <a:pt x="154" y="7308"/>
                    <a:pt x="218" y="6644"/>
                    <a:pt x="264" y="6317"/>
                  </a:cubicBezTo>
                  <a:cubicBezTo>
                    <a:pt x="343" y="5751"/>
                    <a:pt x="451" y="5247"/>
                    <a:pt x="585" y="4817"/>
                  </a:cubicBezTo>
                  <a:cubicBezTo>
                    <a:pt x="641" y="4639"/>
                    <a:pt x="772" y="4280"/>
                    <a:pt x="807" y="4210"/>
                  </a:cubicBezTo>
                  <a:cubicBezTo>
                    <a:pt x="840" y="4145"/>
                    <a:pt x="864" y="3688"/>
                    <a:pt x="864" y="3129"/>
                  </a:cubicBezTo>
                  <a:lnTo>
                    <a:pt x="864" y="2667"/>
                  </a:lnTo>
                  <a:lnTo>
                    <a:pt x="774" y="2517"/>
                  </a:lnTo>
                  <a:cubicBezTo>
                    <a:pt x="447" y="1967"/>
                    <a:pt x="178" y="1259"/>
                    <a:pt x="50" y="611"/>
                  </a:cubicBezTo>
                  <a:cubicBezTo>
                    <a:pt x="0" y="357"/>
                    <a:pt x="45" y="216"/>
                    <a:pt x="210" y="110"/>
                  </a:cubicBezTo>
                  <a:cubicBezTo>
                    <a:pt x="380" y="0"/>
                    <a:pt x="573" y="16"/>
                    <a:pt x="688" y="150"/>
                  </a:cubicBezTo>
                  <a:cubicBezTo>
                    <a:pt x="737" y="208"/>
                    <a:pt x="747" y="237"/>
                    <a:pt x="806" y="504"/>
                  </a:cubicBezTo>
                  <a:cubicBezTo>
                    <a:pt x="913" y="980"/>
                    <a:pt x="1045" y="1365"/>
                    <a:pt x="1242" y="1773"/>
                  </a:cubicBezTo>
                  <a:cubicBezTo>
                    <a:pt x="1281" y="1852"/>
                    <a:pt x="1313" y="1918"/>
                    <a:pt x="1315" y="1921"/>
                  </a:cubicBezTo>
                  <a:cubicBezTo>
                    <a:pt x="1317" y="1923"/>
                    <a:pt x="1357" y="1916"/>
                    <a:pt x="1406" y="1905"/>
                  </a:cubicBezTo>
                  <a:cubicBezTo>
                    <a:pt x="1584" y="1865"/>
                    <a:pt x="1774" y="1886"/>
                    <a:pt x="1922" y="1963"/>
                  </a:cubicBezTo>
                  <a:cubicBezTo>
                    <a:pt x="2014" y="2011"/>
                    <a:pt x="2140" y="2125"/>
                    <a:pt x="2193" y="2208"/>
                  </a:cubicBezTo>
                  <a:cubicBezTo>
                    <a:pt x="2223" y="2254"/>
                    <a:pt x="2243" y="2270"/>
                    <a:pt x="2285" y="2283"/>
                  </a:cubicBezTo>
                  <a:cubicBezTo>
                    <a:pt x="2314" y="2292"/>
                    <a:pt x="2365" y="2322"/>
                    <a:pt x="2397" y="2349"/>
                  </a:cubicBezTo>
                  <a:cubicBezTo>
                    <a:pt x="2429" y="2376"/>
                    <a:pt x="2459" y="2398"/>
                    <a:pt x="2463" y="2398"/>
                  </a:cubicBezTo>
                  <a:cubicBezTo>
                    <a:pt x="2467" y="2398"/>
                    <a:pt x="2470" y="2384"/>
                    <a:pt x="2470" y="2366"/>
                  </a:cubicBezTo>
                  <a:cubicBezTo>
                    <a:pt x="2470" y="2273"/>
                    <a:pt x="2562" y="2153"/>
                    <a:pt x="2676" y="2097"/>
                  </a:cubicBezTo>
                  <a:cubicBezTo>
                    <a:pt x="2745" y="2063"/>
                    <a:pt x="2771" y="2057"/>
                    <a:pt x="2854" y="2056"/>
                  </a:cubicBezTo>
                  <a:cubicBezTo>
                    <a:pt x="3006" y="2056"/>
                    <a:pt x="3116" y="2117"/>
                    <a:pt x="3177" y="2237"/>
                  </a:cubicBezTo>
                  <a:cubicBezTo>
                    <a:pt x="3234" y="2349"/>
                    <a:pt x="3285" y="2628"/>
                    <a:pt x="3338" y="3114"/>
                  </a:cubicBezTo>
                  <a:cubicBezTo>
                    <a:pt x="3363" y="3344"/>
                    <a:pt x="3366" y="3412"/>
                    <a:pt x="3356" y="3470"/>
                  </a:cubicBezTo>
                  <a:cubicBezTo>
                    <a:pt x="3329" y="3615"/>
                    <a:pt x="3229" y="3739"/>
                    <a:pt x="3105" y="3780"/>
                  </a:cubicBezTo>
                  <a:cubicBezTo>
                    <a:pt x="3025" y="3806"/>
                    <a:pt x="2905" y="3799"/>
                    <a:pt x="2829" y="3762"/>
                  </a:cubicBezTo>
                  <a:cubicBezTo>
                    <a:pt x="2799" y="3747"/>
                    <a:pt x="2678" y="3651"/>
                    <a:pt x="2560" y="3548"/>
                  </a:cubicBezTo>
                  <a:cubicBezTo>
                    <a:pt x="2442" y="3445"/>
                    <a:pt x="2339" y="3360"/>
                    <a:pt x="2332" y="3360"/>
                  </a:cubicBezTo>
                  <a:cubicBezTo>
                    <a:pt x="2325" y="3360"/>
                    <a:pt x="2320" y="3416"/>
                    <a:pt x="2320" y="3507"/>
                  </a:cubicBezTo>
                  <a:cubicBezTo>
                    <a:pt x="2320" y="3736"/>
                    <a:pt x="2281" y="4306"/>
                    <a:pt x="2255" y="4460"/>
                  </a:cubicBezTo>
                  <a:cubicBezTo>
                    <a:pt x="2248" y="4505"/>
                    <a:pt x="2230" y="4570"/>
                    <a:pt x="2217" y="4604"/>
                  </a:cubicBezTo>
                  <a:cubicBezTo>
                    <a:pt x="2195" y="4661"/>
                    <a:pt x="2194" y="4678"/>
                    <a:pt x="2206" y="4785"/>
                  </a:cubicBezTo>
                  <a:cubicBezTo>
                    <a:pt x="2214" y="4851"/>
                    <a:pt x="2229" y="5022"/>
                    <a:pt x="2239" y="5167"/>
                  </a:cubicBezTo>
                  <a:cubicBezTo>
                    <a:pt x="2273" y="5630"/>
                    <a:pt x="2344" y="6462"/>
                    <a:pt x="2363" y="6617"/>
                  </a:cubicBezTo>
                  <a:cubicBezTo>
                    <a:pt x="2407" y="6959"/>
                    <a:pt x="2432" y="7187"/>
                    <a:pt x="2432" y="7225"/>
                  </a:cubicBezTo>
                  <a:cubicBezTo>
                    <a:pt x="2432" y="7247"/>
                    <a:pt x="2423" y="7298"/>
                    <a:pt x="2411" y="7339"/>
                  </a:cubicBezTo>
                  <a:cubicBezTo>
                    <a:pt x="2383" y="7440"/>
                    <a:pt x="2289" y="7542"/>
                    <a:pt x="2180" y="7592"/>
                  </a:cubicBezTo>
                  <a:cubicBezTo>
                    <a:pt x="2074" y="7641"/>
                    <a:pt x="1943" y="7644"/>
                    <a:pt x="1854" y="7600"/>
                  </a:cubicBezTo>
                  <a:cubicBezTo>
                    <a:pt x="1787" y="7567"/>
                    <a:pt x="1723" y="7485"/>
                    <a:pt x="1706" y="7412"/>
                  </a:cubicBezTo>
                  <a:cubicBezTo>
                    <a:pt x="1674" y="7267"/>
                    <a:pt x="1574" y="6368"/>
                    <a:pt x="1538" y="5898"/>
                  </a:cubicBezTo>
                  <a:cubicBezTo>
                    <a:pt x="1527" y="5757"/>
                    <a:pt x="1508" y="5521"/>
                    <a:pt x="1494" y="5373"/>
                  </a:cubicBezTo>
                  <a:cubicBezTo>
                    <a:pt x="1481" y="5225"/>
                    <a:pt x="1470" y="5095"/>
                    <a:pt x="1470" y="5085"/>
                  </a:cubicBezTo>
                  <a:cubicBezTo>
                    <a:pt x="1470" y="5071"/>
                    <a:pt x="1447" y="5061"/>
                    <a:pt x="1393" y="5050"/>
                  </a:cubicBezTo>
                  <a:cubicBezTo>
                    <a:pt x="1351" y="5041"/>
                    <a:pt x="1316" y="5035"/>
                    <a:pt x="1315" y="5038"/>
                  </a:cubicBezTo>
                  <a:cubicBezTo>
                    <a:pt x="1308" y="5048"/>
                    <a:pt x="1249" y="5261"/>
                    <a:pt x="1212" y="5410"/>
                  </a:cubicBezTo>
                  <a:cubicBezTo>
                    <a:pt x="1088" y="5895"/>
                    <a:pt x="1004" y="6428"/>
                    <a:pt x="939" y="7123"/>
                  </a:cubicBezTo>
                  <a:cubicBezTo>
                    <a:pt x="928" y="7236"/>
                    <a:pt x="911" y="7358"/>
                    <a:pt x="901" y="7393"/>
                  </a:cubicBezTo>
                  <a:cubicBezTo>
                    <a:pt x="846" y="7584"/>
                    <a:pt x="584" y="7708"/>
                    <a:pt x="386" y="7638"/>
                  </a:cubicBezTo>
                  <a:close/>
                  <a:moveTo>
                    <a:pt x="1945" y="1890"/>
                  </a:moveTo>
                  <a:cubicBezTo>
                    <a:pt x="1809" y="1873"/>
                    <a:pt x="1653" y="1795"/>
                    <a:pt x="1553" y="1693"/>
                  </a:cubicBezTo>
                  <a:cubicBezTo>
                    <a:pt x="1423" y="1562"/>
                    <a:pt x="1358" y="1401"/>
                    <a:pt x="1358" y="1217"/>
                  </a:cubicBezTo>
                  <a:cubicBezTo>
                    <a:pt x="1358" y="929"/>
                    <a:pt x="1548" y="673"/>
                    <a:pt x="1832" y="579"/>
                  </a:cubicBezTo>
                  <a:cubicBezTo>
                    <a:pt x="1923" y="548"/>
                    <a:pt x="2123" y="548"/>
                    <a:pt x="2219" y="577"/>
                  </a:cubicBezTo>
                  <a:cubicBezTo>
                    <a:pt x="2377" y="625"/>
                    <a:pt x="2545" y="763"/>
                    <a:pt x="2616" y="902"/>
                  </a:cubicBezTo>
                  <a:cubicBezTo>
                    <a:pt x="2678" y="1025"/>
                    <a:pt x="2696" y="1097"/>
                    <a:pt x="2696" y="1223"/>
                  </a:cubicBezTo>
                  <a:cubicBezTo>
                    <a:pt x="2696" y="1512"/>
                    <a:pt x="2524" y="1755"/>
                    <a:pt x="2249" y="1853"/>
                  </a:cubicBezTo>
                  <a:cubicBezTo>
                    <a:pt x="2164" y="1884"/>
                    <a:pt x="2028" y="1900"/>
                    <a:pt x="1945" y="1890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1" name="Oval 10">
            <a:extLst>
              <a:ext uri="{FF2B5EF4-FFF2-40B4-BE49-F238E27FC236}">
                <a16:creationId xmlns:a16="http://schemas.microsoft.com/office/drawing/2014/main" id="{20EE7300-1920-4D9C-A57E-45AB462C9AD0}"/>
              </a:ext>
            </a:extLst>
          </p:cNvPr>
          <p:cNvSpPr/>
          <p:nvPr/>
        </p:nvSpPr>
        <p:spPr>
          <a:xfrm>
            <a:off x="9010526" y="3433037"/>
            <a:ext cx="298889" cy="298889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accent4"/>
              </a:solidFill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2F23C1D0-441F-4DB2-ACF2-E2DD29D0057B}"/>
              </a:ext>
            </a:extLst>
          </p:cNvPr>
          <p:cNvSpPr/>
          <p:nvPr/>
        </p:nvSpPr>
        <p:spPr>
          <a:xfrm>
            <a:off x="8248963" y="4331573"/>
            <a:ext cx="298889" cy="298889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58777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78E8C8-198C-41DA-9417-3C096B5546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00" y="230315"/>
            <a:ext cx="10820400" cy="584775"/>
          </a:xfrm>
        </p:spPr>
        <p:txBody>
          <a:bodyPr/>
          <a:lstStyle/>
          <a:p>
            <a:r>
              <a:rPr lang="en-IN"/>
              <a:t>Our Process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6C2A64-52B3-4BB2-B8C9-4B43957782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IN"/>
              <a:t>Add your subtitle here</a:t>
            </a:r>
            <a:endParaRPr lang="en-IN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17E3BD36-66A5-4CF1-BE24-5265DA40CF4A}"/>
              </a:ext>
            </a:extLst>
          </p:cNvPr>
          <p:cNvSpPr/>
          <p:nvPr/>
        </p:nvSpPr>
        <p:spPr>
          <a:xfrm>
            <a:off x="3655539" y="3733144"/>
            <a:ext cx="2329543" cy="2391557"/>
          </a:xfrm>
          <a:custGeom>
            <a:avLst/>
            <a:gdLst>
              <a:gd name="connsiteX0" fmla="*/ 3132 w 2329543"/>
              <a:gd name="connsiteY0" fmla="*/ 0 h 2391557"/>
              <a:gd name="connsiteX1" fmla="*/ 2329543 w 2329543"/>
              <a:gd name="connsiteY1" fmla="*/ 0 h 2391557"/>
              <a:gd name="connsiteX2" fmla="*/ 2329543 w 2329543"/>
              <a:gd name="connsiteY2" fmla="*/ 2391557 h 2391557"/>
              <a:gd name="connsiteX3" fmla="*/ 0 w 2329543"/>
              <a:gd name="connsiteY3" fmla="*/ 62014 h 2391557"/>
              <a:gd name="connsiteX4" fmla="*/ 3132 w 2329543"/>
              <a:gd name="connsiteY4" fmla="*/ 0 h 23915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29543" h="2391557">
                <a:moveTo>
                  <a:pt x="3132" y="0"/>
                </a:moveTo>
                <a:lnTo>
                  <a:pt x="2329543" y="0"/>
                </a:lnTo>
                <a:lnTo>
                  <a:pt x="2329543" y="2391557"/>
                </a:lnTo>
                <a:cubicBezTo>
                  <a:pt x="1042972" y="2391557"/>
                  <a:pt x="0" y="1348585"/>
                  <a:pt x="0" y="62014"/>
                </a:cubicBezTo>
                <a:lnTo>
                  <a:pt x="313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8800" dirty="0" err="1">
              <a:solidFill>
                <a:schemeClr val="bg1"/>
              </a:solidFill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BB4D47BD-5C09-407A-8303-FCF8C4FADF46}"/>
              </a:ext>
            </a:extLst>
          </p:cNvPr>
          <p:cNvSpPr/>
          <p:nvPr/>
        </p:nvSpPr>
        <p:spPr>
          <a:xfrm>
            <a:off x="6101194" y="3733144"/>
            <a:ext cx="2329543" cy="2391557"/>
          </a:xfrm>
          <a:custGeom>
            <a:avLst/>
            <a:gdLst>
              <a:gd name="connsiteX0" fmla="*/ 0 w 2329543"/>
              <a:gd name="connsiteY0" fmla="*/ 0 h 2391557"/>
              <a:gd name="connsiteX1" fmla="*/ 2326412 w 2329543"/>
              <a:gd name="connsiteY1" fmla="*/ 0 h 2391557"/>
              <a:gd name="connsiteX2" fmla="*/ 2329543 w 2329543"/>
              <a:gd name="connsiteY2" fmla="*/ 62014 h 2391557"/>
              <a:gd name="connsiteX3" fmla="*/ 0 w 2329543"/>
              <a:gd name="connsiteY3" fmla="*/ 2391557 h 2391557"/>
              <a:gd name="connsiteX4" fmla="*/ 0 w 2329543"/>
              <a:gd name="connsiteY4" fmla="*/ 0 h 23915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29543" h="2391557">
                <a:moveTo>
                  <a:pt x="0" y="0"/>
                </a:moveTo>
                <a:lnTo>
                  <a:pt x="2326412" y="0"/>
                </a:lnTo>
                <a:lnTo>
                  <a:pt x="2329543" y="62014"/>
                </a:lnTo>
                <a:cubicBezTo>
                  <a:pt x="2329543" y="1348585"/>
                  <a:pt x="1286571" y="2391557"/>
                  <a:pt x="0" y="2391557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4000" dirty="0" err="1">
              <a:solidFill>
                <a:schemeClr val="bg1"/>
              </a:solidFill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84DD17E7-E569-4AEC-9B29-BB24CB1AB527}"/>
              </a:ext>
            </a:extLst>
          </p:cNvPr>
          <p:cNvSpPr/>
          <p:nvPr/>
        </p:nvSpPr>
        <p:spPr>
          <a:xfrm>
            <a:off x="3658671" y="1305959"/>
            <a:ext cx="2326411" cy="2267529"/>
          </a:xfrm>
          <a:custGeom>
            <a:avLst/>
            <a:gdLst>
              <a:gd name="connsiteX0" fmla="*/ 2326411 w 2326411"/>
              <a:gd name="connsiteY0" fmla="*/ 0 h 2267529"/>
              <a:gd name="connsiteX1" fmla="*/ 2326411 w 2326411"/>
              <a:gd name="connsiteY1" fmla="*/ 2267529 h 2267529"/>
              <a:gd name="connsiteX2" fmla="*/ 0 w 2326411"/>
              <a:gd name="connsiteY2" fmla="*/ 2267529 h 2267529"/>
              <a:gd name="connsiteX3" fmla="*/ 8895 w 2326411"/>
              <a:gd name="connsiteY3" fmla="*/ 2091361 h 2267529"/>
              <a:gd name="connsiteX4" fmla="*/ 2326411 w 2326411"/>
              <a:gd name="connsiteY4" fmla="*/ 0 h 2267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26411" h="2267529">
                <a:moveTo>
                  <a:pt x="2326411" y="0"/>
                </a:moveTo>
                <a:lnTo>
                  <a:pt x="2326411" y="2267529"/>
                </a:lnTo>
                <a:lnTo>
                  <a:pt x="0" y="2267529"/>
                </a:lnTo>
                <a:lnTo>
                  <a:pt x="8895" y="2091361"/>
                </a:lnTo>
                <a:cubicBezTo>
                  <a:pt x="128191" y="916675"/>
                  <a:pt x="1120251" y="0"/>
                  <a:pt x="232641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4000" dirty="0" err="1">
              <a:solidFill>
                <a:schemeClr val="bg1"/>
              </a:solidFill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BC1993B-2400-421A-BAC5-CF9960221D4D}"/>
              </a:ext>
            </a:extLst>
          </p:cNvPr>
          <p:cNvSpPr/>
          <p:nvPr/>
        </p:nvSpPr>
        <p:spPr>
          <a:xfrm>
            <a:off x="6101194" y="1305959"/>
            <a:ext cx="2326412" cy="2267529"/>
          </a:xfrm>
          <a:custGeom>
            <a:avLst/>
            <a:gdLst>
              <a:gd name="connsiteX0" fmla="*/ 0 w 2326412"/>
              <a:gd name="connsiteY0" fmla="*/ 0 h 2267529"/>
              <a:gd name="connsiteX1" fmla="*/ 2317516 w 2326412"/>
              <a:gd name="connsiteY1" fmla="*/ 2091361 h 2267529"/>
              <a:gd name="connsiteX2" fmla="*/ 2326412 w 2326412"/>
              <a:gd name="connsiteY2" fmla="*/ 2267529 h 2267529"/>
              <a:gd name="connsiteX3" fmla="*/ 0 w 2326412"/>
              <a:gd name="connsiteY3" fmla="*/ 2267529 h 2267529"/>
              <a:gd name="connsiteX4" fmla="*/ 0 w 2326412"/>
              <a:gd name="connsiteY4" fmla="*/ 0 h 2267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26412" h="2267529">
                <a:moveTo>
                  <a:pt x="0" y="0"/>
                </a:moveTo>
                <a:cubicBezTo>
                  <a:pt x="1206161" y="0"/>
                  <a:pt x="2198220" y="916675"/>
                  <a:pt x="2317516" y="2091361"/>
                </a:cubicBezTo>
                <a:lnTo>
                  <a:pt x="2326412" y="2267529"/>
                </a:lnTo>
                <a:lnTo>
                  <a:pt x="0" y="2267529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4000" dirty="0" err="1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9605CDC-6465-40E6-A85F-4FF3E1D90254}"/>
              </a:ext>
            </a:extLst>
          </p:cNvPr>
          <p:cNvSpPr/>
          <p:nvPr/>
        </p:nvSpPr>
        <p:spPr>
          <a:xfrm>
            <a:off x="4669676" y="1933076"/>
            <a:ext cx="756938" cy="14465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8800" dirty="0">
                <a:solidFill>
                  <a:schemeClr val="bg1"/>
                </a:solidFill>
                <a:latin typeface="+mn-lt"/>
              </a:rPr>
              <a:t>1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88BDCE6-88CF-43FA-8261-8B39713E926F}"/>
              </a:ext>
            </a:extLst>
          </p:cNvPr>
          <p:cNvSpPr/>
          <p:nvPr/>
        </p:nvSpPr>
        <p:spPr>
          <a:xfrm>
            <a:off x="6669715" y="1933076"/>
            <a:ext cx="756938" cy="14465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8800">
                <a:solidFill>
                  <a:schemeClr val="bg1"/>
                </a:solidFill>
                <a:latin typeface="+mn-lt"/>
              </a:rPr>
              <a:t>2</a:t>
            </a:r>
            <a:endParaRPr lang="en-IN" sz="8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0A6E051-5F46-4B73-A900-91D79A14D665}"/>
              </a:ext>
            </a:extLst>
          </p:cNvPr>
          <p:cNvSpPr/>
          <p:nvPr/>
        </p:nvSpPr>
        <p:spPr>
          <a:xfrm>
            <a:off x="4669676" y="4086728"/>
            <a:ext cx="756938" cy="14465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8800" dirty="0">
                <a:solidFill>
                  <a:schemeClr val="bg1"/>
                </a:solidFill>
                <a:latin typeface="+mn-lt"/>
              </a:rPr>
              <a:t>3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F754FAB-B13F-49C8-B079-A0F0DA095FCC}"/>
              </a:ext>
            </a:extLst>
          </p:cNvPr>
          <p:cNvSpPr/>
          <p:nvPr/>
        </p:nvSpPr>
        <p:spPr>
          <a:xfrm>
            <a:off x="6669715" y="4086728"/>
            <a:ext cx="756938" cy="14465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8800">
                <a:solidFill>
                  <a:schemeClr val="bg1"/>
                </a:solidFill>
                <a:latin typeface="+mn-lt"/>
              </a:rPr>
              <a:t>4</a:t>
            </a:r>
            <a:endParaRPr lang="en-IN" sz="8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842E4CA-302F-443A-AC75-3DAAC48ABF82}"/>
              </a:ext>
            </a:extLst>
          </p:cNvPr>
          <p:cNvSpPr/>
          <p:nvPr/>
        </p:nvSpPr>
        <p:spPr>
          <a:xfrm>
            <a:off x="643825" y="1378686"/>
            <a:ext cx="300445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Your title here</a:t>
            </a:r>
            <a:endParaRPr lang="en-IN" sz="20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14EE8CA-A79C-4CD2-8128-D4570ADA03C8}"/>
              </a:ext>
            </a:extLst>
          </p:cNvPr>
          <p:cNvSpPr/>
          <p:nvPr/>
        </p:nvSpPr>
        <p:spPr>
          <a:xfrm>
            <a:off x="643825" y="1815609"/>
            <a:ext cx="30044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Lorem ipsum </a:t>
            </a:r>
            <a:r>
              <a:rPr lang="en-IN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dolor</a:t>
            </a: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sit </a:t>
            </a:r>
            <a:r>
              <a:rPr lang="en-IN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amet</a:t>
            </a: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, </a:t>
            </a:r>
            <a:r>
              <a:rPr lang="en-IN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consectetur</a:t>
            </a: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</a:t>
            </a:r>
            <a:r>
              <a:rPr lang="en-IN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adipiscing</a:t>
            </a: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</a:t>
            </a:r>
            <a:r>
              <a:rPr lang="en-IN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elit</a:t>
            </a: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 </a:t>
            </a:r>
            <a:r>
              <a:rPr lang="en-IN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Sed</a:t>
            </a: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do </a:t>
            </a:r>
            <a:r>
              <a:rPr lang="en-IN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eiusmod</a:t>
            </a: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</a:t>
            </a:r>
            <a:r>
              <a:rPr lang="en-IN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tempor</a:t>
            </a: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</a:t>
            </a:r>
            <a:r>
              <a:rPr lang="en-IN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incididunt</a:t>
            </a: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</a:t>
            </a:r>
            <a:r>
              <a:rPr lang="en-IN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ut</a:t>
            </a: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</a:t>
            </a:r>
            <a:r>
              <a:rPr lang="en-IN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labore</a:t>
            </a: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et dolore magna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023652A-F384-4A4E-86A8-A3E357FD171D}"/>
              </a:ext>
            </a:extLst>
          </p:cNvPr>
          <p:cNvSpPr/>
          <p:nvPr/>
        </p:nvSpPr>
        <p:spPr>
          <a:xfrm>
            <a:off x="643825" y="3751790"/>
            <a:ext cx="300445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Your title here</a:t>
            </a:r>
            <a:endParaRPr lang="en-IN" sz="20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4A414D4-C70D-49B0-A9B7-3841D1BE548D}"/>
              </a:ext>
            </a:extLst>
          </p:cNvPr>
          <p:cNvSpPr/>
          <p:nvPr/>
        </p:nvSpPr>
        <p:spPr>
          <a:xfrm>
            <a:off x="643825" y="4188713"/>
            <a:ext cx="30044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Lorem ipsum </a:t>
            </a:r>
            <a:r>
              <a:rPr lang="en-IN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dolor</a:t>
            </a: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sit </a:t>
            </a:r>
            <a:r>
              <a:rPr lang="en-IN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amet</a:t>
            </a: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, </a:t>
            </a:r>
            <a:r>
              <a:rPr lang="en-IN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consectetur</a:t>
            </a: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</a:t>
            </a:r>
            <a:r>
              <a:rPr lang="en-IN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adipiscing</a:t>
            </a: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</a:t>
            </a:r>
            <a:r>
              <a:rPr lang="en-IN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elit</a:t>
            </a: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 </a:t>
            </a:r>
            <a:r>
              <a:rPr lang="en-IN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Sed</a:t>
            </a: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do </a:t>
            </a:r>
            <a:r>
              <a:rPr lang="en-IN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eiusmod</a:t>
            </a: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</a:t>
            </a:r>
            <a:r>
              <a:rPr lang="en-IN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tempor</a:t>
            </a: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</a:t>
            </a:r>
            <a:r>
              <a:rPr lang="en-IN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incididunt</a:t>
            </a: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</a:t>
            </a:r>
            <a:r>
              <a:rPr lang="en-IN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ut</a:t>
            </a: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</a:t>
            </a:r>
            <a:r>
              <a:rPr lang="en-IN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labore</a:t>
            </a: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et dolore magna 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7FA9DB6-74E4-4427-8BC1-86100297B281}"/>
              </a:ext>
            </a:extLst>
          </p:cNvPr>
          <p:cNvSpPr/>
          <p:nvPr/>
        </p:nvSpPr>
        <p:spPr>
          <a:xfrm>
            <a:off x="8543718" y="1378686"/>
            <a:ext cx="300445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Your title here</a:t>
            </a:r>
            <a:endParaRPr lang="en-IN" sz="20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8446674-0545-4CFC-8A41-05EB38B6EDD1}"/>
              </a:ext>
            </a:extLst>
          </p:cNvPr>
          <p:cNvSpPr/>
          <p:nvPr/>
        </p:nvSpPr>
        <p:spPr>
          <a:xfrm>
            <a:off x="8543718" y="1815609"/>
            <a:ext cx="30044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Lorem ipsum </a:t>
            </a:r>
            <a:r>
              <a:rPr lang="en-IN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dolor</a:t>
            </a: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sit </a:t>
            </a:r>
            <a:r>
              <a:rPr lang="en-IN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amet</a:t>
            </a: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, </a:t>
            </a:r>
            <a:r>
              <a:rPr lang="en-IN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consectetur</a:t>
            </a: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</a:t>
            </a:r>
            <a:r>
              <a:rPr lang="en-IN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adipiscing</a:t>
            </a: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</a:t>
            </a:r>
            <a:r>
              <a:rPr lang="en-IN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elit</a:t>
            </a: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 </a:t>
            </a:r>
            <a:r>
              <a:rPr lang="en-IN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Sed</a:t>
            </a: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do </a:t>
            </a:r>
            <a:r>
              <a:rPr lang="en-IN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eiusmod</a:t>
            </a: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</a:t>
            </a:r>
            <a:r>
              <a:rPr lang="en-IN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tempor</a:t>
            </a: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</a:t>
            </a:r>
            <a:r>
              <a:rPr lang="en-IN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incididunt</a:t>
            </a: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</a:t>
            </a:r>
            <a:r>
              <a:rPr lang="en-IN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ut</a:t>
            </a: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</a:t>
            </a:r>
            <a:r>
              <a:rPr lang="en-IN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labore</a:t>
            </a: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et dolore magna 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F3CAD7F-EDD4-44FF-8990-3000EFF11A38}"/>
              </a:ext>
            </a:extLst>
          </p:cNvPr>
          <p:cNvSpPr/>
          <p:nvPr/>
        </p:nvSpPr>
        <p:spPr>
          <a:xfrm>
            <a:off x="8543718" y="3751790"/>
            <a:ext cx="300445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Your title here</a:t>
            </a:r>
            <a:endParaRPr lang="en-IN" sz="20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47477D8-CD1C-4A14-B2AE-8752F13E978E}"/>
              </a:ext>
            </a:extLst>
          </p:cNvPr>
          <p:cNvSpPr/>
          <p:nvPr/>
        </p:nvSpPr>
        <p:spPr>
          <a:xfrm>
            <a:off x="8543718" y="4188713"/>
            <a:ext cx="30044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Lorem ipsum </a:t>
            </a:r>
            <a:r>
              <a:rPr lang="en-IN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dolor</a:t>
            </a: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sit </a:t>
            </a:r>
            <a:r>
              <a:rPr lang="en-IN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amet</a:t>
            </a: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, </a:t>
            </a:r>
            <a:r>
              <a:rPr lang="en-IN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consectetur</a:t>
            </a: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</a:t>
            </a:r>
            <a:r>
              <a:rPr lang="en-IN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adipiscing</a:t>
            </a: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</a:t>
            </a:r>
            <a:r>
              <a:rPr lang="en-IN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elit</a:t>
            </a: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 </a:t>
            </a:r>
            <a:r>
              <a:rPr lang="en-IN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Sed</a:t>
            </a: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do </a:t>
            </a:r>
            <a:r>
              <a:rPr lang="en-IN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eiusmod</a:t>
            </a: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</a:t>
            </a:r>
            <a:r>
              <a:rPr lang="en-IN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tempor</a:t>
            </a: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</a:t>
            </a:r>
            <a:r>
              <a:rPr lang="en-IN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incididunt</a:t>
            </a: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</a:t>
            </a:r>
            <a:r>
              <a:rPr lang="en-IN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ut</a:t>
            </a: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</a:t>
            </a:r>
            <a:r>
              <a:rPr lang="en-IN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labore</a:t>
            </a: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et dolore magna </a:t>
            </a:r>
          </a:p>
        </p:txBody>
      </p:sp>
    </p:spTree>
    <p:extLst>
      <p:ext uri="{BB962C8B-B14F-4D97-AF65-F5344CB8AC3E}">
        <p14:creationId xmlns:p14="http://schemas.microsoft.com/office/powerpoint/2010/main" val="18524090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44">
            <a:extLst>
              <a:ext uri="{FF2B5EF4-FFF2-40B4-BE49-F238E27FC236}">
                <a16:creationId xmlns:a16="http://schemas.microsoft.com/office/drawing/2014/main" id="{313419FC-C0FE-4589-AD04-81C3C43462EE}"/>
              </a:ext>
            </a:extLst>
          </p:cNvPr>
          <p:cNvSpPr/>
          <p:nvPr/>
        </p:nvSpPr>
        <p:spPr>
          <a:xfrm>
            <a:off x="-1" y="3444895"/>
            <a:ext cx="12198821" cy="938058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2000"/>
                  <a:lumOff val="28000"/>
                  <a:alpha val="15000"/>
                </a:schemeClr>
              </a:gs>
              <a:gs pos="71000">
                <a:schemeClr val="bg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FF302A7-D67D-4A03-9594-0A1DEB70C1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4-Year </a:t>
            </a:r>
            <a:r>
              <a:rPr lang="en-IN" dirty="0"/>
              <a:t>Timeli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8A309EE-2F31-4B40-8F5D-764FE17334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IN"/>
              <a:t>Add your subtitle here</a:t>
            </a:r>
            <a:endParaRPr lang="en-IN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2D7E882-A191-4154-B782-B7EF0F64AF87}"/>
              </a:ext>
            </a:extLst>
          </p:cNvPr>
          <p:cNvCxnSpPr>
            <a:cxnSpLocks/>
          </p:cNvCxnSpPr>
          <p:nvPr/>
        </p:nvCxnSpPr>
        <p:spPr>
          <a:xfrm>
            <a:off x="0" y="3431757"/>
            <a:ext cx="12192000" cy="0"/>
          </a:xfrm>
          <a:prstGeom prst="line">
            <a:avLst/>
          </a:prstGeom>
          <a:ln w="698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18">
            <a:extLst>
              <a:ext uri="{FF2B5EF4-FFF2-40B4-BE49-F238E27FC236}">
                <a16:creationId xmlns:a16="http://schemas.microsoft.com/office/drawing/2014/main" id="{955EFA10-A1E0-4D49-89BC-85B23D4D4FBF}"/>
              </a:ext>
            </a:extLst>
          </p:cNvPr>
          <p:cNvSpPr txBox="1"/>
          <p:nvPr/>
        </p:nvSpPr>
        <p:spPr>
          <a:xfrm>
            <a:off x="3492185" y="3517659"/>
            <a:ext cx="22890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800" b="1" dirty="0">
                <a:solidFill>
                  <a:schemeClr val="accent2"/>
                </a:solidFill>
              </a:rPr>
              <a:t>2019</a:t>
            </a:r>
          </a:p>
        </p:txBody>
      </p:sp>
      <p:sp>
        <p:nvSpPr>
          <p:cNvPr id="50" name="TextBox 56">
            <a:extLst>
              <a:ext uri="{FF2B5EF4-FFF2-40B4-BE49-F238E27FC236}">
                <a16:creationId xmlns:a16="http://schemas.microsoft.com/office/drawing/2014/main" id="{F6CFD527-8E24-48A6-AA80-4F6D97B59AEB}"/>
              </a:ext>
            </a:extLst>
          </p:cNvPr>
          <p:cNvSpPr txBox="1"/>
          <p:nvPr/>
        </p:nvSpPr>
        <p:spPr>
          <a:xfrm>
            <a:off x="664647" y="4024800"/>
            <a:ext cx="228904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Your title here</a:t>
            </a:r>
          </a:p>
        </p:txBody>
      </p:sp>
      <p:sp>
        <p:nvSpPr>
          <p:cNvPr id="51" name="TextBox 57">
            <a:extLst>
              <a:ext uri="{FF2B5EF4-FFF2-40B4-BE49-F238E27FC236}">
                <a16:creationId xmlns:a16="http://schemas.microsoft.com/office/drawing/2014/main" id="{7EADB6A3-9227-437A-882E-E14C7EA2FDD0}"/>
              </a:ext>
            </a:extLst>
          </p:cNvPr>
          <p:cNvSpPr txBox="1"/>
          <p:nvPr/>
        </p:nvSpPr>
        <p:spPr>
          <a:xfrm>
            <a:off x="884305" y="4382953"/>
            <a:ext cx="1849733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ed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o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iusmod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mpor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ncididun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u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labore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et dolore magna </a:t>
            </a:r>
          </a:p>
        </p:txBody>
      </p:sp>
      <p:sp>
        <p:nvSpPr>
          <p:cNvPr id="13" name="TextBox 58">
            <a:extLst>
              <a:ext uri="{FF2B5EF4-FFF2-40B4-BE49-F238E27FC236}">
                <a16:creationId xmlns:a16="http://schemas.microsoft.com/office/drawing/2014/main" id="{80E36C5F-62F8-4BFF-B2B0-1EFBEC3A6CEF}"/>
              </a:ext>
            </a:extLst>
          </p:cNvPr>
          <p:cNvSpPr txBox="1"/>
          <p:nvPr/>
        </p:nvSpPr>
        <p:spPr>
          <a:xfrm>
            <a:off x="664647" y="3517659"/>
            <a:ext cx="22890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800" b="1" dirty="0">
                <a:solidFill>
                  <a:schemeClr val="accent1"/>
                </a:solidFill>
              </a:rPr>
              <a:t>2018</a:t>
            </a:r>
          </a:p>
        </p:txBody>
      </p:sp>
      <p:sp>
        <p:nvSpPr>
          <p:cNvPr id="39" name="Teardrop 38">
            <a:extLst>
              <a:ext uri="{FF2B5EF4-FFF2-40B4-BE49-F238E27FC236}">
                <a16:creationId xmlns:a16="http://schemas.microsoft.com/office/drawing/2014/main" id="{8F41E237-DA71-4E2E-B9FB-5E6268A60209}"/>
              </a:ext>
            </a:extLst>
          </p:cNvPr>
          <p:cNvSpPr/>
          <p:nvPr/>
        </p:nvSpPr>
        <p:spPr>
          <a:xfrm rot="8100000">
            <a:off x="1171331" y="1564418"/>
            <a:ext cx="1275682" cy="1275682"/>
          </a:xfrm>
          <a:prstGeom prst="teardrop">
            <a:avLst>
              <a:gd name="adj" fmla="val 109962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F0E6492E-6F2E-42DA-8BF5-8E10ACC940B6}"/>
              </a:ext>
            </a:extLst>
          </p:cNvPr>
          <p:cNvSpPr/>
          <p:nvPr/>
        </p:nvSpPr>
        <p:spPr>
          <a:xfrm>
            <a:off x="1365680" y="1757416"/>
            <a:ext cx="889686" cy="889686"/>
          </a:xfrm>
          <a:prstGeom prst="ellipse">
            <a:avLst/>
          </a:prstGeom>
          <a:gradFill flip="none" rotWithShape="1">
            <a:gsLst>
              <a:gs pos="100000">
                <a:srgbClr val="BDC3C7"/>
              </a:gs>
              <a:gs pos="0">
                <a:srgbClr val="ECF0F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381000" dist="38100" dir="2700000" sx="101000" sy="101000" algn="tl" rotWithShape="0">
              <a:schemeClr val="tx1">
                <a:lumMod val="75000"/>
                <a:lumOff val="25000"/>
                <a:alpha val="40000"/>
              </a:schemeClr>
            </a:outerShdw>
          </a:effectLst>
          <a:scene3d>
            <a:camera prst="orthographicFront"/>
            <a:lightRig rig="threePt" dir="t"/>
          </a:scene3d>
          <a:sp3d>
            <a:bevelT w="279400" h="1905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8" name="TextBox 116">
            <a:extLst>
              <a:ext uri="{FF2B5EF4-FFF2-40B4-BE49-F238E27FC236}">
                <a16:creationId xmlns:a16="http://schemas.microsoft.com/office/drawing/2014/main" id="{EBCDC1B9-052C-4632-93C4-363E17E42BB3}"/>
              </a:ext>
            </a:extLst>
          </p:cNvPr>
          <p:cNvSpPr txBox="1"/>
          <p:nvPr/>
        </p:nvSpPr>
        <p:spPr>
          <a:xfrm>
            <a:off x="3492185" y="4024800"/>
            <a:ext cx="228904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Your title here</a:t>
            </a:r>
          </a:p>
        </p:txBody>
      </p:sp>
      <p:sp>
        <p:nvSpPr>
          <p:cNvPr id="49" name="TextBox 117">
            <a:extLst>
              <a:ext uri="{FF2B5EF4-FFF2-40B4-BE49-F238E27FC236}">
                <a16:creationId xmlns:a16="http://schemas.microsoft.com/office/drawing/2014/main" id="{099EA510-A7AF-45EE-977B-2587C8A66E5F}"/>
              </a:ext>
            </a:extLst>
          </p:cNvPr>
          <p:cNvSpPr txBox="1"/>
          <p:nvPr/>
        </p:nvSpPr>
        <p:spPr>
          <a:xfrm>
            <a:off x="3711843" y="4382953"/>
            <a:ext cx="1849733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ed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o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iusmod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mpor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ncididun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u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labore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et dolore magna 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FA0BC80-77DE-458B-9ECC-B8FE42384FD4}"/>
              </a:ext>
            </a:extLst>
          </p:cNvPr>
          <p:cNvGrpSpPr/>
          <p:nvPr/>
        </p:nvGrpSpPr>
        <p:grpSpPr>
          <a:xfrm>
            <a:off x="4556016" y="3326210"/>
            <a:ext cx="211094" cy="211094"/>
            <a:chOff x="3855819" y="4248152"/>
            <a:chExt cx="211094" cy="211094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7FC05F39-85C8-4314-A202-8D7B560FED7E}"/>
                </a:ext>
              </a:extLst>
            </p:cNvPr>
            <p:cNvSpPr/>
            <p:nvPr/>
          </p:nvSpPr>
          <p:spPr>
            <a:xfrm>
              <a:off x="3855819" y="4248152"/>
              <a:ext cx="211094" cy="21109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55A9BA2A-67A9-4F64-B916-9491798156A7}"/>
                </a:ext>
              </a:extLst>
            </p:cNvPr>
            <p:cNvSpPr/>
            <p:nvPr/>
          </p:nvSpPr>
          <p:spPr>
            <a:xfrm>
              <a:off x="3886107" y="4278440"/>
              <a:ext cx="150518" cy="15051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  <p:sp>
        <p:nvSpPr>
          <p:cNvPr id="36" name="Teardrop 35">
            <a:extLst>
              <a:ext uri="{FF2B5EF4-FFF2-40B4-BE49-F238E27FC236}">
                <a16:creationId xmlns:a16="http://schemas.microsoft.com/office/drawing/2014/main" id="{1CA5BC31-17A5-4233-9105-915DBBEE9B6B}"/>
              </a:ext>
            </a:extLst>
          </p:cNvPr>
          <p:cNvSpPr/>
          <p:nvPr/>
        </p:nvSpPr>
        <p:spPr>
          <a:xfrm rot="8100000">
            <a:off x="4019627" y="1564418"/>
            <a:ext cx="1275682" cy="1275682"/>
          </a:xfrm>
          <a:prstGeom prst="teardrop">
            <a:avLst>
              <a:gd name="adj" fmla="val 109962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6297A5E8-6CC5-4684-B76E-21A4BEE8212F}"/>
              </a:ext>
            </a:extLst>
          </p:cNvPr>
          <p:cNvSpPr/>
          <p:nvPr/>
        </p:nvSpPr>
        <p:spPr>
          <a:xfrm>
            <a:off x="4213976" y="1757416"/>
            <a:ext cx="889686" cy="889686"/>
          </a:xfrm>
          <a:prstGeom prst="ellipse">
            <a:avLst/>
          </a:prstGeom>
          <a:gradFill flip="none" rotWithShape="1">
            <a:gsLst>
              <a:gs pos="100000">
                <a:srgbClr val="BDC3C7"/>
              </a:gs>
              <a:gs pos="0">
                <a:srgbClr val="ECF0F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381000" dist="38100" dir="2700000" sx="101000" sy="101000" algn="tl" rotWithShape="0">
              <a:schemeClr val="tx1">
                <a:lumMod val="75000"/>
                <a:lumOff val="25000"/>
                <a:alpha val="40000"/>
              </a:schemeClr>
            </a:outerShdw>
          </a:effectLst>
          <a:scene3d>
            <a:camera prst="orthographicFront"/>
            <a:lightRig rig="threePt" dir="t"/>
          </a:scene3d>
          <a:sp3d>
            <a:bevelT w="279400" h="1905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43B31ABD-9313-4606-8BAA-2570DA6395D5}"/>
              </a:ext>
            </a:extLst>
          </p:cNvPr>
          <p:cNvGrpSpPr/>
          <p:nvPr/>
        </p:nvGrpSpPr>
        <p:grpSpPr>
          <a:xfrm>
            <a:off x="1709033" y="3326210"/>
            <a:ext cx="211094" cy="211094"/>
            <a:chOff x="1709032" y="3631010"/>
            <a:chExt cx="211094" cy="211094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BFC788B2-D4C9-483E-B84B-E4B3E4F7FE53}"/>
                </a:ext>
              </a:extLst>
            </p:cNvPr>
            <p:cNvSpPr/>
            <p:nvPr/>
          </p:nvSpPr>
          <p:spPr>
            <a:xfrm>
              <a:off x="1709032" y="3631010"/>
              <a:ext cx="211094" cy="21109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03C504C9-94E1-4D61-887D-B439F903EBB8}"/>
                </a:ext>
              </a:extLst>
            </p:cNvPr>
            <p:cNvSpPr/>
            <p:nvPr/>
          </p:nvSpPr>
          <p:spPr>
            <a:xfrm>
              <a:off x="1739320" y="3661298"/>
              <a:ext cx="150518" cy="15051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34AC93AF-7005-40FA-80BB-15CC5E8A07C4}"/>
              </a:ext>
            </a:extLst>
          </p:cNvPr>
          <p:cNvGrpSpPr/>
          <p:nvPr/>
        </p:nvGrpSpPr>
        <p:grpSpPr>
          <a:xfrm>
            <a:off x="10264850" y="3326210"/>
            <a:ext cx="211094" cy="211094"/>
            <a:chOff x="10264849" y="3631010"/>
            <a:chExt cx="211094" cy="211094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6419626C-374F-47EF-8717-82FA45B93031}"/>
                </a:ext>
              </a:extLst>
            </p:cNvPr>
            <p:cNvSpPr/>
            <p:nvPr/>
          </p:nvSpPr>
          <p:spPr>
            <a:xfrm>
              <a:off x="10264849" y="3631010"/>
              <a:ext cx="211094" cy="21109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0054DAE1-7306-4B2A-A4CA-71452C011939}"/>
                </a:ext>
              </a:extLst>
            </p:cNvPr>
            <p:cNvSpPr/>
            <p:nvPr/>
          </p:nvSpPr>
          <p:spPr>
            <a:xfrm>
              <a:off x="10295137" y="3661298"/>
              <a:ext cx="150518" cy="150518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  <p:sp>
        <p:nvSpPr>
          <p:cNvPr id="42" name="TextBox 128">
            <a:extLst>
              <a:ext uri="{FF2B5EF4-FFF2-40B4-BE49-F238E27FC236}">
                <a16:creationId xmlns:a16="http://schemas.microsoft.com/office/drawing/2014/main" id="{C3065082-4479-4E1C-9B49-FD5D0B73DF22}"/>
              </a:ext>
            </a:extLst>
          </p:cNvPr>
          <p:cNvSpPr txBox="1"/>
          <p:nvPr/>
        </p:nvSpPr>
        <p:spPr>
          <a:xfrm>
            <a:off x="9238305" y="4024800"/>
            <a:ext cx="228904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Your title here</a:t>
            </a:r>
          </a:p>
        </p:txBody>
      </p:sp>
      <p:sp>
        <p:nvSpPr>
          <p:cNvPr id="43" name="TextBox 129">
            <a:extLst>
              <a:ext uri="{FF2B5EF4-FFF2-40B4-BE49-F238E27FC236}">
                <a16:creationId xmlns:a16="http://schemas.microsoft.com/office/drawing/2014/main" id="{A9D8BE9C-63F7-4B62-87F8-365EF5787D7E}"/>
              </a:ext>
            </a:extLst>
          </p:cNvPr>
          <p:cNvSpPr txBox="1"/>
          <p:nvPr/>
        </p:nvSpPr>
        <p:spPr>
          <a:xfrm>
            <a:off x="9457963" y="4382953"/>
            <a:ext cx="1849733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ed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o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iusmod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mpor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ncididun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u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labore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et dolore magna </a:t>
            </a:r>
          </a:p>
        </p:txBody>
      </p:sp>
      <p:sp>
        <p:nvSpPr>
          <p:cNvPr id="21" name="TextBox 130">
            <a:extLst>
              <a:ext uri="{FF2B5EF4-FFF2-40B4-BE49-F238E27FC236}">
                <a16:creationId xmlns:a16="http://schemas.microsoft.com/office/drawing/2014/main" id="{DBF9EB3A-4AD3-4CAC-8D74-6AEA4B78D4E6}"/>
              </a:ext>
            </a:extLst>
          </p:cNvPr>
          <p:cNvSpPr txBox="1"/>
          <p:nvPr/>
        </p:nvSpPr>
        <p:spPr>
          <a:xfrm>
            <a:off x="9238305" y="3517659"/>
            <a:ext cx="22890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800" b="1">
                <a:solidFill>
                  <a:schemeClr val="accent4"/>
                </a:solidFill>
              </a:rPr>
              <a:t>2021</a:t>
            </a:r>
            <a:endParaRPr lang="en-US" sz="2800" b="1" dirty="0">
              <a:solidFill>
                <a:schemeClr val="accent4"/>
              </a:solidFill>
            </a:endParaRPr>
          </a:p>
        </p:txBody>
      </p:sp>
      <p:sp>
        <p:nvSpPr>
          <p:cNvPr id="33" name="Teardrop 32">
            <a:extLst>
              <a:ext uri="{FF2B5EF4-FFF2-40B4-BE49-F238E27FC236}">
                <a16:creationId xmlns:a16="http://schemas.microsoft.com/office/drawing/2014/main" id="{71572BA2-90F9-4248-827B-F8EC61074477}"/>
              </a:ext>
            </a:extLst>
          </p:cNvPr>
          <p:cNvSpPr/>
          <p:nvPr/>
        </p:nvSpPr>
        <p:spPr>
          <a:xfrm rot="8100000">
            <a:off x="9726966" y="1564418"/>
            <a:ext cx="1275682" cy="1275682"/>
          </a:xfrm>
          <a:prstGeom prst="teardrop">
            <a:avLst>
              <a:gd name="adj" fmla="val 109962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B90B3DC9-837A-471D-A7B9-733D4F909D42}"/>
              </a:ext>
            </a:extLst>
          </p:cNvPr>
          <p:cNvSpPr/>
          <p:nvPr/>
        </p:nvSpPr>
        <p:spPr>
          <a:xfrm>
            <a:off x="9921315" y="1757416"/>
            <a:ext cx="889686" cy="889686"/>
          </a:xfrm>
          <a:prstGeom prst="ellipse">
            <a:avLst/>
          </a:prstGeom>
          <a:gradFill flip="none" rotWithShape="1">
            <a:gsLst>
              <a:gs pos="100000">
                <a:srgbClr val="BDC3C7"/>
              </a:gs>
              <a:gs pos="0">
                <a:srgbClr val="ECF0F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381000" dist="38100" dir="2700000" sx="101000" sy="101000" algn="tl" rotWithShape="0">
              <a:schemeClr val="tx1">
                <a:lumMod val="75000"/>
                <a:lumOff val="25000"/>
                <a:alpha val="40000"/>
              </a:schemeClr>
            </a:outerShdw>
          </a:effectLst>
          <a:scene3d>
            <a:camera prst="orthographicFront"/>
            <a:lightRig rig="threePt" dir="t"/>
          </a:scene3d>
          <a:sp3d>
            <a:bevelT w="279400" h="1905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224C239D-C574-407E-8EDE-21F4365D3545}"/>
              </a:ext>
            </a:extLst>
          </p:cNvPr>
          <p:cNvGrpSpPr/>
          <p:nvPr/>
        </p:nvGrpSpPr>
        <p:grpSpPr>
          <a:xfrm>
            <a:off x="7402194" y="3326210"/>
            <a:ext cx="211094" cy="211094"/>
            <a:chOff x="7402193" y="3631010"/>
            <a:chExt cx="211094" cy="211094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A9CC3F83-2403-4F7D-8ED3-F6A0681A5803}"/>
                </a:ext>
              </a:extLst>
            </p:cNvPr>
            <p:cNvSpPr/>
            <p:nvPr/>
          </p:nvSpPr>
          <p:spPr>
            <a:xfrm>
              <a:off x="7402193" y="3631010"/>
              <a:ext cx="211094" cy="21109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1D80A4CE-7046-423D-B2BA-9FDB76FE5A36}"/>
                </a:ext>
              </a:extLst>
            </p:cNvPr>
            <p:cNvSpPr/>
            <p:nvPr/>
          </p:nvSpPr>
          <p:spPr>
            <a:xfrm>
              <a:off x="7432481" y="3661298"/>
              <a:ext cx="150518" cy="15051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  <p:sp>
        <p:nvSpPr>
          <p:cNvPr id="46" name="TextBox 120">
            <a:extLst>
              <a:ext uri="{FF2B5EF4-FFF2-40B4-BE49-F238E27FC236}">
                <a16:creationId xmlns:a16="http://schemas.microsoft.com/office/drawing/2014/main" id="{74CCA10B-4DCF-4D36-9411-6B4E39515AA4}"/>
              </a:ext>
            </a:extLst>
          </p:cNvPr>
          <p:cNvSpPr txBox="1"/>
          <p:nvPr/>
        </p:nvSpPr>
        <p:spPr>
          <a:xfrm>
            <a:off x="6380419" y="4024800"/>
            <a:ext cx="228904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Your title here</a:t>
            </a:r>
          </a:p>
        </p:txBody>
      </p:sp>
      <p:sp>
        <p:nvSpPr>
          <p:cNvPr id="47" name="TextBox 121">
            <a:extLst>
              <a:ext uri="{FF2B5EF4-FFF2-40B4-BE49-F238E27FC236}">
                <a16:creationId xmlns:a16="http://schemas.microsoft.com/office/drawing/2014/main" id="{568E93B0-5882-4CEE-89D7-784474C46033}"/>
              </a:ext>
            </a:extLst>
          </p:cNvPr>
          <p:cNvSpPr txBox="1"/>
          <p:nvPr/>
        </p:nvSpPr>
        <p:spPr>
          <a:xfrm>
            <a:off x="6600077" y="4382953"/>
            <a:ext cx="1849733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ed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o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iusmod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mpor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ncididun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u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labore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et dolore magna </a:t>
            </a:r>
          </a:p>
        </p:txBody>
      </p:sp>
      <p:sp>
        <p:nvSpPr>
          <p:cNvPr id="17" name="TextBox 122">
            <a:extLst>
              <a:ext uri="{FF2B5EF4-FFF2-40B4-BE49-F238E27FC236}">
                <a16:creationId xmlns:a16="http://schemas.microsoft.com/office/drawing/2014/main" id="{9CB66F02-6EFD-4BC0-B7E0-C0F9C05A68A8}"/>
              </a:ext>
            </a:extLst>
          </p:cNvPr>
          <p:cNvSpPr txBox="1"/>
          <p:nvPr/>
        </p:nvSpPr>
        <p:spPr>
          <a:xfrm>
            <a:off x="6380419" y="3517659"/>
            <a:ext cx="22890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800" b="1" dirty="0">
                <a:solidFill>
                  <a:schemeClr val="accent3"/>
                </a:solidFill>
              </a:rPr>
              <a:t>2020</a:t>
            </a:r>
          </a:p>
        </p:txBody>
      </p:sp>
      <p:sp>
        <p:nvSpPr>
          <p:cNvPr id="30" name="Teardrop 29">
            <a:extLst>
              <a:ext uri="{FF2B5EF4-FFF2-40B4-BE49-F238E27FC236}">
                <a16:creationId xmlns:a16="http://schemas.microsoft.com/office/drawing/2014/main" id="{3686DFF7-23C8-4A91-B5D0-AEFE1B477FCB}"/>
              </a:ext>
            </a:extLst>
          </p:cNvPr>
          <p:cNvSpPr/>
          <p:nvPr/>
        </p:nvSpPr>
        <p:spPr>
          <a:xfrm rot="8100000">
            <a:off x="6859115" y="1564418"/>
            <a:ext cx="1275682" cy="1275682"/>
          </a:xfrm>
          <a:prstGeom prst="teardrop">
            <a:avLst>
              <a:gd name="adj" fmla="val 109962"/>
            </a:avLst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65DC3AB2-0558-4F3F-A298-A02448E2E407}"/>
              </a:ext>
            </a:extLst>
          </p:cNvPr>
          <p:cNvSpPr/>
          <p:nvPr/>
        </p:nvSpPr>
        <p:spPr>
          <a:xfrm>
            <a:off x="7053464" y="1780807"/>
            <a:ext cx="889686" cy="889686"/>
          </a:xfrm>
          <a:prstGeom prst="ellipse">
            <a:avLst/>
          </a:prstGeom>
          <a:gradFill flip="none" rotWithShape="1">
            <a:gsLst>
              <a:gs pos="100000">
                <a:srgbClr val="BDC3C7"/>
              </a:gs>
              <a:gs pos="0">
                <a:srgbClr val="ECF0F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381000" dist="38100" dir="2700000" sx="101000" sy="101000" algn="tl" rotWithShape="0">
              <a:schemeClr val="tx1">
                <a:lumMod val="75000"/>
                <a:lumOff val="25000"/>
                <a:alpha val="40000"/>
              </a:schemeClr>
            </a:outerShdw>
          </a:effectLst>
          <a:scene3d>
            <a:camera prst="orthographicFront"/>
            <a:lightRig rig="threePt" dir="t"/>
          </a:scene3d>
          <a:sp3d>
            <a:bevelT w="279400" h="1905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80" name="Graphic 79" descr="Lightbulb">
            <a:extLst>
              <a:ext uri="{FF2B5EF4-FFF2-40B4-BE49-F238E27FC236}">
                <a16:creationId xmlns:a16="http://schemas.microsoft.com/office/drawing/2014/main" id="{BE006275-B1E3-4F9A-BC44-B3685AADC6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84666" y="1820767"/>
            <a:ext cx="762984" cy="762984"/>
          </a:xfrm>
          <a:prstGeom prst="rect">
            <a:avLst/>
          </a:prstGeom>
        </p:spPr>
      </p:pic>
      <p:pic>
        <p:nvPicPr>
          <p:cNvPr id="84" name="Graphic 83" descr="Bullseye">
            <a:extLst>
              <a:ext uri="{FF2B5EF4-FFF2-40B4-BE49-F238E27FC236}">
                <a16:creationId xmlns:a16="http://schemas.microsoft.com/office/drawing/2014/main" id="{188F7C58-84D3-4B7B-8DCB-7B7FD73A9C0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295183" y="1838623"/>
            <a:ext cx="727272" cy="727272"/>
          </a:xfrm>
          <a:prstGeom prst="rect">
            <a:avLst/>
          </a:prstGeom>
        </p:spPr>
      </p:pic>
      <p:grpSp>
        <p:nvGrpSpPr>
          <p:cNvPr id="89" name="Group 88">
            <a:extLst>
              <a:ext uri="{FF2B5EF4-FFF2-40B4-BE49-F238E27FC236}">
                <a16:creationId xmlns:a16="http://schemas.microsoft.com/office/drawing/2014/main" id="{438B50F9-6F29-4351-B976-8449B15FCE4E}"/>
              </a:ext>
            </a:extLst>
          </p:cNvPr>
          <p:cNvGrpSpPr/>
          <p:nvPr/>
        </p:nvGrpSpPr>
        <p:grpSpPr>
          <a:xfrm>
            <a:off x="1530554" y="1873599"/>
            <a:ext cx="559939" cy="657320"/>
            <a:chOff x="1529313" y="2157845"/>
            <a:chExt cx="559939" cy="657320"/>
          </a:xfrm>
        </p:grpSpPr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E045969-2090-4151-A3A1-32AC70407F4A}"/>
                </a:ext>
              </a:extLst>
            </p:cNvPr>
            <p:cNvSpPr/>
            <p:nvPr/>
          </p:nvSpPr>
          <p:spPr>
            <a:xfrm>
              <a:off x="1764001" y="2272267"/>
              <a:ext cx="73036" cy="73036"/>
            </a:xfrm>
            <a:custGeom>
              <a:avLst/>
              <a:gdLst/>
              <a:ahLst/>
              <a:cxnLst/>
              <a:rect l="0" t="0" r="0" b="0"/>
              <a:pathLst>
                <a:path w="73035" h="73035">
                  <a:moveTo>
                    <a:pt x="39219" y="5135"/>
                  </a:moveTo>
                  <a:cubicBezTo>
                    <a:pt x="20554" y="5135"/>
                    <a:pt x="5135" y="20554"/>
                    <a:pt x="5135" y="39219"/>
                  </a:cubicBezTo>
                  <a:cubicBezTo>
                    <a:pt x="5135" y="57883"/>
                    <a:pt x="20554" y="73302"/>
                    <a:pt x="39219" y="73302"/>
                  </a:cubicBezTo>
                  <a:cubicBezTo>
                    <a:pt x="57883" y="73302"/>
                    <a:pt x="73302" y="57883"/>
                    <a:pt x="73302" y="39219"/>
                  </a:cubicBezTo>
                  <a:cubicBezTo>
                    <a:pt x="73302" y="20554"/>
                    <a:pt x="57883" y="5135"/>
                    <a:pt x="39219" y="5135"/>
                  </a:cubicBezTo>
                  <a:close/>
                </a:path>
              </a:pathLst>
            </a:custGeom>
            <a:solidFill>
              <a:schemeClr val="accent1"/>
            </a:solidFill>
            <a:ln w="8037" cap="flat">
              <a:noFill/>
              <a:prstDash val="solid"/>
              <a:miter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E77566F1-B933-4FBE-AC47-3DDFEA935639}"/>
                </a:ext>
              </a:extLst>
            </p:cNvPr>
            <p:cNvSpPr/>
            <p:nvPr/>
          </p:nvSpPr>
          <p:spPr>
            <a:xfrm>
              <a:off x="1661751" y="2437003"/>
              <a:ext cx="73036" cy="73036"/>
            </a:xfrm>
            <a:custGeom>
              <a:avLst/>
              <a:gdLst/>
              <a:ahLst/>
              <a:cxnLst/>
              <a:rect l="0" t="0" r="0" b="0"/>
              <a:pathLst>
                <a:path w="73035" h="73035">
                  <a:moveTo>
                    <a:pt x="73302" y="39219"/>
                  </a:moveTo>
                  <a:cubicBezTo>
                    <a:pt x="73302" y="58042"/>
                    <a:pt x="58042" y="73302"/>
                    <a:pt x="39219" y="73302"/>
                  </a:cubicBezTo>
                  <a:cubicBezTo>
                    <a:pt x="20395" y="73302"/>
                    <a:pt x="5135" y="58042"/>
                    <a:pt x="5135" y="39219"/>
                  </a:cubicBezTo>
                  <a:cubicBezTo>
                    <a:pt x="5135" y="20395"/>
                    <a:pt x="20395" y="5135"/>
                    <a:pt x="39219" y="5135"/>
                  </a:cubicBezTo>
                  <a:cubicBezTo>
                    <a:pt x="58042" y="5135"/>
                    <a:pt x="73302" y="20395"/>
                    <a:pt x="73302" y="39219"/>
                  </a:cubicBezTo>
                  <a:close/>
                </a:path>
              </a:pathLst>
            </a:custGeom>
            <a:solidFill>
              <a:schemeClr val="accent1"/>
            </a:solidFill>
            <a:ln w="8037" cap="flat">
              <a:noFill/>
              <a:prstDash val="solid"/>
              <a:miter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283FEDE3-294E-44C2-AAA9-C3EFDB03B874}"/>
                </a:ext>
              </a:extLst>
            </p:cNvPr>
            <p:cNvSpPr/>
            <p:nvPr/>
          </p:nvSpPr>
          <p:spPr>
            <a:xfrm>
              <a:off x="1529313" y="2157845"/>
              <a:ext cx="559939" cy="657320"/>
            </a:xfrm>
            <a:custGeom>
              <a:avLst/>
              <a:gdLst/>
              <a:ahLst/>
              <a:cxnLst/>
              <a:rect l="0" t="0" r="0" b="0"/>
              <a:pathLst>
                <a:path w="559939" h="657320">
                  <a:moveTo>
                    <a:pt x="370476" y="165002"/>
                  </a:moveTo>
                  <a:lnTo>
                    <a:pt x="350188" y="174740"/>
                  </a:lnTo>
                  <a:cubicBezTo>
                    <a:pt x="348565" y="181232"/>
                    <a:pt x="345319" y="186913"/>
                    <a:pt x="342073" y="192593"/>
                  </a:cubicBezTo>
                  <a:lnTo>
                    <a:pt x="349377" y="213692"/>
                  </a:lnTo>
                  <a:lnTo>
                    <a:pt x="333147" y="229923"/>
                  </a:lnTo>
                  <a:lnTo>
                    <a:pt x="312048" y="222619"/>
                  </a:lnTo>
                  <a:cubicBezTo>
                    <a:pt x="306367" y="225865"/>
                    <a:pt x="300687" y="228300"/>
                    <a:pt x="294194" y="229923"/>
                  </a:cubicBezTo>
                  <a:lnTo>
                    <a:pt x="284456" y="249399"/>
                  </a:lnTo>
                  <a:lnTo>
                    <a:pt x="261734" y="249399"/>
                  </a:lnTo>
                  <a:lnTo>
                    <a:pt x="251996" y="229111"/>
                  </a:lnTo>
                  <a:cubicBezTo>
                    <a:pt x="245504" y="227488"/>
                    <a:pt x="239824" y="225054"/>
                    <a:pt x="234143" y="221807"/>
                  </a:cubicBezTo>
                  <a:lnTo>
                    <a:pt x="213044" y="229111"/>
                  </a:lnTo>
                  <a:lnTo>
                    <a:pt x="196814" y="212881"/>
                  </a:lnTo>
                  <a:lnTo>
                    <a:pt x="204117" y="191782"/>
                  </a:lnTo>
                  <a:cubicBezTo>
                    <a:pt x="200871" y="186101"/>
                    <a:pt x="198437" y="180421"/>
                    <a:pt x="196814" y="173929"/>
                  </a:cubicBezTo>
                  <a:lnTo>
                    <a:pt x="176526" y="164191"/>
                  </a:lnTo>
                  <a:lnTo>
                    <a:pt x="176526" y="141468"/>
                  </a:lnTo>
                  <a:lnTo>
                    <a:pt x="196814" y="131730"/>
                  </a:lnTo>
                  <a:cubicBezTo>
                    <a:pt x="198437" y="125238"/>
                    <a:pt x="200871" y="119558"/>
                    <a:pt x="204117" y="113877"/>
                  </a:cubicBezTo>
                  <a:lnTo>
                    <a:pt x="197625" y="92778"/>
                  </a:lnTo>
                  <a:lnTo>
                    <a:pt x="213855" y="76548"/>
                  </a:lnTo>
                  <a:lnTo>
                    <a:pt x="234955" y="83851"/>
                  </a:lnTo>
                  <a:cubicBezTo>
                    <a:pt x="240635" y="80605"/>
                    <a:pt x="246316" y="78171"/>
                    <a:pt x="252808" y="76548"/>
                  </a:cubicBezTo>
                  <a:lnTo>
                    <a:pt x="262546" y="56260"/>
                  </a:lnTo>
                  <a:lnTo>
                    <a:pt x="285268" y="56260"/>
                  </a:lnTo>
                  <a:lnTo>
                    <a:pt x="295006" y="75736"/>
                  </a:lnTo>
                  <a:cubicBezTo>
                    <a:pt x="301498" y="77359"/>
                    <a:pt x="307179" y="79794"/>
                    <a:pt x="312859" y="83040"/>
                  </a:cubicBezTo>
                  <a:lnTo>
                    <a:pt x="333958" y="75736"/>
                  </a:lnTo>
                  <a:lnTo>
                    <a:pt x="350188" y="91966"/>
                  </a:lnTo>
                  <a:lnTo>
                    <a:pt x="342885" y="113066"/>
                  </a:lnTo>
                  <a:cubicBezTo>
                    <a:pt x="346131" y="118746"/>
                    <a:pt x="348565" y="124427"/>
                    <a:pt x="350188" y="130919"/>
                  </a:cubicBezTo>
                  <a:lnTo>
                    <a:pt x="370476" y="140657"/>
                  </a:lnTo>
                  <a:lnTo>
                    <a:pt x="370476" y="165002"/>
                  </a:lnTo>
                  <a:close/>
                  <a:moveTo>
                    <a:pt x="268226" y="329738"/>
                  </a:moveTo>
                  <a:lnTo>
                    <a:pt x="247939" y="339476"/>
                  </a:lnTo>
                  <a:cubicBezTo>
                    <a:pt x="246316" y="345968"/>
                    <a:pt x="243881" y="351648"/>
                    <a:pt x="240635" y="357329"/>
                  </a:cubicBezTo>
                  <a:lnTo>
                    <a:pt x="247127" y="378428"/>
                  </a:lnTo>
                  <a:lnTo>
                    <a:pt x="230897" y="394658"/>
                  </a:lnTo>
                  <a:lnTo>
                    <a:pt x="209798" y="387355"/>
                  </a:lnTo>
                  <a:cubicBezTo>
                    <a:pt x="204117" y="390601"/>
                    <a:pt x="198437" y="393035"/>
                    <a:pt x="191945" y="394658"/>
                  </a:cubicBezTo>
                  <a:lnTo>
                    <a:pt x="183018" y="414134"/>
                  </a:lnTo>
                  <a:lnTo>
                    <a:pt x="160296" y="414134"/>
                  </a:lnTo>
                  <a:lnTo>
                    <a:pt x="150558" y="393847"/>
                  </a:lnTo>
                  <a:cubicBezTo>
                    <a:pt x="144066" y="392224"/>
                    <a:pt x="138385" y="389789"/>
                    <a:pt x="132705" y="386543"/>
                  </a:cubicBezTo>
                  <a:lnTo>
                    <a:pt x="111606" y="393035"/>
                  </a:lnTo>
                  <a:lnTo>
                    <a:pt x="95375" y="376805"/>
                  </a:lnTo>
                  <a:lnTo>
                    <a:pt x="102679" y="355706"/>
                  </a:lnTo>
                  <a:cubicBezTo>
                    <a:pt x="99433" y="350025"/>
                    <a:pt x="96998" y="344345"/>
                    <a:pt x="95375" y="337853"/>
                  </a:cubicBezTo>
                  <a:lnTo>
                    <a:pt x="75088" y="328115"/>
                  </a:lnTo>
                  <a:lnTo>
                    <a:pt x="75088" y="305393"/>
                  </a:lnTo>
                  <a:lnTo>
                    <a:pt x="95375" y="295655"/>
                  </a:lnTo>
                  <a:cubicBezTo>
                    <a:pt x="96998" y="289163"/>
                    <a:pt x="99433" y="283482"/>
                    <a:pt x="102679" y="277801"/>
                  </a:cubicBezTo>
                  <a:lnTo>
                    <a:pt x="95375" y="256702"/>
                  </a:lnTo>
                  <a:lnTo>
                    <a:pt x="111606" y="240472"/>
                  </a:lnTo>
                  <a:lnTo>
                    <a:pt x="132705" y="247776"/>
                  </a:lnTo>
                  <a:cubicBezTo>
                    <a:pt x="138385" y="244530"/>
                    <a:pt x="144066" y="242095"/>
                    <a:pt x="150558" y="240472"/>
                  </a:cubicBezTo>
                  <a:lnTo>
                    <a:pt x="160296" y="220184"/>
                  </a:lnTo>
                  <a:lnTo>
                    <a:pt x="183830" y="220184"/>
                  </a:lnTo>
                  <a:lnTo>
                    <a:pt x="193568" y="240472"/>
                  </a:lnTo>
                  <a:cubicBezTo>
                    <a:pt x="200060" y="242095"/>
                    <a:pt x="205740" y="244530"/>
                    <a:pt x="211421" y="247776"/>
                  </a:cubicBezTo>
                  <a:lnTo>
                    <a:pt x="232520" y="240472"/>
                  </a:lnTo>
                  <a:lnTo>
                    <a:pt x="248750" y="256702"/>
                  </a:lnTo>
                  <a:lnTo>
                    <a:pt x="241447" y="277801"/>
                  </a:lnTo>
                  <a:cubicBezTo>
                    <a:pt x="244693" y="283482"/>
                    <a:pt x="247127" y="289163"/>
                    <a:pt x="248750" y="295655"/>
                  </a:cubicBezTo>
                  <a:lnTo>
                    <a:pt x="269038" y="305393"/>
                  </a:lnTo>
                  <a:lnTo>
                    <a:pt x="268226" y="329738"/>
                  </a:lnTo>
                  <a:lnTo>
                    <a:pt x="268226" y="329738"/>
                  </a:lnTo>
                  <a:close/>
                  <a:moveTo>
                    <a:pt x="549007" y="359764"/>
                  </a:moveTo>
                  <a:lnTo>
                    <a:pt x="493014" y="262383"/>
                  </a:lnTo>
                  <a:lnTo>
                    <a:pt x="493014" y="258325"/>
                  </a:lnTo>
                  <a:cubicBezTo>
                    <a:pt x="496260" y="169060"/>
                    <a:pt x="450815" y="85474"/>
                    <a:pt x="373722" y="39219"/>
                  </a:cubicBezTo>
                  <a:cubicBezTo>
                    <a:pt x="296629" y="-6226"/>
                    <a:pt x="201683" y="-6226"/>
                    <a:pt x="124590" y="39219"/>
                  </a:cubicBezTo>
                  <a:cubicBezTo>
                    <a:pt x="47497" y="84663"/>
                    <a:pt x="2052" y="169060"/>
                    <a:pt x="5298" y="258325"/>
                  </a:cubicBezTo>
                  <a:cubicBezTo>
                    <a:pt x="5298" y="335418"/>
                    <a:pt x="40193" y="407642"/>
                    <a:pt x="101056" y="454710"/>
                  </a:cubicBezTo>
                  <a:lnTo>
                    <a:pt x="101056" y="660021"/>
                  </a:lnTo>
                  <a:lnTo>
                    <a:pt x="357492" y="660021"/>
                  </a:lnTo>
                  <a:lnTo>
                    <a:pt x="357492" y="562640"/>
                  </a:lnTo>
                  <a:lnTo>
                    <a:pt x="397256" y="562640"/>
                  </a:lnTo>
                  <a:cubicBezTo>
                    <a:pt x="423224" y="562640"/>
                    <a:pt x="447569" y="552091"/>
                    <a:pt x="465422" y="534237"/>
                  </a:cubicBezTo>
                  <a:cubicBezTo>
                    <a:pt x="483275" y="515573"/>
                    <a:pt x="493014" y="491228"/>
                    <a:pt x="493014" y="465259"/>
                  </a:cubicBezTo>
                  <a:lnTo>
                    <a:pt x="493014" y="416569"/>
                  </a:lnTo>
                  <a:lnTo>
                    <a:pt x="528720" y="416569"/>
                  </a:lnTo>
                  <a:cubicBezTo>
                    <a:pt x="549819" y="414134"/>
                    <a:pt x="568484" y="389789"/>
                    <a:pt x="549007" y="359764"/>
                  </a:cubicBezTo>
                  <a:close/>
                </a:path>
              </a:pathLst>
            </a:custGeom>
            <a:solidFill>
              <a:schemeClr val="accent1"/>
            </a:solidFill>
            <a:ln w="8037" cap="flat">
              <a:noFill/>
              <a:prstDash val="solid"/>
              <a:miter/>
            </a:ln>
          </p:spPr>
          <p:txBody>
            <a:bodyPr/>
            <a:lstStyle/>
            <a:p>
              <a:endParaRPr lang="en-IN"/>
            </a:p>
          </p:txBody>
        </p:sp>
      </p:grpSp>
      <p:pic>
        <p:nvPicPr>
          <p:cNvPr id="44" name="Graphic 43" descr="Handshake">
            <a:extLst>
              <a:ext uri="{FF2B5EF4-FFF2-40B4-BE49-F238E27FC236}">
                <a16:creationId xmlns:a16="http://schemas.microsoft.com/office/drawing/2014/main" id="{713EF4A9-F1ED-46C3-A1FE-0CDFA1544F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069114" y="1796457"/>
            <a:ext cx="858386" cy="858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0746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8E3BA4-A038-415E-98E8-CCC94FAF2F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00" y="230315"/>
            <a:ext cx="10820400" cy="584775"/>
          </a:xfrm>
        </p:spPr>
        <p:txBody>
          <a:bodyPr/>
          <a:lstStyle/>
          <a:p>
            <a:r>
              <a:rPr lang="en-IN" dirty="0"/>
              <a:t>Global Reach</a:t>
            </a:r>
          </a:p>
        </p:txBody>
      </p:sp>
      <p:sp>
        <p:nvSpPr>
          <p:cNvPr id="199" name="Text Placeholder 198">
            <a:extLst>
              <a:ext uri="{FF2B5EF4-FFF2-40B4-BE49-F238E27FC236}">
                <a16:creationId xmlns:a16="http://schemas.microsoft.com/office/drawing/2014/main" id="{2C2AFE99-6D1E-4185-87BF-A3791AF8064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IN"/>
              <a:t>Add your subtitle here</a:t>
            </a:r>
            <a:endParaRPr lang="en-IN" dirty="0"/>
          </a:p>
        </p:txBody>
      </p:sp>
      <p:grpSp>
        <p:nvGrpSpPr>
          <p:cNvPr id="225" name="Group 224">
            <a:extLst>
              <a:ext uri="{FF2B5EF4-FFF2-40B4-BE49-F238E27FC236}">
                <a16:creationId xmlns:a16="http://schemas.microsoft.com/office/drawing/2014/main" id="{6AA8C42A-AC7B-4C6D-9A58-D1CF9329794E}"/>
              </a:ext>
            </a:extLst>
          </p:cNvPr>
          <p:cNvGrpSpPr/>
          <p:nvPr/>
        </p:nvGrpSpPr>
        <p:grpSpPr>
          <a:xfrm>
            <a:off x="114301" y="1377146"/>
            <a:ext cx="9448800" cy="4429600"/>
            <a:chOff x="785019" y="1120549"/>
            <a:chExt cx="11139487" cy="5021261"/>
          </a:xfrm>
          <a:solidFill>
            <a:schemeClr val="bg1">
              <a:lumMod val="85000"/>
            </a:schemeClr>
          </a:solidFill>
        </p:grpSpPr>
        <p:sp>
          <p:nvSpPr>
            <p:cNvPr id="226" name="Afghanistan">
              <a:extLst>
                <a:ext uri="{FF2B5EF4-FFF2-40B4-BE49-F238E27FC236}">
                  <a16:creationId xmlns:a16="http://schemas.microsoft.com/office/drawing/2014/main" id="{6DF38DD8-26FD-40BA-9994-A00B4FFBC181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6544" y="2608036"/>
              <a:ext cx="428625" cy="347663"/>
            </a:xfrm>
            <a:custGeom>
              <a:avLst/>
              <a:gdLst>
                <a:gd name="T0" fmla="*/ 245 w 270"/>
                <a:gd name="T1" fmla="*/ 26 h 219"/>
                <a:gd name="T2" fmla="*/ 221 w 270"/>
                <a:gd name="T3" fmla="*/ 35 h 219"/>
                <a:gd name="T4" fmla="*/ 207 w 270"/>
                <a:gd name="T5" fmla="*/ 42 h 219"/>
                <a:gd name="T6" fmla="*/ 194 w 270"/>
                <a:gd name="T7" fmla="*/ 14 h 219"/>
                <a:gd name="T8" fmla="*/ 189 w 270"/>
                <a:gd name="T9" fmla="*/ 6 h 219"/>
                <a:gd name="T10" fmla="*/ 170 w 270"/>
                <a:gd name="T11" fmla="*/ 9 h 219"/>
                <a:gd name="T12" fmla="*/ 168 w 270"/>
                <a:gd name="T13" fmla="*/ 22 h 219"/>
                <a:gd name="T14" fmla="*/ 153 w 270"/>
                <a:gd name="T15" fmla="*/ 32 h 219"/>
                <a:gd name="T16" fmla="*/ 133 w 270"/>
                <a:gd name="T17" fmla="*/ 36 h 219"/>
                <a:gd name="T18" fmla="*/ 110 w 270"/>
                <a:gd name="T19" fmla="*/ 27 h 219"/>
                <a:gd name="T20" fmla="*/ 93 w 270"/>
                <a:gd name="T21" fmla="*/ 27 h 219"/>
                <a:gd name="T22" fmla="*/ 81 w 270"/>
                <a:gd name="T23" fmla="*/ 28 h 219"/>
                <a:gd name="T24" fmla="*/ 66 w 270"/>
                <a:gd name="T25" fmla="*/ 53 h 219"/>
                <a:gd name="T26" fmla="*/ 42 w 270"/>
                <a:gd name="T27" fmla="*/ 64 h 219"/>
                <a:gd name="T28" fmla="*/ 26 w 270"/>
                <a:gd name="T29" fmla="*/ 78 h 219"/>
                <a:gd name="T30" fmla="*/ 2 w 270"/>
                <a:gd name="T31" fmla="*/ 98 h 219"/>
                <a:gd name="T32" fmla="*/ 9 w 270"/>
                <a:gd name="T33" fmla="*/ 120 h 219"/>
                <a:gd name="T34" fmla="*/ 14 w 270"/>
                <a:gd name="T35" fmla="*/ 152 h 219"/>
                <a:gd name="T36" fmla="*/ 34 w 270"/>
                <a:gd name="T37" fmla="*/ 170 h 219"/>
                <a:gd name="T38" fmla="*/ 23 w 270"/>
                <a:gd name="T39" fmla="*/ 208 h 219"/>
                <a:gd name="T40" fmla="*/ 79 w 270"/>
                <a:gd name="T41" fmla="*/ 216 h 219"/>
                <a:gd name="T42" fmla="*/ 95 w 270"/>
                <a:gd name="T43" fmla="*/ 213 h 219"/>
                <a:gd name="T44" fmla="*/ 133 w 270"/>
                <a:gd name="T45" fmla="*/ 206 h 219"/>
                <a:gd name="T46" fmla="*/ 139 w 270"/>
                <a:gd name="T47" fmla="*/ 172 h 219"/>
                <a:gd name="T48" fmla="*/ 155 w 270"/>
                <a:gd name="T49" fmla="*/ 166 h 219"/>
                <a:gd name="T50" fmla="*/ 177 w 270"/>
                <a:gd name="T51" fmla="*/ 165 h 219"/>
                <a:gd name="T52" fmla="*/ 180 w 270"/>
                <a:gd name="T53" fmla="*/ 144 h 219"/>
                <a:gd name="T54" fmla="*/ 197 w 270"/>
                <a:gd name="T55" fmla="*/ 124 h 219"/>
                <a:gd name="T56" fmla="*/ 204 w 270"/>
                <a:gd name="T57" fmla="*/ 109 h 219"/>
                <a:gd name="T58" fmla="*/ 205 w 270"/>
                <a:gd name="T59" fmla="*/ 91 h 219"/>
                <a:gd name="T60" fmla="*/ 207 w 270"/>
                <a:gd name="T61" fmla="*/ 69 h 219"/>
                <a:gd name="T62" fmla="*/ 209 w 270"/>
                <a:gd name="T63" fmla="*/ 48 h 219"/>
                <a:gd name="T64" fmla="*/ 250 w 270"/>
                <a:gd name="T65" fmla="*/ 40 h 219"/>
                <a:gd name="T66" fmla="*/ 270 w 270"/>
                <a:gd name="T67" fmla="*/ 33 h 219"/>
                <a:gd name="T68" fmla="*/ 265 w 270"/>
                <a:gd name="T69" fmla="*/ 26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70" h="219">
                  <a:moveTo>
                    <a:pt x="265" y="26"/>
                  </a:moveTo>
                  <a:lnTo>
                    <a:pt x="245" y="26"/>
                  </a:lnTo>
                  <a:lnTo>
                    <a:pt x="231" y="24"/>
                  </a:lnTo>
                  <a:lnTo>
                    <a:pt x="221" y="35"/>
                  </a:lnTo>
                  <a:lnTo>
                    <a:pt x="213" y="38"/>
                  </a:lnTo>
                  <a:lnTo>
                    <a:pt x="207" y="42"/>
                  </a:lnTo>
                  <a:lnTo>
                    <a:pt x="198" y="34"/>
                  </a:lnTo>
                  <a:lnTo>
                    <a:pt x="194" y="14"/>
                  </a:lnTo>
                  <a:lnTo>
                    <a:pt x="189" y="13"/>
                  </a:lnTo>
                  <a:lnTo>
                    <a:pt x="189" y="6"/>
                  </a:lnTo>
                  <a:lnTo>
                    <a:pt x="176" y="0"/>
                  </a:lnTo>
                  <a:lnTo>
                    <a:pt x="170" y="9"/>
                  </a:lnTo>
                  <a:lnTo>
                    <a:pt x="171" y="18"/>
                  </a:lnTo>
                  <a:lnTo>
                    <a:pt x="168" y="22"/>
                  </a:lnTo>
                  <a:lnTo>
                    <a:pt x="157" y="21"/>
                  </a:lnTo>
                  <a:lnTo>
                    <a:pt x="153" y="32"/>
                  </a:lnTo>
                  <a:lnTo>
                    <a:pt x="146" y="27"/>
                  </a:lnTo>
                  <a:lnTo>
                    <a:pt x="133" y="36"/>
                  </a:lnTo>
                  <a:lnTo>
                    <a:pt x="126" y="32"/>
                  </a:lnTo>
                  <a:lnTo>
                    <a:pt x="110" y="27"/>
                  </a:lnTo>
                  <a:lnTo>
                    <a:pt x="99" y="27"/>
                  </a:lnTo>
                  <a:lnTo>
                    <a:pt x="93" y="27"/>
                  </a:lnTo>
                  <a:lnTo>
                    <a:pt x="82" y="20"/>
                  </a:lnTo>
                  <a:lnTo>
                    <a:pt x="81" y="28"/>
                  </a:lnTo>
                  <a:lnTo>
                    <a:pt x="66" y="33"/>
                  </a:lnTo>
                  <a:lnTo>
                    <a:pt x="66" y="53"/>
                  </a:lnTo>
                  <a:lnTo>
                    <a:pt x="57" y="60"/>
                  </a:lnTo>
                  <a:lnTo>
                    <a:pt x="42" y="64"/>
                  </a:lnTo>
                  <a:lnTo>
                    <a:pt x="41" y="75"/>
                  </a:lnTo>
                  <a:lnTo>
                    <a:pt x="26" y="78"/>
                  </a:lnTo>
                  <a:lnTo>
                    <a:pt x="4" y="69"/>
                  </a:lnTo>
                  <a:lnTo>
                    <a:pt x="2" y="98"/>
                  </a:lnTo>
                  <a:lnTo>
                    <a:pt x="0" y="116"/>
                  </a:lnTo>
                  <a:lnTo>
                    <a:pt x="9" y="120"/>
                  </a:lnTo>
                  <a:lnTo>
                    <a:pt x="4" y="133"/>
                  </a:lnTo>
                  <a:lnTo>
                    <a:pt x="14" y="152"/>
                  </a:lnTo>
                  <a:lnTo>
                    <a:pt x="18" y="167"/>
                  </a:lnTo>
                  <a:lnTo>
                    <a:pt x="34" y="170"/>
                  </a:lnTo>
                  <a:lnTo>
                    <a:pt x="38" y="185"/>
                  </a:lnTo>
                  <a:lnTo>
                    <a:pt x="23" y="208"/>
                  </a:lnTo>
                  <a:lnTo>
                    <a:pt x="60" y="219"/>
                  </a:lnTo>
                  <a:lnTo>
                    <a:pt x="79" y="216"/>
                  </a:lnTo>
                  <a:lnTo>
                    <a:pt x="91" y="219"/>
                  </a:lnTo>
                  <a:lnTo>
                    <a:pt x="95" y="213"/>
                  </a:lnTo>
                  <a:lnTo>
                    <a:pt x="109" y="215"/>
                  </a:lnTo>
                  <a:lnTo>
                    <a:pt x="133" y="206"/>
                  </a:lnTo>
                  <a:lnTo>
                    <a:pt x="131" y="185"/>
                  </a:lnTo>
                  <a:lnTo>
                    <a:pt x="139" y="172"/>
                  </a:lnTo>
                  <a:lnTo>
                    <a:pt x="154" y="172"/>
                  </a:lnTo>
                  <a:lnTo>
                    <a:pt x="155" y="166"/>
                  </a:lnTo>
                  <a:lnTo>
                    <a:pt x="170" y="163"/>
                  </a:lnTo>
                  <a:lnTo>
                    <a:pt x="177" y="165"/>
                  </a:lnTo>
                  <a:lnTo>
                    <a:pt x="184" y="158"/>
                  </a:lnTo>
                  <a:lnTo>
                    <a:pt x="180" y="144"/>
                  </a:lnTo>
                  <a:lnTo>
                    <a:pt x="186" y="129"/>
                  </a:lnTo>
                  <a:lnTo>
                    <a:pt x="197" y="124"/>
                  </a:lnTo>
                  <a:lnTo>
                    <a:pt x="186" y="108"/>
                  </a:lnTo>
                  <a:lnTo>
                    <a:pt x="204" y="109"/>
                  </a:lnTo>
                  <a:lnTo>
                    <a:pt x="208" y="100"/>
                  </a:lnTo>
                  <a:lnTo>
                    <a:pt x="205" y="91"/>
                  </a:lnTo>
                  <a:lnTo>
                    <a:pt x="213" y="81"/>
                  </a:lnTo>
                  <a:lnTo>
                    <a:pt x="207" y="69"/>
                  </a:lnTo>
                  <a:lnTo>
                    <a:pt x="200" y="58"/>
                  </a:lnTo>
                  <a:lnTo>
                    <a:pt x="209" y="48"/>
                  </a:lnTo>
                  <a:lnTo>
                    <a:pt x="229" y="43"/>
                  </a:lnTo>
                  <a:lnTo>
                    <a:pt x="250" y="40"/>
                  </a:lnTo>
                  <a:lnTo>
                    <a:pt x="259" y="36"/>
                  </a:lnTo>
                  <a:lnTo>
                    <a:pt x="270" y="33"/>
                  </a:lnTo>
                  <a:lnTo>
                    <a:pt x="265" y="26"/>
                  </a:lnTo>
                  <a:lnTo>
                    <a:pt x="265" y="26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7" name="Angola">
              <a:extLst>
                <a:ext uri="{FF2B5EF4-FFF2-40B4-BE49-F238E27FC236}">
                  <a16:creationId xmlns:a16="http://schemas.microsoft.com/office/drawing/2014/main" id="{23F7354A-4D9B-44F2-8DE2-D955F98386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77781" y="4230460"/>
              <a:ext cx="414337" cy="508000"/>
            </a:xfrm>
            <a:custGeom>
              <a:avLst/>
              <a:gdLst>
                <a:gd name="T0" fmla="*/ 40 w 261"/>
                <a:gd name="T1" fmla="*/ 33 h 320"/>
                <a:gd name="T2" fmla="*/ 26 w 261"/>
                <a:gd name="T3" fmla="*/ 35 h 320"/>
                <a:gd name="T4" fmla="*/ 15 w 261"/>
                <a:gd name="T5" fmla="*/ 44 h 320"/>
                <a:gd name="T6" fmla="*/ 30 w 261"/>
                <a:gd name="T7" fmla="*/ 75 h 320"/>
                <a:gd name="T8" fmla="*/ 29 w 261"/>
                <a:gd name="T9" fmla="*/ 107 h 320"/>
                <a:gd name="T10" fmla="*/ 33 w 261"/>
                <a:gd name="T11" fmla="*/ 126 h 320"/>
                <a:gd name="T12" fmla="*/ 45 w 261"/>
                <a:gd name="T13" fmla="*/ 149 h 320"/>
                <a:gd name="T14" fmla="*/ 43 w 261"/>
                <a:gd name="T15" fmla="*/ 180 h 320"/>
                <a:gd name="T16" fmla="*/ 25 w 261"/>
                <a:gd name="T17" fmla="*/ 206 h 320"/>
                <a:gd name="T18" fmla="*/ 12 w 261"/>
                <a:gd name="T19" fmla="*/ 237 h 320"/>
                <a:gd name="T20" fmla="*/ 4 w 261"/>
                <a:gd name="T21" fmla="*/ 270 h 320"/>
                <a:gd name="T22" fmla="*/ 2 w 261"/>
                <a:gd name="T23" fmla="*/ 305 h 320"/>
                <a:gd name="T24" fmla="*/ 25 w 261"/>
                <a:gd name="T25" fmla="*/ 297 h 320"/>
                <a:gd name="T26" fmla="*/ 50 w 261"/>
                <a:gd name="T27" fmla="*/ 308 h 320"/>
                <a:gd name="T28" fmla="*/ 138 w 261"/>
                <a:gd name="T29" fmla="*/ 305 h 320"/>
                <a:gd name="T30" fmla="*/ 201 w 261"/>
                <a:gd name="T31" fmla="*/ 320 h 320"/>
                <a:gd name="T32" fmla="*/ 227 w 261"/>
                <a:gd name="T33" fmla="*/ 296 h 320"/>
                <a:gd name="T34" fmla="*/ 216 w 261"/>
                <a:gd name="T35" fmla="*/ 201 h 320"/>
                <a:gd name="T36" fmla="*/ 258 w 261"/>
                <a:gd name="T37" fmla="*/ 192 h 320"/>
                <a:gd name="T38" fmla="*/ 258 w 261"/>
                <a:gd name="T39" fmla="*/ 173 h 320"/>
                <a:gd name="T40" fmla="*/ 259 w 261"/>
                <a:gd name="T41" fmla="*/ 154 h 320"/>
                <a:gd name="T42" fmla="*/ 236 w 261"/>
                <a:gd name="T43" fmla="*/ 156 h 320"/>
                <a:gd name="T44" fmla="*/ 222 w 261"/>
                <a:gd name="T45" fmla="*/ 158 h 320"/>
                <a:gd name="T46" fmla="*/ 216 w 261"/>
                <a:gd name="T47" fmla="*/ 120 h 320"/>
                <a:gd name="T48" fmla="*/ 219 w 261"/>
                <a:gd name="T49" fmla="*/ 91 h 320"/>
                <a:gd name="T50" fmla="*/ 214 w 261"/>
                <a:gd name="T51" fmla="*/ 67 h 320"/>
                <a:gd name="T52" fmla="*/ 191 w 261"/>
                <a:gd name="T53" fmla="*/ 59 h 320"/>
                <a:gd name="T54" fmla="*/ 179 w 261"/>
                <a:gd name="T55" fmla="*/ 63 h 320"/>
                <a:gd name="T56" fmla="*/ 160 w 261"/>
                <a:gd name="T57" fmla="*/ 78 h 320"/>
                <a:gd name="T58" fmla="*/ 146 w 261"/>
                <a:gd name="T59" fmla="*/ 80 h 320"/>
                <a:gd name="T60" fmla="*/ 124 w 261"/>
                <a:gd name="T61" fmla="*/ 86 h 320"/>
                <a:gd name="T62" fmla="*/ 112 w 261"/>
                <a:gd name="T63" fmla="*/ 65 h 320"/>
                <a:gd name="T64" fmla="*/ 101 w 261"/>
                <a:gd name="T65" fmla="*/ 33 h 320"/>
                <a:gd name="T66" fmla="*/ 20 w 261"/>
                <a:gd name="T67" fmla="*/ 29 h 320"/>
                <a:gd name="T68" fmla="*/ 24 w 261"/>
                <a:gd name="T69" fmla="*/ 13 h 320"/>
                <a:gd name="T70" fmla="*/ 24 w 261"/>
                <a:gd name="T71" fmla="*/ 0 h 320"/>
                <a:gd name="T72" fmla="*/ 9 w 261"/>
                <a:gd name="T73" fmla="*/ 14 h 320"/>
                <a:gd name="T74" fmla="*/ 20 w 261"/>
                <a:gd name="T75" fmla="*/ 29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61" h="320">
                  <a:moveTo>
                    <a:pt x="101" y="33"/>
                  </a:moveTo>
                  <a:lnTo>
                    <a:pt x="40" y="33"/>
                  </a:lnTo>
                  <a:lnTo>
                    <a:pt x="32" y="36"/>
                  </a:lnTo>
                  <a:lnTo>
                    <a:pt x="26" y="35"/>
                  </a:lnTo>
                  <a:lnTo>
                    <a:pt x="17" y="39"/>
                  </a:lnTo>
                  <a:lnTo>
                    <a:pt x="15" y="44"/>
                  </a:lnTo>
                  <a:lnTo>
                    <a:pt x="26" y="59"/>
                  </a:lnTo>
                  <a:lnTo>
                    <a:pt x="30" y="75"/>
                  </a:lnTo>
                  <a:lnTo>
                    <a:pt x="36" y="97"/>
                  </a:lnTo>
                  <a:lnTo>
                    <a:pt x="29" y="107"/>
                  </a:lnTo>
                  <a:lnTo>
                    <a:pt x="28" y="112"/>
                  </a:lnTo>
                  <a:lnTo>
                    <a:pt x="33" y="126"/>
                  </a:lnTo>
                  <a:lnTo>
                    <a:pt x="39" y="141"/>
                  </a:lnTo>
                  <a:lnTo>
                    <a:pt x="45" y="149"/>
                  </a:lnTo>
                  <a:lnTo>
                    <a:pt x="46" y="162"/>
                  </a:lnTo>
                  <a:lnTo>
                    <a:pt x="43" y="180"/>
                  </a:lnTo>
                  <a:lnTo>
                    <a:pt x="37" y="190"/>
                  </a:lnTo>
                  <a:lnTo>
                    <a:pt x="25" y="206"/>
                  </a:lnTo>
                  <a:lnTo>
                    <a:pt x="20" y="216"/>
                  </a:lnTo>
                  <a:lnTo>
                    <a:pt x="12" y="237"/>
                  </a:lnTo>
                  <a:lnTo>
                    <a:pt x="12" y="247"/>
                  </a:lnTo>
                  <a:lnTo>
                    <a:pt x="4" y="270"/>
                  </a:lnTo>
                  <a:lnTo>
                    <a:pt x="0" y="290"/>
                  </a:lnTo>
                  <a:lnTo>
                    <a:pt x="2" y="305"/>
                  </a:lnTo>
                  <a:lnTo>
                    <a:pt x="12" y="300"/>
                  </a:lnTo>
                  <a:lnTo>
                    <a:pt x="25" y="297"/>
                  </a:lnTo>
                  <a:lnTo>
                    <a:pt x="39" y="297"/>
                  </a:lnTo>
                  <a:lnTo>
                    <a:pt x="50" y="308"/>
                  </a:lnTo>
                  <a:lnTo>
                    <a:pt x="54" y="306"/>
                  </a:lnTo>
                  <a:lnTo>
                    <a:pt x="138" y="305"/>
                  </a:lnTo>
                  <a:lnTo>
                    <a:pt x="152" y="316"/>
                  </a:lnTo>
                  <a:lnTo>
                    <a:pt x="201" y="320"/>
                  </a:lnTo>
                  <a:lnTo>
                    <a:pt x="240" y="311"/>
                  </a:lnTo>
                  <a:lnTo>
                    <a:pt x="227" y="296"/>
                  </a:lnTo>
                  <a:lnTo>
                    <a:pt x="213" y="276"/>
                  </a:lnTo>
                  <a:lnTo>
                    <a:pt x="216" y="201"/>
                  </a:lnTo>
                  <a:lnTo>
                    <a:pt x="260" y="201"/>
                  </a:lnTo>
                  <a:lnTo>
                    <a:pt x="258" y="192"/>
                  </a:lnTo>
                  <a:lnTo>
                    <a:pt x="261" y="184"/>
                  </a:lnTo>
                  <a:lnTo>
                    <a:pt x="258" y="173"/>
                  </a:lnTo>
                  <a:lnTo>
                    <a:pt x="261" y="161"/>
                  </a:lnTo>
                  <a:lnTo>
                    <a:pt x="259" y="154"/>
                  </a:lnTo>
                  <a:lnTo>
                    <a:pt x="249" y="152"/>
                  </a:lnTo>
                  <a:lnTo>
                    <a:pt x="236" y="156"/>
                  </a:lnTo>
                  <a:lnTo>
                    <a:pt x="227" y="155"/>
                  </a:lnTo>
                  <a:lnTo>
                    <a:pt x="222" y="158"/>
                  </a:lnTo>
                  <a:lnTo>
                    <a:pt x="223" y="129"/>
                  </a:lnTo>
                  <a:lnTo>
                    <a:pt x="216" y="120"/>
                  </a:lnTo>
                  <a:lnTo>
                    <a:pt x="215" y="105"/>
                  </a:lnTo>
                  <a:lnTo>
                    <a:pt x="219" y="91"/>
                  </a:lnTo>
                  <a:lnTo>
                    <a:pt x="214" y="82"/>
                  </a:lnTo>
                  <a:lnTo>
                    <a:pt x="214" y="67"/>
                  </a:lnTo>
                  <a:lnTo>
                    <a:pt x="189" y="67"/>
                  </a:lnTo>
                  <a:lnTo>
                    <a:pt x="191" y="59"/>
                  </a:lnTo>
                  <a:lnTo>
                    <a:pt x="180" y="59"/>
                  </a:lnTo>
                  <a:lnTo>
                    <a:pt x="179" y="63"/>
                  </a:lnTo>
                  <a:lnTo>
                    <a:pt x="166" y="64"/>
                  </a:lnTo>
                  <a:lnTo>
                    <a:pt x="160" y="78"/>
                  </a:lnTo>
                  <a:lnTo>
                    <a:pt x="157" y="84"/>
                  </a:lnTo>
                  <a:lnTo>
                    <a:pt x="146" y="80"/>
                  </a:lnTo>
                  <a:lnTo>
                    <a:pt x="139" y="84"/>
                  </a:lnTo>
                  <a:lnTo>
                    <a:pt x="124" y="86"/>
                  </a:lnTo>
                  <a:lnTo>
                    <a:pt x="117" y="74"/>
                  </a:lnTo>
                  <a:lnTo>
                    <a:pt x="112" y="65"/>
                  </a:lnTo>
                  <a:lnTo>
                    <a:pt x="106" y="51"/>
                  </a:lnTo>
                  <a:lnTo>
                    <a:pt x="101" y="33"/>
                  </a:lnTo>
                  <a:lnTo>
                    <a:pt x="101" y="33"/>
                  </a:lnTo>
                  <a:close/>
                  <a:moveTo>
                    <a:pt x="20" y="29"/>
                  </a:moveTo>
                  <a:lnTo>
                    <a:pt x="21" y="18"/>
                  </a:lnTo>
                  <a:lnTo>
                    <a:pt x="24" y="13"/>
                  </a:lnTo>
                  <a:lnTo>
                    <a:pt x="31" y="7"/>
                  </a:lnTo>
                  <a:lnTo>
                    <a:pt x="24" y="0"/>
                  </a:lnTo>
                  <a:lnTo>
                    <a:pt x="17" y="4"/>
                  </a:lnTo>
                  <a:lnTo>
                    <a:pt x="9" y="14"/>
                  </a:lnTo>
                  <a:lnTo>
                    <a:pt x="14" y="32"/>
                  </a:lnTo>
                  <a:lnTo>
                    <a:pt x="20" y="29"/>
                  </a:lnTo>
                  <a:lnTo>
                    <a:pt x="20" y="29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8" name="Albania">
              <a:extLst>
                <a:ext uri="{FF2B5EF4-FFF2-40B4-BE49-F238E27FC236}">
                  <a16:creationId xmlns:a16="http://schemas.microsoft.com/office/drawing/2014/main" id="{F00339A2-4031-4528-9303-9F039547F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0981" y="2450873"/>
              <a:ext cx="57150" cy="112713"/>
            </a:xfrm>
            <a:custGeom>
              <a:avLst/>
              <a:gdLst>
                <a:gd name="T0" fmla="*/ 8 w 36"/>
                <a:gd name="T1" fmla="*/ 0 h 71"/>
                <a:gd name="T2" fmla="*/ 0 w 36"/>
                <a:gd name="T3" fmla="*/ 12 h 71"/>
                <a:gd name="T4" fmla="*/ 2 w 36"/>
                <a:gd name="T5" fmla="*/ 19 h 71"/>
                <a:gd name="T6" fmla="*/ 2 w 36"/>
                <a:gd name="T7" fmla="*/ 19 h 71"/>
                <a:gd name="T8" fmla="*/ 6 w 36"/>
                <a:gd name="T9" fmla="*/ 23 h 71"/>
                <a:gd name="T10" fmla="*/ 4 w 36"/>
                <a:gd name="T11" fmla="*/ 30 h 71"/>
                <a:gd name="T12" fmla="*/ 4 w 36"/>
                <a:gd name="T13" fmla="*/ 46 h 71"/>
                <a:gd name="T14" fmla="*/ 6 w 36"/>
                <a:gd name="T15" fmla="*/ 57 h 71"/>
                <a:gd name="T16" fmla="*/ 17 w 36"/>
                <a:gd name="T17" fmla="*/ 65 h 71"/>
                <a:gd name="T18" fmla="*/ 18 w 36"/>
                <a:gd name="T19" fmla="*/ 70 h 71"/>
                <a:gd name="T20" fmla="*/ 22 w 36"/>
                <a:gd name="T21" fmla="*/ 71 h 71"/>
                <a:gd name="T22" fmla="*/ 30 w 36"/>
                <a:gd name="T23" fmla="*/ 60 h 71"/>
                <a:gd name="T24" fmla="*/ 30 w 36"/>
                <a:gd name="T25" fmla="*/ 53 h 71"/>
                <a:gd name="T26" fmla="*/ 36 w 36"/>
                <a:gd name="T27" fmla="*/ 49 h 71"/>
                <a:gd name="T28" fmla="*/ 36 w 36"/>
                <a:gd name="T29" fmla="*/ 43 h 71"/>
                <a:gd name="T30" fmla="*/ 27 w 36"/>
                <a:gd name="T31" fmla="*/ 38 h 71"/>
                <a:gd name="T32" fmla="*/ 25 w 36"/>
                <a:gd name="T33" fmla="*/ 27 h 71"/>
                <a:gd name="T34" fmla="*/ 25 w 36"/>
                <a:gd name="T35" fmla="*/ 20 h 71"/>
                <a:gd name="T36" fmla="*/ 25 w 36"/>
                <a:gd name="T37" fmla="*/ 20 h 71"/>
                <a:gd name="T38" fmla="*/ 24 w 36"/>
                <a:gd name="T39" fmla="*/ 12 h 71"/>
                <a:gd name="T40" fmla="*/ 19 w 36"/>
                <a:gd name="T41" fmla="*/ 9 h 71"/>
                <a:gd name="T42" fmla="*/ 14 w 36"/>
                <a:gd name="T43" fmla="*/ 3 h 71"/>
                <a:gd name="T44" fmla="*/ 10 w 36"/>
                <a:gd name="T45" fmla="*/ 5 h 71"/>
                <a:gd name="T46" fmla="*/ 8 w 36"/>
                <a:gd name="T47" fmla="*/ 0 h 71"/>
                <a:gd name="T48" fmla="*/ 8 w 36"/>
                <a:gd name="T49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6" h="71">
                  <a:moveTo>
                    <a:pt x="8" y="0"/>
                  </a:moveTo>
                  <a:lnTo>
                    <a:pt x="0" y="12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6" y="23"/>
                  </a:lnTo>
                  <a:lnTo>
                    <a:pt x="4" y="30"/>
                  </a:lnTo>
                  <a:lnTo>
                    <a:pt x="4" y="46"/>
                  </a:lnTo>
                  <a:lnTo>
                    <a:pt x="6" y="57"/>
                  </a:lnTo>
                  <a:lnTo>
                    <a:pt x="17" y="65"/>
                  </a:lnTo>
                  <a:lnTo>
                    <a:pt x="18" y="70"/>
                  </a:lnTo>
                  <a:lnTo>
                    <a:pt x="22" y="71"/>
                  </a:lnTo>
                  <a:lnTo>
                    <a:pt x="30" y="60"/>
                  </a:lnTo>
                  <a:lnTo>
                    <a:pt x="30" y="53"/>
                  </a:lnTo>
                  <a:lnTo>
                    <a:pt x="36" y="49"/>
                  </a:lnTo>
                  <a:lnTo>
                    <a:pt x="36" y="43"/>
                  </a:lnTo>
                  <a:lnTo>
                    <a:pt x="27" y="38"/>
                  </a:lnTo>
                  <a:lnTo>
                    <a:pt x="25" y="27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4" y="12"/>
                  </a:lnTo>
                  <a:lnTo>
                    <a:pt x="19" y="9"/>
                  </a:lnTo>
                  <a:lnTo>
                    <a:pt x="14" y="3"/>
                  </a:lnTo>
                  <a:lnTo>
                    <a:pt x="10" y="5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9" name="United Arab Emirates">
              <a:extLst>
                <a:ext uri="{FF2B5EF4-FFF2-40B4-BE49-F238E27FC236}">
                  <a16:creationId xmlns:a16="http://schemas.microsoft.com/office/drawing/2014/main" id="{B2543699-F587-4617-B48A-F79D14ECD47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0006" y="3079523"/>
              <a:ext cx="155575" cy="133350"/>
            </a:xfrm>
            <a:custGeom>
              <a:avLst/>
              <a:gdLst>
                <a:gd name="T0" fmla="*/ 93 w 98"/>
                <a:gd name="T1" fmla="*/ 8 h 84"/>
                <a:gd name="T2" fmla="*/ 87 w 98"/>
                <a:gd name="T3" fmla="*/ 0 h 84"/>
                <a:gd name="T4" fmla="*/ 76 w 98"/>
                <a:gd name="T5" fmla="*/ 14 h 84"/>
                <a:gd name="T6" fmla="*/ 63 w 98"/>
                <a:gd name="T7" fmla="*/ 30 h 84"/>
                <a:gd name="T8" fmla="*/ 50 w 98"/>
                <a:gd name="T9" fmla="*/ 46 h 84"/>
                <a:gd name="T10" fmla="*/ 38 w 98"/>
                <a:gd name="T11" fmla="*/ 45 h 84"/>
                <a:gd name="T12" fmla="*/ 21 w 98"/>
                <a:gd name="T13" fmla="*/ 44 h 84"/>
                <a:gd name="T14" fmla="*/ 5 w 98"/>
                <a:gd name="T15" fmla="*/ 48 h 84"/>
                <a:gd name="T16" fmla="*/ 4 w 98"/>
                <a:gd name="T17" fmla="*/ 41 h 84"/>
                <a:gd name="T18" fmla="*/ 0 w 98"/>
                <a:gd name="T19" fmla="*/ 43 h 84"/>
                <a:gd name="T20" fmla="*/ 1 w 98"/>
                <a:gd name="T21" fmla="*/ 49 h 84"/>
                <a:gd name="T22" fmla="*/ 12 w 98"/>
                <a:gd name="T23" fmla="*/ 72 h 84"/>
                <a:gd name="T24" fmla="*/ 74 w 98"/>
                <a:gd name="T25" fmla="*/ 84 h 84"/>
                <a:gd name="T26" fmla="*/ 78 w 98"/>
                <a:gd name="T27" fmla="*/ 80 h 84"/>
                <a:gd name="T28" fmla="*/ 78 w 98"/>
                <a:gd name="T29" fmla="*/ 69 h 84"/>
                <a:gd name="T30" fmla="*/ 83 w 98"/>
                <a:gd name="T31" fmla="*/ 60 h 84"/>
                <a:gd name="T32" fmla="*/ 82 w 98"/>
                <a:gd name="T33" fmla="*/ 51 h 84"/>
                <a:gd name="T34" fmla="*/ 91 w 98"/>
                <a:gd name="T35" fmla="*/ 45 h 84"/>
                <a:gd name="T36" fmla="*/ 86 w 98"/>
                <a:gd name="T37" fmla="*/ 42 h 84"/>
                <a:gd name="T38" fmla="*/ 87 w 98"/>
                <a:gd name="T39" fmla="*/ 26 h 84"/>
                <a:gd name="T40" fmla="*/ 98 w 98"/>
                <a:gd name="T41" fmla="*/ 26 h 84"/>
                <a:gd name="T42" fmla="*/ 93 w 98"/>
                <a:gd name="T43" fmla="*/ 8 h 84"/>
                <a:gd name="T44" fmla="*/ 93 w 98"/>
                <a:gd name="T45" fmla="*/ 8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8" h="84">
                  <a:moveTo>
                    <a:pt x="93" y="8"/>
                  </a:moveTo>
                  <a:lnTo>
                    <a:pt x="87" y="0"/>
                  </a:lnTo>
                  <a:lnTo>
                    <a:pt x="76" y="14"/>
                  </a:lnTo>
                  <a:lnTo>
                    <a:pt x="63" y="30"/>
                  </a:lnTo>
                  <a:lnTo>
                    <a:pt x="50" y="46"/>
                  </a:lnTo>
                  <a:lnTo>
                    <a:pt x="38" y="45"/>
                  </a:lnTo>
                  <a:lnTo>
                    <a:pt x="21" y="44"/>
                  </a:lnTo>
                  <a:lnTo>
                    <a:pt x="5" y="48"/>
                  </a:lnTo>
                  <a:lnTo>
                    <a:pt x="4" y="41"/>
                  </a:lnTo>
                  <a:lnTo>
                    <a:pt x="0" y="43"/>
                  </a:lnTo>
                  <a:lnTo>
                    <a:pt x="1" y="49"/>
                  </a:lnTo>
                  <a:lnTo>
                    <a:pt x="12" y="72"/>
                  </a:lnTo>
                  <a:lnTo>
                    <a:pt x="74" y="84"/>
                  </a:lnTo>
                  <a:lnTo>
                    <a:pt x="78" y="80"/>
                  </a:lnTo>
                  <a:lnTo>
                    <a:pt x="78" y="69"/>
                  </a:lnTo>
                  <a:lnTo>
                    <a:pt x="83" y="60"/>
                  </a:lnTo>
                  <a:lnTo>
                    <a:pt x="82" y="51"/>
                  </a:lnTo>
                  <a:lnTo>
                    <a:pt x="91" y="45"/>
                  </a:lnTo>
                  <a:lnTo>
                    <a:pt x="86" y="42"/>
                  </a:lnTo>
                  <a:lnTo>
                    <a:pt x="87" y="26"/>
                  </a:lnTo>
                  <a:lnTo>
                    <a:pt x="98" y="26"/>
                  </a:lnTo>
                  <a:lnTo>
                    <a:pt x="93" y="8"/>
                  </a:lnTo>
                  <a:lnTo>
                    <a:pt x="93" y="8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0" name="Argentina">
              <a:extLst>
                <a:ext uri="{FF2B5EF4-FFF2-40B4-BE49-F238E27FC236}">
                  <a16:creationId xmlns:a16="http://schemas.microsoft.com/office/drawing/2014/main" id="{8AF4F42A-8A4A-4707-9816-04B28424E4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48881" y="4884511"/>
              <a:ext cx="515937" cy="1246187"/>
            </a:xfrm>
            <a:custGeom>
              <a:avLst/>
              <a:gdLst>
                <a:gd name="T0" fmla="*/ 273 w 325"/>
                <a:gd name="T1" fmla="*/ 773 h 785"/>
                <a:gd name="T2" fmla="*/ 217 w 325"/>
                <a:gd name="T3" fmla="*/ 753 h 785"/>
                <a:gd name="T4" fmla="*/ 190 w 325"/>
                <a:gd name="T5" fmla="*/ 726 h 785"/>
                <a:gd name="T6" fmla="*/ 230 w 325"/>
                <a:gd name="T7" fmla="*/ 776 h 785"/>
                <a:gd name="T8" fmla="*/ 253 w 325"/>
                <a:gd name="T9" fmla="*/ 785 h 785"/>
                <a:gd name="T10" fmla="*/ 269 w 325"/>
                <a:gd name="T11" fmla="*/ 784 h 785"/>
                <a:gd name="T12" fmla="*/ 53 w 325"/>
                <a:gd name="T13" fmla="*/ 0 h 785"/>
                <a:gd name="T14" fmla="*/ 42 w 325"/>
                <a:gd name="T15" fmla="*/ 29 h 785"/>
                <a:gd name="T16" fmla="*/ 17 w 325"/>
                <a:gd name="T17" fmla="*/ 65 h 785"/>
                <a:gd name="T18" fmla="*/ 20 w 325"/>
                <a:gd name="T19" fmla="*/ 112 h 785"/>
                <a:gd name="T20" fmla="*/ 15 w 325"/>
                <a:gd name="T21" fmla="*/ 136 h 785"/>
                <a:gd name="T22" fmla="*/ 2 w 325"/>
                <a:gd name="T23" fmla="*/ 180 h 785"/>
                <a:gd name="T24" fmla="*/ 0 w 325"/>
                <a:gd name="T25" fmla="*/ 227 h 785"/>
                <a:gd name="T26" fmla="*/ 24 w 325"/>
                <a:gd name="T27" fmla="*/ 272 h 785"/>
                <a:gd name="T28" fmla="*/ 23 w 325"/>
                <a:gd name="T29" fmla="*/ 318 h 785"/>
                <a:gd name="T30" fmla="*/ 18 w 325"/>
                <a:gd name="T31" fmla="*/ 353 h 785"/>
                <a:gd name="T32" fmla="*/ 35 w 325"/>
                <a:gd name="T33" fmla="*/ 399 h 785"/>
                <a:gd name="T34" fmla="*/ 27 w 325"/>
                <a:gd name="T35" fmla="*/ 430 h 785"/>
                <a:gd name="T36" fmla="*/ 42 w 325"/>
                <a:gd name="T37" fmla="*/ 482 h 785"/>
                <a:gd name="T38" fmla="*/ 49 w 325"/>
                <a:gd name="T39" fmla="*/ 513 h 785"/>
                <a:gd name="T40" fmla="*/ 59 w 325"/>
                <a:gd name="T41" fmla="*/ 531 h 785"/>
                <a:gd name="T42" fmla="*/ 74 w 325"/>
                <a:gd name="T43" fmla="*/ 545 h 785"/>
                <a:gd name="T44" fmla="*/ 74 w 325"/>
                <a:gd name="T45" fmla="*/ 563 h 785"/>
                <a:gd name="T46" fmla="*/ 76 w 325"/>
                <a:gd name="T47" fmla="*/ 613 h 785"/>
                <a:gd name="T48" fmla="*/ 81 w 325"/>
                <a:gd name="T49" fmla="*/ 639 h 785"/>
                <a:gd name="T50" fmla="*/ 83 w 325"/>
                <a:gd name="T51" fmla="*/ 675 h 785"/>
                <a:gd name="T52" fmla="*/ 105 w 325"/>
                <a:gd name="T53" fmla="*/ 681 h 785"/>
                <a:gd name="T54" fmla="*/ 124 w 325"/>
                <a:gd name="T55" fmla="*/ 712 h 785"/>
                <a:gd name="T56" fmla="*/ 187 w 325"/>
                <a:gd name="T57" fmla="*/ 718 h 785"/>
                <a:gd name="T58" fmla="*/ 177 w 325"/>
                <a:gd name="T59" fmla="*/ 706 h 785"/>
                <a:gd name="T60" fmla="*/ 165 w 325"/>
                <a:gd name="T61" fmla="*/ 672 h 785"/>
                <a:gd name="T62" fmla="*/ 180 w 325"/>
                <a:gd name="T63" fmla="*/ 635 h 785"/>
                <a:gd name="T64" fmla="*/ 197 w 325"/>
                <a:gd name="T65" fmla="*/ 602 h 785"/>
                <a:gd name="T66" fmla="*/ 154 w 325"/>
                <a:gd name="T67" fmla="*/ 579 h 785"/>
                <a:gd name="T68" fmla="*/ 164 w 325"/>
                <a:gd name="T69" fmla="*/ 550 h 785"/>
                <a:gd name="T70" fmla="*/ 183 w 325"/>
                <a:gd name="T71" fmla="*/ 538 h 785"/>
                <a:gd name="T72" fmla="*/ 190 w 325"/>
                <a:gd name="T73" fmla="*/ 501 h 785"/>
                <a:gd name="T74" fmla="*/ 195 w 325"/>
                <a:gd name="T75" fmla="*/ 481 h 785"/>
                <a:gd name="T76" fmla="*/ 172 w 325"/>
                <a:gd name="T77" fmla="*/ 482 h 785"/>
                <a:gd name="T78" fmla="*/ 168 w 325"/>
                <a:gd name="T79" fmla="*/ 452 h 785"/>
                <a:gd name="T80" fmla="*/ 208 w 325"/>
                <a:gd name="T81" fmla="*/ 458 h 785"/>
                <a:gd name="T82" fmla="*/ 210 w 325"/>
                <a:gd name="T83" fmla="*/ 438 h 785"/>
                <a:gd name="T84" fmla="*/ 203 w 325"/>
                <a:gd name="T85" fmla="*/ 406 h 785"/>
                <a:gd name="T86" fmla="*/ 262 w 325"/>
                <a:gd name="T87" fmla="*/ 404 h 785"/>
                <a:gd name="T88" fmla="*/ 301 w 325"/>
                <a:gd name="T89" fmla="*/ 360 h 785"/>
                <a:gd name="T90" fmla="*/ 285 w 325"/>
                <a:gd name="T91" fmla="*/ 338 h 785"/>
                <a:gd name="T92" fmla="*/ 255 w 325"/>
                <a:gd name="T93" fmla="*/ 300 h 785"/>
                <a:gd name="T94" fmla="*/ 253 w 325"/>
                <a:gd name="T95" fmla="*/ 272 h 785"/>
                <a:gd name="T96" fmla="*/ 252 w 325"/>
                <a:gd name="T97" fmla="*/ 243 h 785"/>
                <a:gd name="T98" fmla="*/ 255 w 325"/>
                <a:gd name="T99" fmla="*/ 200 h 785"/>
                <a:gd name="T100" fmla="*/ 297 w 325"/>
                <a:gd name="T101" fmla="*/ 144 h 785"/>
                <a:gd name="T102" fmla="*/ 325 w 325"/>
                <a:gd name="T103" fmla="*/ 122 h 785"/>
                <a:gd name="T104" fmla="*/ 311 w 325"/>
                <a:gd name="T105" fmla="*/ 89 h 785"/>
                <a:gd name="T106" fmla="*/ 301 w 325"/>
                <a:gd name="T107" fmla="*/ 114 h 785"/>
                <a:gd name="T108" fmla="*/ 269 w 325"/>
                <a:gd name="T109" fmla="*/ 137 h 785"/>
                <a:gd name="T110" fmla="*/ 224 w 325"/>
                <a:gd name="T111" fmla="*/ 127 h 785"/>
                <a:gd name="T112" fmla="*/ 236 w 325"/>
                <a:gd name="T113" fmla="*/ 80 h 785"/>
                <a:gd name="T114" fmla="*/ 187 w 325"/>
                <a:gd name="T115" fmla="*/ 53 h 785"/>
                <a:gd name="T116" fmla="*/ 128 w 325"/>
                <a:gd name="T117" fmla="*/ 11 h 785"/>
                <a:gd name="T118" fmla="*/ 101 w 325"/>
                <a:gd name="T119" fmla="*/ 4 h 785"/>
                <a:gd name="T120" fmla="*/ 81 w 325"/>
                <a:gd name="T121" fmla="*/ 6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25" h="785">
                  <a:moveTo>
                    <a:pt x="269" y="784"/>
                  </a:moveTo>
                  <a:lnTo>
                    <a:pt x="273" y="773"/>
                  </a:lnTo>
                  <a:lnTo>
                    <a:pt x="246" y="767"/>
                  </a:lnTo>
                  <a:lnTo>
                    <a:pt x="217" y="753"/>
                  </a:lnTo>
                  <a:lnTo>
                    <a:pt x="201" y="736"/>
                  </a:lnTo>
                  <a:lnTo>
                    <a:pt x="190" y="726"/>
                  </a:lnTo>
                  <a:lnTo>
                    <a:pt x="211" y="776"/>
                  </a:lnTo>
                  <a:lnTo>
                    <a:pt x="230" y="776"/>
                  </a:lnTo>
                  <a:lnTo>
                    <a:pt x="241" y="777"/>
                  </a:lnTo>
                  <a:lnTo>
                    <a:pt x="253" y="785"/>
                  </a:lnTo>
                  <a:lnTo>
                    <a:pt x="269" y="784"/>
                  </a:lnTo>
                  <a:lnTo>
                    <a:pt x="269" y="784"/>
                  </a:lnTo>
                  <a:close/>
                  <a:moveTo>
                    <a:pt x="81" y="6"/>
                  </a:moveTo>
                  <a:lnTo>
                    <a:pt x="53" y="0"/>
                  </a:lnTo>
                  <a:lnTo>
                    <a:pt x="38" y="22"/>
                  </a:lnTo>
                  <a:lnTo>
                    <a:pt x="42" y="29"/>
                  </a:lnTo>
                  <a:lnTo>
                    <a:pt x="37" y="53"/>
                  </a:lnTo>
                  <a:lnTo>
                    <a:pt x="17" y="65"/>
                  </a:lnTo>
                  <a:lnTo>
                    <a:pt x="22" y="104"/>
                  </a:lnTo>
                  <a:lnTo>
                    <a:pt x="20" y="112"/>
                  </a:lnTo>
                  <a:lnTo>
                    <a:pt x="27" y="121"/>
                  </a:lnTo>
                  <a:lnTo>
                    <a:pt x="15" y="136"/>
                  </a:lnTo>
                  <a:lnTo>
                    <a:pt x="5" y="158"/>
                  </a:lnTo>
                  <a:lnTo>
                    <a:pt x="2" y="180"/>
                  </a:lnTo>
                  <a:lnTo>
                    <a:pt x="8" y="203"/>
                  </a:lnTo>
                  <a:lnTo>
                    <a:pt x="0" y="227"/>
                  </a:lnTo>
                  <a:lnTo>
                    <a:pt x="19" y="268"/>
                  </a:lnTo>
                  <a:lnTo>
                    <a:pt x="24" y="272"/>
                  </a:lnTo>
                  <a:lnTo>
                    <a:pt x="29" y="295"/>
                  </a:lnTo>
                  <a:lnTo>
                    <a:pt x="23" y="318"/>
                  </a:lnTo>
                  <a:lnTo>
                    <a:pt x="29" y="338"/>
                  </a:lnTo>
                  <a:lnTo>
                    <a:pt x="18" y="353"/>
                  </a:lnTo>
                  <a:lnTo>
                    <a:pt x="23" y="376"/>
                  </a:lnTo>
                  <a:lnTo>
                    <a:pt x="35" y="399"/>
                  </a:lnTo>
                  <a:lnTo>
                    <a:pt x="26" y="409"/>
                  </a:lnTo>
                  <a:lnTo>
                    <a:pt x="27" y="430"/>
                  </a:lnTo>
                  <a:lnTo>
                    <a:pt x="30" y="453"/>
                  </a:lnTo>
                  <a:lnTo>
                    <a:pt x="42" y="482"/>
                  </a:lnTo>
                  <a:lnTo>
                    <a:pt x="36" y="486"/>
                  </a:lnTo>
                  <a:lnTo>
                    <a:pt x="49" y="513"/>
                  </a:lnTo>
                  <a:lnTo>
                    <a:pt x="62" y="521"/>
                  </a:lnTo>
                  <a:lnTo>
                    <a:pt x="59" y="531"/>
                  </a:lnTo>
                  <a:lnTo>
                    <a:pt x="69" y="536"/>
                  </a:lnTo>
                  <a:lnTo>
                    <a:pt x="74" y="545"/>
                  </a:lnTo>
                  <a:lnTo>
                    <a:pt x="67" y="549"/>
                  </a:lnTo>
                  <a:lnTo>
                    <a:pt x="74" y="563"/>
                  </a:lnTo>
                  <a:lnTo>
                    <a:pt x="78" y="593"/>
                  </a:lnTo>
                  <a:lnTo>
                    <a:pt x="76" y="613"/>
                  </a:lnTo>
                  <a:lnTo>
                    <a:pt x="82" y="625"/>
                  </a:lnTo>
                  <a:lnTo>
                    <a:pt x="81" y="639"/>
                  </a:lnTo>
                  <a:lnTo>
                    <a:pt x="72" y="649"/>
                  </a:lnTo>
                  <a:lnTo>
                    <a:pt x="83" y="675"/>
                  </a:lnTo>
                  <a:lnTo>
                    <a:pt x="92" y="682"/>
                  </a:lnTo>
                  <a:lnTo>
                    <a:pt x="105" y="681"/>
                  </a:lnTo>
                  <a:lnTo>
                    <a:pt x="111" y="698"/>
                  </a:lnTo>
                  <a:lnTo>
                    <a:pt x="124" y="712"/>
                  </a:lnTo>
                  <a:lnTo>
                    <a:pt x="169" y="715"/>
                  </a:lnTo>
                  <a:lnTo>
                    <a:pt x="187" y="718"/>
                  </a:lnTo>
                  <a:lnTo>
                    <a:pt x="195" y="719"/>
                  </a:lnTo>
                  <a:lnTo>
                    <a:pt x="177" y="706"/>
                  </a:lnTo>
                  <a:lnTo>
                    <a:pt x="162" y="682"/>
                  </a:lnTo>
                  <a:lnTo>
                    <a:pt x="165" y="672"/>
                  </a:lnTo>
                  <a:lnTo>
                    <a:pt x="178" y="662"/>
                  </a:lnTo>
                  <a:lnTo>
                    <a:pt x="180" y="635"/>
                  </a:lnTo>
                  <a:lnTo>
                    <a:pt x="198" y="622"/>
                  </a:lnTo>
                  <a:lnTo>
                    <a:pt x="197" y="602"/>
                  </a:lnTo>
                  <a:lnTo>
                    <a:pt x="178" y="596"/>
                  </a:lnTo>
                  <a:lnTo>
                    <a:pt x="154" y="579"/>
                  </a:lnTo>
                  <a:lnTo>
                    <a:pt x="154" y="563"/>
                  </a:lnTo>
                  <a:lnTo>
                    <a:pt x="164" y="550"/>
                  </a:lnTo>
                  <a:lnTo>
                    <a:pt x="182" y="550"/>
                  </a:lnTo>
                  <a:lnTo>
                    <a:pt x="183" y="538"/>
                  </a:lnTo>
                  <a:lnTo>
                    <a:pt x="178" y="515"/>
                  </a:lnTo>
                  <a:lnTo>
                    <a:pt x="190" y="501"/>
                  </a:lnTo>
                  <a:lnTo>
                    <a:pt x="204" y="493"/>
                  </a:lnTo>
                  <a:lnTo>
                    <a:pt x="195" y="481"/>
                  </a:lnTo>
                  <a:lnTo>
                    <a:pt x="187" y="489"/>
                  </a:lnTo>
                  <a:lnTo>
                    <a:pt x="172" y="482"/>
                  </a:lnTo>
                  <a:lnTo>
                    <a:pt x="162" y="459"/>
                  </a:lnTo>
                  <a:lnTo>
                    <a:pt x="168" y="452"/>
                  </a:lnTo>
                  <a:lnTo>
                    <a:pt x="190" y="462"/>
                  </a:lnTo>
                  <a:lnTo>
                    <a:pt x="208" y="458"/>
                  </a:lnTo>
                  <a:lnTo>
                    <a:pt x="218" y="450"/>
                  </a:lnTo>
                  <a:lnTo>
                    <a:pt x="210" y="438"/>
                  </a:lnTo>
                  <a:lnTo>
                    <a:pt x="210" y="421"/>
                  </a:lnTo>
                  <a:lnTo>
                    <a:pt x="203" y="406"/>
                  </a:lnTo>
                  <a:lnTo>
                    <a:pt x="224" y="409"/>
                  </a:lnTo>
                  <a:lnTo>
                    <a:pt x="262" y="404"/>
                  </a:lnTo>
                  <a:lnTo>
                    <a:pt x="289" y="391"/>
                  </a:lnTo>
                  <a:lnTo>
                    <a:pt x="301" y="360"/>
                  </a:lnTo>
                  <a:lnTo>
                    <a:pt x="300" y="348"/>
                  </a:lnTo>
                  <a:lnTo>
                    <a:pt x="285" y="338"/>
                  </a:lnTo>
                  <a:lnTo>
                    <a:pt x="285" y="321"/>
                  </a:lnTo>
                  <a:lnTo>
                    <a:pt x="255" y="300"/>
                  </a:lnTo>
                  <a:lnTo>
                    <a:pt x="254" y="288"/>
                  </a:lnTo>
                  <a:lnTo>
                    <a:pt x="253" y="272"/>
                  </a:lnTo>
                  <a:lnTo>
                    <a:pt x="256" y="267"/>
                  </a:lnTo>
                  <a:lnTo>
                    <a:pt x="252" y="243"/>
                  </a:lnTo>
                  <a:lnTo>
                    <a:pt x="253" y="219"/>
                  </a:lnTo>
                  <a:lnTo>
                    <a:pt x="255" y="200"/>
                  </a:lnTo>
                  <a:lnTo>
                    <a:pt x="277" y="168"/>
                  </a:lnTo>
                  <a:lnTo>
                    <a:pt x="297" y="144"/>
                  </a:lnTo>
                  <a:lnTo>
                    <a:pt x="309" y="135"/>
                  </a:lnTo>
                  <a:lnTo>
                    <a:pt x="325" y="122"/>
                  </a:lnTo>
                  <a:lnTo>
                    <a:pt x="323" y="103"/>
                  </a:lnTo>
                  <a:lnTo>
                    <a:pt x="311" y="89"/>
                  </a:lnTo>
                  <a:lnTo>
                    <a:pt x="302" y="94"/>
                  </a:lnTo>
                  <a:lnTo>
                    <a:pt x="301" y="114"/>
                  </a:lnTo>
                  <a:lnTo>
                    <a:pt x="285" y="133"/>
                  </a:lnTo>
                  <a:lnTo>
                    <a:pt x="269" y="137"/>
                  </a:lnTo>
                  <a:lnTo>
                    <a:pt x="246" y="133"/>
                  </a:lnTo>
                  <a:lnTo>
                    <a:pt x="224" y="127"/>
                  </a:lnTo>
                  <a:lnTo>
                    <a:pt x="240" y="90"/>
                  </a:lnTo>
                  <a:lnTo>
                    <a:pt x="236" y="80"/>
                  </a:lnTo>
                  <a:lnTo>
                    <a:pt x="214" y="71"/>
                  </a:lnTo>
                  <a:lnTo>
                    <a:pt x="187" y="53"/>
                  </a:lnTo>
                  <a:lnTo>
                    <a:pt x="170" y="49"/>
                  </a:lnTo>
                  <a:lnTo>
                    <a:pt x="128" y="11"/>
                  </a:lnTo>
                  <a:lnTo>
                    <a:pt x="124" y="6"/>
                  </a:lnTo>
                  <a:lnTo>
                    <a:pt x="101" y="4"/>
                  </a:lnTo>
                  <a:lnTo>
                    <a:pt x="94" y="24"/>
                  </a:lnTo>
                  <a:lnTo>
                    <a:pt x="81" y="6"/>
                  </a:lnTo>
                  <a:lnTo>
                    <a:pt x="81" y="6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1" name="Armenia">
              <a:extLst>
                <a:ext uri="{FF2B5EF4-FFF2-40B4-BE49-F238E27FC236}">
                  <a16:creationId xmlns:a16="http://schemas.microsoft.com/office/drawing/2014/main" id="{27C6EDE6-1647-4A8A-90FE-F987AC78849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27106" y="2504848"/>
              <a:ext cx="104775" cy="93663"/>
            </a:xfrm>
            <a:custGeom>
              <a:avLst/>
              <a:gdLst>
                <a:gd name="T0" fmla="*/ 66 w 66"/>
                <a:gd name="T1" fmla="*/ 58 h 59"/>
                <a:gd name="T2" fmla="*/ 62 w 66"/>
                <a:gd name="T3" fmla="*/ 42 h 59"/>
                <a:gd name="T4" fmla="*/ 53 w 66"/>
                <a:gd name="T5" fmla="*/ 37 h 59"/>
                <a:gd name="T6" fmla="*/ 44 w 66"/>
                <a:gd name="T7" fmla="*/ 32 h 59"/>
                <a:gd name="T8" fmla="*/ 47 w 66"/>
                <a:gd name="T9" fmla="*/ 24 h 59"/>
                <a:gd name="T10" fmla="*/ 36 w 66"/>
                <a:gd name="T11" fmla="*/ 16 h 59"/>
                <a:gd name="T12" fmla="*/ 39 w 66"/>
                <a:gd name="T13" fmla="*/ 10 h 59"/>
                <a:gd name="T14" fmla="*/ 31 w 66"/>
                <a:gd name="T15" fmla="*/ 6 h 59"/>
                <a:gd name="T16" fmla="*/ 25 w 66"/>
                <a:gd name="T17" fmla="*/ 0 h 59"/>
                <a:gd name="T18" fmla="*/ 0 w 66"/>
                <a:gd name="T19" fmla="*/ 4 h 59"/>
                <a:gd name="T20" fmla="*/ 5 w 66"/>
                <a:gd name="T21" fmla="*/ 11 h 59"/>
                <a:gd name="T22" fmla="*/ 5 w 66"/>
                <a:gd name="T23" fmla="*/ 23 h 59"/>
                <a:gd name="T24" fmla="*/ 20 w 66"/>
                <a:gd name="T25" fmla="*/ 29 h 59"/>
                <a:gd name="T26" fmla="*/ 29 w 66"/>
                <a:gd name="T27" fmla="*/ 35 h 59"/>
                <a:gd name="T28" fmla="*/ 33 w 66"/>
                <a:gd name="T29" fmla="*/ 35 h 59"/>
                <a:gd name="T30" fmla="*/ 40 w 66"/>
                <a:gd name="T31" fmla="*/ 41 h 59"/>
                <a:gd name="T32" fmla="*/ 48 w 66"/>
                <a:gd name="T33" fmla="*/ 41 h 59"/>
                <a:gd name="T34" fmla="*/ 49 w 66"/>
                <a:gd name="T35" fmla="*/ 45 h 59"/>
                <a:gd name="T36" fmla="*/ 60 w 66"/>
                <a:gd name="T37" fmla="*/ 59 h 59"/>
                <a:gd name="T38" fmla="*/ 66 w 66"/>
                <a:gd name="T39" fmla="*/ 58 h 59"/>
                <a:gd name="T40" fmla="*/ 66 w 66"/>
                <a:gd name="T41" fmla="*/ 58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6" h="59">
                  <a:moveTo>
                    <a:pt x="66" y="58"/>
                  </a:moveTo>
                  <a:lnTo>
                    <a:pt x="62" y="42"/>
                  </a:lnTo>
                  <a:lnTo>
                    <a:pt x="53" y="37"/>
                  </a:lnTo>
                  <a:lnTo>
                    <a:pt x="44" y="32"/>
                  </a:lnTo>
                  <a:lnTo>
                    <a:pt x="47" y="24"/>
                  </a:lnTo>
                  <a:lnTo>
                    <a:pt x="36" y="16"/>
                  </a:lnTo>
                  <a:lnTo>
                    <a:pt x="39" y="10"/>
                  </a:lnTo>
                  <a:lnTo>
                    <a:pt x="31" y="6"/>
                  </a:lnTo>
                  <a:lnTo>
                    <a:pt x="25" y="0"/>
                  </a:lnTo>
                  <a:lnTo>
                    <a:pt x="0" y="4"/>
                  </a:lnTo>
                  <a:lnTo>
                    <a:pt x="5" y="11"/>
                  </a:lnTo>
                  <a:lnTo>
                    <a:pt x="5" y="23"/>
                  </a:lnTo>
                  <a:lnTo>
                    <a:pt x="20" y="29"/>
                  </a:lnTo>
                  <a:lnTo>
                    <a:pt x="29" y="35"/>
                  </a:lnTo>
                  <a:lnTo>
                    <a:pt x="33" y="35"/>
                  </a:lnTo>
                  <a:lnTo>
                    <a:pt x="40" y="41"/>
                  </a:lnTo>
                  <a:lnTo>
                    <a:pt x="48" y="41"/>
                  </a:lnTo>
                  <a:lnTo>
                    <a:pt x="49" y="45"/>
                  </a:lnTo>
                  <a:lnTo>
                    <a:pt x="60" y="59"/>
                  </a:lnTo>
                  <a:lnTo>
                    <a:pt x="66" y="58"/>
                  </a:lnTo>
                  <a:lnTo>
                    <a:pt x="66" y="58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2" name="Australia">
              <a:extLst>
                <a:ext uri="{FF2B5EF4-FFF2-40B4-BE49-F238E27FC236}">
                  <a16:creationId xmlns:a16="http://schemas.microsoft.com/office/drawing/2014/main" id="{1990DCA7-7F6B-4F68-AC3E-E760FED276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19456" y="4463823"/>
              <a:ext cx="1328737" cy="1243012"/>
            </a:xfrm>
            <a:custGeom>
              <a:avLst/>
              <a:gdLst>
                <a:gd name="T0" fmla="*/ 498 w 837"/>
                <a:gd name="T1" fmla="*/ 746 h 783"/>
                <a:gd name="T2" fmla="*/ 503 w 837"/>
                <a:gd name="T3" fmla="*/ 783 h 783"/>
                <a:gd name="T4" fmla="*/ 556 w 837"/>
                <a:gd name="T5" fmla="*/ 747 h 783"/>
                <a:gd name="T6" fmla="*/ 531 w 837"/>
                <a:gd name="T7" fmla="*/ 726 h 783"/>
                <a:gd name="T8" fmla="*/ 707 w 837"/>
                <a:gd name="T9" fmla="*/ 66 h 783"/>
                <a:gd name="T10" fmla="*/ 697 w 837"/>
                <a:gd name="T11" fmla="*/ 26 h 783"/>
                <a:gd name="T12" fmla="*/ 683 w 837"/>
                <a:gd name="T13" fmla="*/ 16 h 783"/>
                <a:gd name="T14" fmla="*/ 669 w 837"/>
                <a:gd name="T15" fmla="*/ 54 h 783"/>
                <a:gd name="T16" fmla="*/ 661 w 837"/>
                <a:gd name="T17" fmla="*/ 105 h 783"/>
                <a:gd name="T18" fmla="*/ 634 w 837"/>
                <a:gd name="T19" fmla="*/ 160 h 783"/>
                <a:gd name="T20" fmla="*/ 589 w 837"/>
                <a:gd name="T21" fmla="*/ 146 h 783"/>
                <a:gd name="T22" fmla="*/ 547 w 837"/>
                <a:gd name="T23" fmla="*/ 116 h 783"/>
                <a:gd name="T24" fmla="*/ 549 w 837"/>
                <a:gd name="T25" fmla="*/ 73 h 783"/>
                <a:gd name="T26" fmla="*/ 573 w 837"/>
                <a:gd name="T27" fmla="*/ 40 h 783"/>
                <a:gd name="T28" fmla="*/ 538 w 837"/>
                <a:gd name="T29" fmla="*/ 38 h 783"/>
                <a:gd name="T30" fmla="*/ 493 w 837"/>
                <a:gd name="T31" fmla="*/ 17 h 783"/>
                <a:gd name="T32" fmla="*/ 482 w 837"/>
                <a:gd name="T33" fmla="*/ 35 h 783"/>
                <a:gd name="T34" fmla="*/ 429 w 837"/>
                <a:gd name="T35" fmla="*/ 58 h 783"/>
                <a:gd name="T36" fmla="*/ 411 w 837"/>
                <a:gd name="T37" fmla="*/ 103 h 783"/>
                <a:gd name="T38" fmla="*/ 362 w 837"/>
                <a:gd name="T39" fmla="*/ 75 h 783"/>
                <a:gd name="T40" fmla="*/ 332 w 837"/>
                <a:gd name="T41" fmla="*/ 85 h 783"/>
                <a:gd name="T42" fmla="*/ 300 w 837"/>
                <a:gd name="T43" fmla="*/ 117 h 783"/>
                <a:gd name="T44" fmla="*/ 283 w 837"/>
                <a:gd name="T45" fmla="*/ 153 h 783"/>
                <a:gd name="T46" fmla="*/ 248 w 837"/>
                <a:gd name="T47" fmla="*/ 170 h 783"/>
                <a:gd name="T48" fmla="*/ 210 w 837"/>
                <a:gd name="T49" fmla="*/ 215 h 783"/>
                <a:gd name="T50" fmla="*/ 166 w 837"/>
                <a:gd name="T51" fmla="*/ 228 h 783"/>
                <a:gd name="T52" fmla="*/ 121 w 837"/>
                <a:gd name="T53" fmla="*/ 239 h 783"/>
                <a:gd name="T54" fmla="*/ 62 w 837"/>
                <a:gd name="T55" fmla="*/ 282 h 783"/>
                <a:gd name="T56" fmla="*/ 47 w 837"/>
                <a:gd name="T57" fmla="*/ 307 h 783"/>
                <a:gd name="T58" fmla="*/ 39 w 837"/>
                <a:gd name="T59" fmla="*/ 341 h 783"/>
                <a:gd name="T60" fmla="*/ 31 w 837"/>
                <a:gd name="T61" fmla="*/ 356 h 783"/>
                <a:gd name="T62" fmla="*/ 33 w 837"/>
                <a:gd name="T63" fmla="*/ 396 h 783"/>
                <a:gd name="T64" fmla="*/ 39 w 837"/>
                <a:gd name="T65" fmla="*/ 447 h 783"/>
                <a:gd name="T66" fmla="*/ 33 w 837"/>
                <a:gd name="T67" fmla="*/ 512 h 783"/>
                <a:gd name="T68" fmla="*/ 6 w 837"/>
                <a:gd name="T69" fmla="*/ 546 h 783"/>
                <a:gd name="T70" fmla="*/ 38 w 837"/>
                <a:gd name="T71" fmla="*/ 579 h 783"/>
                <a:gd name="T72" fmla="*/ 82 w 837"/>
                <a:gd name="T73" fmla="*/ 567 h 783"/>
                <a:gd name="T74" fmla="*/ 144 w 837"/>
                <a:gd name="T75" fmla="*/ 555 h 783"/>
                <a:gd name="T76" fmla="*/ 194 w 837"/>
                <a:gd name="T77" fmla="*/ 530 h 783"/>
                <a:gd name="T78" fmla="*/ 284 w 837"/>
                <a:gd name="T79" fmla="*/ 506 h 783"/>
                <a:gd name="T80" fmla="*/ 379 w 837"/>
                <a:gd name="T81" fmla="*/ 507 h 783"/>
                <a:gd name="T82" fmla="*/ 405 w 837"/>
                <a:gd name="T83" fmla="*/ 553 h 783"/>
                <a:gd name="T84" fmla="*/ 441 w 837"/>
                <a:gd name="T85" fmla="*/ 549 h 783"/>
                <a:gd name="T86" fmla="*/ 438 w 837"/>
                <a:gd name="T87" fmla="*/ 572 h 783"/>
                <a:gd name="T88" fmla="*/ 456 w 837"/>
                <a:gd name="T89" fmla="*/ 582 h 783"/>
                <a:gd name="T90" fmla="*/ 464 w 837"/>
                <a:gd name="T91" fmla="*/ 618 h 783"/>
                <a:gd name="T92" fmla="*/ 489 w 837"/>
                <a:gd name="T93" fmla="*/ 660 h 783"/>
                <a:gd name="T94" fmla="*/ 551 w 837"/>
                <a:gd name="T95" fmla="*/ 648 h 783"/>
                <a:gd name="T96" fmla="*/ 579 w 837"/>
                <a:gd name="T97" fmla="*/ 666 h 783"/>
                <a:gd name="T98" fmla="*/ 655 w 837"/>
                <a:gd name="T99" fmla="*/ 637 h 783"/>
                <a:gd name="T100" fmla="*/ 697 w 837"/>
                <a:gd name="T101" fmla="*/ 583 h 783"/>
                <a:gd name="T102" fmla="*/ 762 w 837"/>
                <a:gd name="T103" fmla="*/ 520 h 783"/>
                <a:gd name="T104" fmla="*/ 813 w 837"/>
                <a:gd name="T105" fmla="*/ 447 h 783"/>
                <a:gd name="T106" fmla="*/ 833 w 837"/>
                <a:gd name="T107" fmla="*/ 380 h 783"/>
                <a:gd name="T108" fmla="*/ 820 w 837"/>
                <a:gd name="T109" fmla="*/ 319 h 783"/>
                <a:gd name="T110" fmla="*/ 799 w 837"/>
                <a:gd name="T111" fmla="*/ 273 h 783"/>
                <a:gd name="T112" fmla="*/ 784 w 837"/>
                <a:gd name="T113" fmla="*/ 232 h 783"/>
                <a:gd name="T114" fmla="*/ 737 w 837"/>
                <a:gd name="T115" fmla="*/ 181 h 783"/>
                <a:gd name="T116" fmla="*/ 735 w 837"/>
                <a:gd name="T117" fmla="*/ 134 h 783"/>
                <a:gd name="T118" fmla="*/ 725 w 837"/>
                <a:gd name="T119" fmla="*/ 83 h 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37" h="783">
                  <a:moveTo>
                    <a:pt x="518" y="717"/>
                  </a:moveTo>
                  <a:lnTo>
                    <a:pt x="507" y="716"/>
                  </a:lnTo>
                  <a:lnTo>
                    <a:pt x="500" y="727"/>
                  </a:lnTo>
                  <a:lnTo>
                    <a:pt x="498" y="746"/>
                  </a:lnTo>
                  <a:lnTo>
                    <a:pt x="489" y="761"/>
                  </a:lnTo>
                  <a:lnTo>
                    <a:pt x="488" y="781"/>
                  </a:lnTo>
                  <a:lnTo>
                    <a:pt x="499" y="782"/>
                  </a:lnTo>
                  <a:lnTo>
                    <a:pt x="503" y="783"/>
                  </a:lnTo>
                  <a:lnTo>
                    <a:pt x="527" y="767"/>
                  </a:lnTo>
                  <a:lnTo>
                    <a:pt x="529" y="773"/>
                  </a:lnTo>
                  <a:lnTo>
                    <a:pt x="544" y="755"/>
                  </a:lnTo>
                  <a:lnTo>
                    <a:pt x="556" y="747"/>
                  </a:lnTo>
                  <a:lnTo>
                    <a:pt x="573" y="719"/>
                  </a:lnTo>
                  <a:lnTo>
                    <a:pt x="562" y="717"/>
                  </a:lnTo>
                  <a:lnTo>
                    <a:pt x="545" y="722"/>
                  </a:lnTo>
                  <a:lnTo>
                    <a:pt x="531" y="726"/>
                  </a:lnTo>
                  <a:lnTo>
                    <a:pt x="518" y="717"/>
                  </a:lnTo>
                  <a:lnTo>
                    <a:pt x="518" y="717"/>
                  </a:lnTo>
                  <a:close/>
                  <a:moveTo>
                    <a:pt x="705" y="74"/>
                  </a:moveTo>
                  <a:lnTo>
                    <a:pt x="707" y="66"/>
                  </a:lnTo>
                  <a:lnTo>
                    <a:pt x="708" y="52"/>
                  </a:lnTo>
                  <a:lnTo>
                    <a:pt x="701" y="40"/>
                  </a:lnTo>
                  <a:lnTo>
                    <a:pt x="702" y="30"/>
                  </a:lnTo>
                  <a:lnTo>
                    <a:pt x="697" y="26"/>
                  </a:lnTo>
                  <a:lnTo>
                    <a:pt x="698" y="12"/>
                  </a:lnTo>
                  <a:lnTo>
                    <a:pt x="693" y="0"/>
                  </a:lnTo>
                  <a:lnTo>
                    <a:pt x="685" y="10"/>
                  </a:lnTo>
                  <a:lnTo>
                    <a:pt x="683" y="16"/>
                  </a:lnTo>
                  <a:lnTo>
                    <a:pt x="677" y="29"/>
                  </a:lnTo>
                  <a:lnTo>
                    <a:pt x="671" y="41"/>
                  </a:lnTo>
                  <a:lnTo>
                    <a:pt x="672" y="50"/>
                  </a:lnTo>
                  <a:lnTo>
                    <a:pt x="669" y="54"/>
                  </a:lnTo>
                  <a:lnTo>
                    <a:pt x="663" y="72"/>
                  </a:lnTo>
                  <a:lnTo>
                    <a:pt x="663" y="86"/>
                  </a:lnTo>
                  <a:lnTo>
                    <a:pt x="660" y="93"/>
                  </a:lnTo>
                  <a:lnTo>
                    <a:pt x="661" y="105"/>
                  </a:lnTo>
                  <a:lnTo>
                    <a:pt x="652" y="124"/>
                  </a:lnTo>
                  <a:lnTo>
                    <a:pt x="647" y="137"/>
                  </a:lnTo>
                  <a:lnTo>
                    <a:pt x="641" y="147"/>
                  </a:lnTo>
                  <a:lnTo>
                    <a:pt x="634" y="160"/>
                  </a:lnTo>
                  <a:lnTo>
                    <a:pt x="619" y="167"/>
                  </a:lnTo>
                  <a:lnTo>
                    <a:pt x="601" y="160"/>
                  </a:lnTo>
                  <a:lnTo>
                    <a:pt x="599" y="153"/>
                  </a:lnTo>
                  <a:lnTo>
                    <a:pt x="589" y="146"/>
                  </a:lnTo>
                  <a:lnTo>
                    <a:pt x="584" y="146"/>
                  </a:lnTo>
                  <a:lnTo>
                    <a:pt x="572" y="132"/>
                  </a:lnTo>
                  <a:lnTo>
                    <a:pt x="562" y="124"/>
                  </a:lnTo>
                  <a:lnTo>
                    <a:pt x="547" y="116"/>
                  </a:lnTo>
                  <a:lnTo>
                    <a:pt x="532" y="103"/>
                  </a:lnTo>
                  <a:lnTo>
                    <a:pt x="532" y="96"/>
                  </a:lnTo>
                  <a:lnTo>
                    <a:pt x="542" y="85"/>
                  </a:lnTo>
                  <a:lnTo>
                    <a:pt x="549" y="73"/>
                  </a:lnTo>
                  <a:lnTo>
                    <a:pt x="548" y="64"/>
                  </a:lnTo>
                  <a:lnTo>
                    <a:pt x="556" y="63"/>
                  </a:lnTo>
                  <a:lnTo>
                    <a:pt x="565" y="54"/>
                  </a:lnTo>
                  <a:lnTo>
                    <a:pt x="573" y="40"/>
                  </a:lnTo>
                  <a:lnTo>
                    <a:pt x="564" y="28"/>
                  </a:lnTo>
                  <a:lnTo>
                    <a:pt x="559" y="33"/>
                  </a:lnTo>
                  <a:lnTo>
                    <a:pt x="551" y="31"/>
                  </a:lnTo>
                  <a:lnTo>
                    <a:pt x="538" y="38"/>
                  </a:lnTo>
                  <a:lnTo>
                    <a:pt x="526" y="30"/>
                  </a:lnTo>
                  <a:lnTo>
                    <a:pt x="519" y="33"/>
                  </a:lnTo>
                  <a:lnTo>
                    <a:pt x="503" y="27"/>
                  </a:lnTo>
                  <a:lnTo>
                    <a:pt x="493" y="17"/>
                  </a:lnTo>
                  <a:lnTo>
                    <a:pt x="480" y="12"/>
                  </a:lnTo>
                  <a:lnTo>
                    <a:pt x="468" y="15"/>
                  </a:lnTo>
                  <a:lnTo>
                    <a:pt x="483" y="23"/>
                  </a:lnTo>
                  <a:lnTo>
                    <a:pt x="482" y="35"/>
                  </a:lnTo>
                  <a:lnTo>
                    <a:pt x="463" y="40"/>
                  </a:lnTo>
                  <a:lnTo>
                    <a:pt x="453" y="37"/>
                  </a:lnTo>
                  <a:lnTo>
                    <a:pt x="440" y="45"/>
                  </a:lnTo>
                  <a:lnTo>
                    <a:pt x="429" y="58"/>
                  </a:lnTo>
                  <a:lnTo>
                    <a:pt x="432" y="64"/>
                  </a:lnTo>
                  <a:lnTo>
                    <a:pt x="421" y="70"/>
                  </a:lnTo>
                  <a:lnTo>
                    <a:pt x="408" y="90"/>
                  </a:lnTo>
                  <a:lnTo>
                    <a:pt x="411" y="103"/>
                  </a:lnTo>
                  <a:lnTo>
                    <a:pt x="398" y="100"/>
                  </a:lnTo>
                  <a:lnTo>
                    <a:pt x="385" y="100"/>
                  </a:lnTo>
                  <a:lnTo>
                    <a:pt x="376" y="86"/>
                  </a:lnTo>
                  <a:lnTo>
                    <a:pt x="362" y="75"/>
                  </a:lnTo>
                  <a:lnTo>
                    <a:pt x="351" y="79"/>
                  </a:lnTo>
                  <a:lnTo>
                    <a:pt x="342" y="82"/>
                  </a:lnTo>
                  <a:lnTo>
                    <a:pt x="340" y="88"/>
                  </a:lnTo>
                  <a:lnTo>
                    <a:pt x="332" y="85"/>
                  </a:lnTo>
                  <a:lnTo>
                    <a:pt x="331" y="92"/>
                  </a:lnTo>
                  <a:lnTo>
                    <a:pt x="320" y="96"/>
                  </a:lnTo>
                  <a:lnTo>
                    <a:pt x="313" y="105"/>
                  </a:lnTo>
                  <a:lnTo>
                    <a:pt x="300" y="117"/>
                  </a:lnTo>
                  <a:lnTo>
                    <a:pt x="294" y="135"/>
                  </a:lnTo>
                  <a:lnTo>
                    <a:pt x="286" y="130"/>
                  </a:lnTo>
                  <a:lnTo>
                    <a:pt x="278" y="141"/>
                  </a:lnTo>
                  <a:lnTo>
                    <a:pt x="283" y="153"/>
                  </a:lnTo>
                  <a:lnTo>
                    <a:pt x="274" y="157"/>
                  </a:lnTo>
                  <a:lnTo>
                    <a:pt x="268" y="137"/>
                  </a:lnTo>
                  <a:lnTo>
                    <a:pt x="250" y="157"/>
                  </a:lnTo>
                  <a:lnTo>
                    <a:pt x="248" y="170"/>
                  </a:lnTo>
                  <a:lnTo>
                    <a:pt x="245" y="180"/>
                  </a:lnTo>
                  <a:lnTo>
                    <a:pt x="231" y="192"/>
                  </a:lnTo>
                  <a:lnTo>
                    <a:pt x="223" y="204"/>
                  </a:lnTo>
                  <a:lnTo>
                    <a:pt x="210" y="215"/>
                  </a:lnTo>
                  <a:lnTo>
                    <a:pt x="187" y="222"/>
                  </a:lnTo>
                  <a:lnTo>
                    <a:pt x="176" y="221"/>
                  </a:lnTo>
                  <a:lnTo>
                    <a:pt x="170" y="223"/>
                  </a:lnTo>
                  <a:lnTo>
                    <a:pt x="166" y="228"/>
                  </a:lnTo>
                  <a:lnTo>
                    <a:pt x="153" y="231"/>
                  </a:lnTo>
                  <a:lnTo>
                    <a:pt x="136" y="240"/>
                  </a:lnTo>
                  <a:lnTo>
                    <a:pt x="130" y="237"/>
                  </a:lnTo>
                  <a:lnTo>
                    <a:pt x="121" y="239"/>
                  </a:lnTo>
                  <a:lnTo>
                    <a:pt x="103" y="248"/>
                  </a:lnTo>
                  <a:lnTo>
                    <a:pt x="92" y="258"/>
                  </a:lnTo>
                  <a:lnTo>
                    <a:pt x="73" y="265"/>
                  </a:lnTo>
                  <a:lnTo>
                    <a:pt x="62" y="282"/>
                  </a:lnTo>
                  <a:lnTo>
                    <a:pt x="64" y="264"/>
                  </a:lnTo>
                  <a:lnTo>
                    <a:pt x="52" y="281"/>
                  </a:lnTo>
                  <a:lnTo>
                    <a:pt x="52" y="295"/>
                  </a:lnTo>
                  <a:lnTo>
                    <a:pt x="47" y="307"/>
                  </a:lnTo>
                  <a:lnTo>
                    <a:pt x="41" y="312"/>
                  </a:lnTo>
                  <a:lnTo>
                    <a:pt x="36" y="326"/>
                  </a:lnTo>
                  <a:lnTo>
                    <a:pt x="39" y="334"/>
                  </a:lnTo>
                  <a:lnTo>
                    <a:pt x="39" y="341"/>
                  </a:lnTo>
                  <a:lnTo>
                    <a:pt x="46" y="360"/>
                  </a:lnTo>
                  <a:lnTo>
                    <a:pt x="43" y="372"/>
                  </a:lnTo>
                  <a:lnTo>
                    <a:pt x="39" y="363"/>
                  </a:lnTo>
                  <a:lnTo>
                    <a:pt x="31" y="356"/>
                  </a:lnTo>
                  <a:lnTo>
                    <a:pt x="32" y="378"/>
                  </a:lnTo>
                  <a:lnTo>
                    <a:pt x="26" y="367"/>
                  </a:lnTo>
                  <a:lnTo>
                    <a:pt x="26" y="378"/>
                  </a:lnTo>
                  <a:lnTo>
                    <a:pt x="33" y="396"/>
                  </a:lnTo>
                  <a:lnTo>
                    <a:pt x="31" y="415"/>
                  </a:lnTo>
                  <a:lnTo>
                    <a:pt x="38" y="424"/>
                  </a:lnTo>
                  <a:lnTo>
                    <a:pt x="36" y="432"/>
                  </a:lnTo>
                  <a:lnTo>
                    <a:pt x="39" y="447"/>
                  </a:lnTo>
                  <a:lnTo>
                    <a:pt x="34" y="461"/>
                  </a:lnTo>
                  <a:lnTo>
                    <a:pt x="33" y="474"/>
                  </a:lnTo>
                  <a:lnTo>
                    <a:pt x="36" y="498"/>
                  </a:lnTo>
                  <a:lnTo>
                    <a:pt x="33" y="512"/>
                  </a:lnTo>
                  <a:lnTo>
                    <a:pt x="25" y="529"/>
                  </a:lnTo>
                  <a:lnTo>
                    <a:pt x="23" y="537"/>
                  </a:lnTo>
                  <a:lnTo>
                    <a:pt x="17" y="543"/>
                  </a:lnTo>
                  <a:lnTo>
                    <a:pt x="6" y="546"/>
                  </a:lnTo>
                  <a:lnTo>
                    <a:pt x="0" y="560"/>
                  </a:lnTo>
                  <a:lnTo>
                    <a:pt x="10" y="564"/>
                  </a:lnTo>
                  <a:lnTo>
                    <a:pt x="25" y="579"/>
                  </a:lnTo>
                  <a:lnTo>
                    <a:pt x="38" y="579"/>
                  </a:lnTo>
                  <a:lnTo>
                    <a:pt x="53" y="580"/>
                  </a:lnTo>
                  <a:lnTo>
                    <a:pt x="65" y="573"/>
                  </a:lnTo>
                  <a:lnTo>
                    <a:pt x="77" y="566"/>
                  </a:lnTo>
                  <a:lnTo>
                    <a:pt x="82" y="567"/>
                  </a:lnTo>
                  <a:lnTo>
                    <a:pt x="99" y="554"/>
                  </a:lnTo>
                  <a:lnTo>
                    <a:pt x="113" y="553"/>
                  </a:lnTo>
                  <a:lnTo>
                    <a:pt x="129" y="550"/>
                  </a:lnTo>
                  <a:lnTo>
                    <a:pt x="144" y="555"/>
                  </a:lnTo>
                  <a:lnTo>
                    <a:pt x="158" y="553"/>
                  </a:lnTo>
                  <a:lnTo>
                    <a:pt x="175" y="552"/>
                  </a:lnTo>
                  <a:lnTo>
                    <a:pt x="186" y="542"/>
                  </a:lnTo>
                  <a:lnTo>
                    <a:pt x="194" y="530"/>
                  </a:lnTo>
                  <a:lnTo>
                    <a:pt x="214" y="524"/>
                  </a:lnTo>
                  <a:lnTo>
                    <a:pt x="240" y="512"/>
                  </a:lnTo>
                  <a:lnTo>
                    <a:pt x="259" y="514"/>
                  </a:lnTo>
                  <a:lnTo>
                    <a:pt x="284" y="506"/>
                  </a:lnTo>
                  <a:lnTo>
                    <a:pt x="314" y="497"/>
                  </a:lnTo>
                  <a:lnTo>
                    <a:pt x="350" y="495"/>
                  </a:lnTo>
                  <a:lnTo>
                    <a:pt x="365" y="506"/>
                  </a:lnTo>
                  <a:lnTo>
                    <a:pt x="379" y="507"/>
                  </a:lnTo>
                  <a:lnTo>
                    <a:pt x="399" y="521"/>
                  </a:lnTo>
                  <a:lnTo>
                    <a:pt x="392" y="527"/>
                  </a:lnTo>
                  <a:lnTo>
                    <a:pt x="400" y="536"/>
                  </a:lnTo>
                  <a:lnTo>
                    <a:pt x="405" y="553"/>
                  </a:lnTo>
                  <a:lnTo>
                    <a:pt x="398" y="566"/>
                  </a:lnTo>
                  <a:lnTo>
                    <a:pt x="409" y="575"/>
                  </a:lnTo>
                  <a:lnTo>
                    <a:pt x="425" y="557"/>
                  </a:lnTo>
                  <a:lnTo>
                    <a:pt x="441" y="549"/>
                  </a:lnTo>
                  <a:lnTo>
                    <a:pt x="466" y="529"/>
                  </a:lnTo>
                  <a:lnTo>
                    <a:pt x="461" y="546"/>
                  </a:lnTo>
                  <a:lnTo>
                    <a:pt x="447" y="558"/>
                  </a:lnTo>
                  <a:lnTo>
                    <a:pt x="438" y="572"/>
                  </a:lnTo>
                  <a:lnTo>
                    <a:pt x="422" y="585"/>
                  </a:lnTo>
                  <a:lnTo>
                    <a:pt x="441" y="580"/>
                  </a:lnTo>
                  <a:lnTo>
                    <a:pt x="459" y="564"/>
                  </a:lnTo>
                  <a:lnTo>
                    <a:pt x="456" y="582"/>
                  </a:lnTo>
                  <a:lnTo>
                    <a:pt x="444" y="593"/>
                  </a:lnTo>
                  <a:lnTo>
                    <a:pt x="461" y="596"/>
                  </a:lnTo>
                  <a:lnTo>
                    <a:pt x="466" y="606"/>
                  </a:lnTo>
                  <a:lnTo>
                    <a:pt x="464" y="618"/>
                  </a:lnTo>
                  <a:lnTo>
                    <a:pt x="459" y="637"/>
                  </a:lnTo>
                  <a:lnTo>
                    <a:pt x="464" y="652"/>
                  </a:lnTo>
                  <a:lnTo>
                    <a:pt x="479" y="659"/>
                  </a:lnTo>
                  <a:lnTo>
                    <a:pt x="489" y="660"/>
                  </a:lnTo>
                  <a:lnTo>
                    <a:pt x="499" y="664"/>
                  </a:lnTo>
                  <a:lnTo>
                    <a:pt x="512" y="671"/>
                  </a:lnTo>
                  <a:lnTo>
                    <a:pt x="538" y="653"/>
                  </a:lnTo>
                  <a:lnTo>
                    <a:pt x="551" y="648"/>
                  </a:lnTo>
                  <a:lnTo>
                    <a:pt x="542" y="661"/>
                  </a:lnTo>
                  <a:lnTo>
                    <a:pt x="551" y="665"/>
                  </a:lnTo>
                  <a:lnTo>
                    <a:pt x="561" y="676"/>
                  </a:lnTo>
                  <a:lnTo>
                    <a:pt x="579" y="666"/>
                  </a:lnTo>
                  <a:lnTo>
                    <a:pt x="593" y="657"/>
                  </a:lnTo>
                  <a:lnTo>
                    <a:pt x="616" y="646"/>
                  </a:lnTo>
                  <a:lnTo>
                    <a:pt x="639" y="646"/>
                  </a:lnTo>
                  <a:lnTo>
                    <a:pt x="655" y="637"/>
                  </a:lnTo>
                  <a:lnTo>
                    <a:pt x="658" y="630"/>
                  </a:lnTo>
                  <a:lnTo>
                    <a:pt x="669" y="613"/>
                  </a:lnTo>
                  <a:lnTo>
                    <a:pt x="684" y="595"/>
                  </a:lnTo>
                  <a:lnTo>
                    <a:pt x="697" y="583"/>
                  </a:lnTo>
                  <a:lnTo>
                    <a:pt x="714" y="562"/>
                  </a:lnTo>
                  <a:lnTo>
                    <a:pt x="726" y="550"/>
                  </a:lnTo>
                  <a:lnTo>
                    <a:pt x="742" y="532"/>
                  </a:lnTo>
                  <a:lnTo>
                    <a:pt x="762" y="520"/>
                  </a:lnTo>
                  <a:lnTo>
                    <a:pt x="781" y="499"/>
                  </a:lnTo>
                  <a:lnTo>
                    <a:pt x="793" y="482"/>
                  </a:lnTo>
                  <a:lnTo>
                    <a:pt x="798" y="468"/>
                  </a:lnTo>
                  <a:lnTo>
                    <a:pt x="813" y="447"/>
                  </a:lnTo>
                  <a:lnTo>
                    <a:pt x="820" y="436"/>
                  </a:lnTo>
                  <a:lnTo>
                    <a:pt x="829" y="415"/>
                  </a:lnTo>
                  <a:lnTo>
                    <a:pt x="827" y="394"/>
                  </a:lnTo>
                  <a:lnTo>
                    <a:pt x="833" y="380"/>
                  </a:lnTo>
                  <a:lnTo>
                    <a:pt x="837" y="366"/>
                  </a:lnTo>
                  <a:lnTo>
                    <a:pt x="837" y="348"/>
                  </a:lnTo>
                  <a:lnTo>
                    <a:pt x="827" y="328"/>
                  </a:lnTo>
                  <a:lnTo>
                    <a:pt x="820" y="319"/>
                  </a:lnTo>
                  <a:lnTo>
                    <a:pt x="809" y="305"/>
                  </a:lnTo>
                  <a:lnTo>
                    <a:pt x="812" y="279"/>
                  </a:lnTo>
                  <a:lnTo>
                    <a:pt x="806" y="283"/>
                  </a:lnTo>
                  <a:lnTo>
                    <a:pt x="799" y="273"/>
                  </a:lnTo>
                  <a:lnTo>
                    <a:pt x="790" y="278"/>
                  </a:lnTo>
                  <a:lnTo>
                    <a:pt x="788" y="252"/>
                  </a:lnTo>
                  <a:lnTo>
                    <a:pt x="780" y="237"/>
                  </a:lnTo>
                  <a:lnTo>
                    <a:pt x="784" y="232"/>
                  </a:lnTo>
                  <a:lnTo>
                    <a:pt x="772" y="221"/>
                  </a:lnTo>
                  <a:lnTo>
                    <a:pt x="760" y="209"/>
                  </a:lnTo>
                  <a:lnTo>
                    <a:pt x="741" y="197"/>
                  </a:lnTo>
                  <a:lnTo>
                    <a:pt x="737" y="181"/>
                  </a:lnTo>
                  <a:lnTo>
                    <a:pt x="742" y="169"/>
                  </a:lnTo>
                  <a:lnTo>
                    <a:pt x="741" y="149"/>
                  </a:lnTo>
                  <a:lnTo>
                    <a:pt x="736" y="146"/>
                  </a:lnTo>
                  <a:lnTo>
                    <a:pt x="735" y="134"/>
                  </a:lnTo>
                  <a:lnTo>
                    <a:pt x="734" y="113"/>
                  </a:lnTo>
                  <a:lnTo>
                    <a:pt x="738" y="103"/>
                  </a:lnTo>
                  <a:lnTo>
                    <a:pt x="729" y="94"/>
                  </a:lnTo>
                  <a:lnTo>
                    <a:pt x="725" y="83"/>
                  </a:lnTo>
                  <a:lnTo>
                    <a:pt x="710" y="93"/>
                  </a:lnTo>
                  <a:lnTo>
                    <a:pt x="705" y="74"/>
                  </a:lnTo>
                  <a:lnTo>
                    <a:pt x="705" y="74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3" name="Austria">
              <a:extLst>
                <a:ext uri="{FF2B5EF4-FFF2-40B4-BE49-F238E27FC236}">
                  <a16:creationId xmlns:a16="http://schemas.microsoft.com/office/drawing/2014/main" id="{838BB2E1-8781-434F-8E4A-3BFC8A70E090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4594" y="2219099"/>
              <a:ext cx="217487" cy="95250"/>
            </a:xfrm>
            <a:custGeom>
              <a:avLst/>
              <a:gdLst>
                <a:gd name="T0" fmla="*/ 136 w 137"/>
                <a:gd name="T1" fmla="*/ 10 h 60"/>
                <a:gd name="T2" fmla="*/ 128 w 137"/>
                <a:gd name="T3" fmla="*/ 5 h 60"/>
                <a:gd name="T4" fmla="*/ 119 w 137"/>
                <a:gd name="T5" fmla="*/ 6 h 60"/>
                <a:gd name="T6" fmla="*/ 104 w 137"/>
                <a:gd name="T7" fmla="*/ 0 h 60"/>
                <a:gd name="T8" fmla="*/ 98 w 137"/>
                <a:gd name="T9" fmla="*/ 2 h 60"/>
                <a:gd name="T10" fmla="*/ 88 w 137"/>
                <a:gd name="T11" fmla="*/ 11 h 60"/>
                <a:gd name="T12" fmla="*/ 74 w 137"/>
                <a:gd name="T13" fmla="*/ 4 h 60"/>
                <a:gd name="T14" fmla="*/ 68 w 137"/>
                <a:gd name="T15" fmla="*/ 14 h 60"/>
                <a:gd name="T16" fmla="*/ 62 w 137"/>
                <a:gd name="T17" fmla="*/ 18 h 60"/>
                <a:gd name="T18" fmla="*/ 65 w 137"/>
                <a:gd name="T19" fmla="*/ 32 h 60"/>
                <a:gd name="T20" fmla="*/ 64 w 137"/>
                <a:gd name="T21" fmla="*/ 36 h 60"/>
                <a:gd name="T22" fmla="*/ 58 w 137"/>
                <a:gd name="T23" fmla="*/ 32 h 60"/>
                <a:gd name="T24" fmla="*/ 49 w 137"/>
                <a:gd name="T25" fmla="*/ 31 h 60"/>
                <a:gd name="T26" fmla="*/ 36 w 137"/>
                <a:gd name="T27" fmla="*/ 35 h 60"/>
                <a:gd name="T28" fmla="*/ 20 w 137"/>
                <a:gd name="T29" fmla="*/ 34 h 60"/>
                <a:gd name="T30" fmla="*/ 18 w 137"/>
                <a:gd name="T31" fmla="*/ 40 h 60"/>
                <a:gd name="T32" fmla="*/ 7 w 137"/>
                <a:gd name="T33" fmla="*/ 33 h 60"/>
                <a:gd name="T34" fmla="*/ 2 w 137"/>
                <a:gd name="T35" fmla="*/ 34 h 60"/>
                <a:gd name="T36" fmla="*/ 3 w 137"/>
                <a:gd name="T37" fmla="*/ 39 h 60"/>
                <a:gd name="T38" fmla="*/ 0 w 137"/>
                <a:gd name="T39" fmla="*/ 45 h 60"/>
                <a:gd name="T40" fmla="*/ 8 w 137"/>
                <a:gd name="T41" fmla="*/ 49 h 60"/>
                <a:gd name="T42" fmla="*/ 19 w 137"/>
                <a:gd name="T43" fmla="*/ 49 h 60"/>
                <a:gd name="T44" fmla="*/ 30 w 137"/>
                <a:gd name="T45" fmla="*/ 53 h 60"/>
                <a:gd name="T46" fmla="*/ 32 w 137"/>
                <a:gd name="T47" fmla="*/ 48 h 60"/>
                <a:gd name="T48" fmla="*/ 49 w 137"/>
                <a:gd name="T49" fmla="*/ 45 h 60"/>
                <a:gd name="T50" fmla="*/ 55 w 137"/>
                <a:gd name="T51" fmla="*/ 53 h 60"/>
                <a:gd name="T52" fmla="*/ 81 w 137"/>
                <a:gd name="T53" fmla="*/ 59 h 60"/>
                <a:gd name="T54" fmla="*/ 97 w 137"/>
                <a:gd name="T55" fmla="*/ 60 h 60"/>
                <a:gd name="T56" fmla="*/ 106 w 137"/>
                <a:gd name="T57" fmla="*/ 55 h 60"/>
                <a:gd name="T58" fmla="*/ 122 w 137"/>
                <a:gd name="T59" fmla="*/ 55 h 60"/>
                <a:gd name="T60" fmla="*/ 126 w 137"/>
                <a:gd name="T61" fmla="*/ 50 h 60"/>
                <a:gd name="T62" fmla="*/ 131 w 137"/>
                <a:gd name="T63" fmla="*/ 35 h 60"/>
                <a:gd name="T64" fmla="*/ 126 w 137"/>
                <a:gd name="T65" fmla="*/ 31 h 60"/>
                <a:gd name="T66" fmla="*/ 137 w 137"/>
                <a:gd name="T67" fmla="*/ 31 h 60"/>
                <a:gd name="T68" fmla="*/ 137 w 137"/>
                <a:gd name="T69" fmla="*/ 21 h 60"/>
                <a:gd name="T70" fmla="*/ 135 w 137"/>
                <a:gd name="T71" fmla="*/ 13 h 60"/>
                <a:gd name="T72" fmla="*/ 136 w 137"/>
                <a:gd name="T73" fmla="*/ 10 h 60"/>
                <a:gd name="T74" fmla="*/ 136 w 137"/>
                <a:gd name="T75" fmla="*/ 1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7" h="60">
                  <a:moveTo>
                    <a:pt x="136" y="10"/>
                  </a:moveTo>
                  <a:lnTo>
                    <a:pt x="128" y="5"/>
                  </a:lnTo>
                  <a:lnTo>
                    <a:pt x="119" y="6"/>
                  </a:lnTo>
                  <a:lnTo>
                    <a:pt x="104" y="0"/>
                  </a:lnTo>
                  <a:lnTo>
                    <a:pt x="98" y="2"/>
                  </a:lnTo>
                  <a:lnTo>
                    <a:pt x="88" y="11"/>
                  </a:lnTo>
                  <a:lnTo>
                    <a:pt x="74" y="4"/>
                  </a:lnTo>
                  <a:lnTo>
                    <a:pt x="68" y="14"/>
                  </a:lnTo>
                  <a:lnTo>
                    <a:pt x="62" y="18"/>
                  </a:lnTo>
                  <a:lnTo>
                    <a:pt x="65" y="32"/>
                  </a:lnTo>
                  <a:lnTo>
                    <a:pt x="64" y="36"/>
                  </a:lnTo>
                  <a:lnTo>
                    <a:pt x="58" y="32"/>
                  </a:lnTo>
                  <a:lnTo>
                    <a:pt x="49" y="31"/>
                  </a:lnTo>
                  <a:lnTo>
                    <a:pt x="36" y="35"/>
                  </a:lnTo>
                  <a:lnTo>
                    <a:pt x="20" y="34"/>
                  </a:lnTo>
                  <a:lnTo>
                    <a:pt x="18" y="40"/>
                  </a:lnTo>
                  <a:lnTo>
                    <a:pt x="7" y="33"/>
                  </a:lnTo>
                  <a:lnTo>
                    <a:pt x="2" y="34"/>
                  </a:lnTo>
                  <a:lnTo>
                    <a:pt x="3" y="39"/>
                  </a:lnTo>
                  <a:lnTo>
                    <a:pt x="0" y="45"/>
                  </a:lnTo>
                  <a:lnTo>
                    <a:pt x="8" y="49"/>
                  </a:lnTo>
                  <a:lnTo>
                    <a:pt x="19" y="49"/>
                  </a:lnTo>
                  <a:lnTo>
                    <a:pt x="30" y="53"/>
                  </a:lnTo>
                  <a:lnTo>
                    <a:pt x="32" y="48"/>
                  </a:lnTo>
                  <a:lnTo>
                    <a:pt x="49" y="45"/>
                  </a:lnTo>
                  <a:lnTo>
                    <a:pt x="55" y="53"/>
                  </a:lnTo>
                  <a:lnTo>
                    <a:pt x="81" y="59"/>
                  </a:lnTo>
                  <a:lnTo>
                    <a:pt x="97" y="60"/>
                  </a:lnTo>
                  <a:lnTo>
                    <a:pt x="106" y="55"/>
                  </a:lnTo>
                  <a:lnTo>
                    <a:pt x="122" y="55"/>
                  </a:lnTo>
                  <a:lnTo>
                    <a:pt x="126" y="50"/>
                  </a:lnTo>
                  <a:lnTo>
                    <a:pt x="131" y="35"/>
                  </a:lnTo>
                  <a:lnTo>
                    <a:pt x="126" y="31"/>
                  </a:lnTo>
                  <a:lnTo>
                    <a:pt x="137" y="31"/>
                  </a:lnTo>
                  <a:lnTo>
                    <a:pt x="137" y="21"/>
                  </a:lnTo>
                  <a:lnTo>
                    <a:pt x="135" y="13"/>
                  </a:lnTo>
                  <a:lnTo>
                    <a:pt x="136" y="10"/>
                  </a:lnTo>
                  <a:lnTo>
                    <a:pt x="136" y="1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4" name="Azerbaijan">
              <a:extLst>
                <a:ext uri="{FF2B5EF4-FFF2-40B4-BE49-F238E27FC236}">
                  <a16:creationId xmlns:a16="http://schemas.microsoft.com/office/drawing/2014/main" id="{EDAC3112-A53F-48AD-9A95-EE3C9389FB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66794" y="2481036"/>
              <a:ext cx="174625" cy="134938"/>
            </a:xfrm>
            <a:custGeom>
              <a:avLst/>
              <a:gdLst>
                <a:gd name="T0" fmla="*/ 8 w 110"/>
                <a:gd name="T1" fmla="*/ 50 h 85"/>
                <a:gd name="T2" fmla="*/ 4 w 110"/>
                <a:gd name="T3" fmla="*/ 50 h 85"/>
                <a:gd name="T4" fmla="*/ 8 w 110"/>
                <a:gd name="T5" fmla="*/ 60 h 85"/>
                <a:gd name="T6" fmla="*/ 21 w 110"/>
                <a:gd name="T7" fmla="*/ 71 h 85"/>
                <a:gd name="T8" fmla="*/ 35 w 110"/>
                <a:gd name="T9" fmla="*/ 74 h 85"/>
                <a:gd name="T10" fmla="*/ 24 w 110"/>
                <a:gd name="T11" fmla="*/ 60 h 85"/>
                <a:gd name="T12" fmla="*/ 23 w 110"/>
                <a:gd name="T13" fmla="*/ 56 h 85"/>
                <a:gd name="T14" fmla="*/ 15 w 110"/>
                <a:gd name="T15" fmla="*/ 56 h 85"/>
                <a:gd name="T16" fmla="*/ 8 w 110"/>
                <a:gd name="T17" fmla="*/ 50 h 85"/>
                <a:gd name="T18" fmla="*/ 8 w 110"/>
                <a:gd name="T19" fmla="*/ 50 h 85"/>
                <a:gd name="T20" fmla="*/ 47 w 110"/>
                <a:gd name="T21" fmla="*/ 15 h 85"/>
                <a:gd name="T22" fmla="*/ 31 w 110"/>
                <a:gd name="T23" fmla="*/ 1 h 85"/>
                <a:gd name="T24" fmla="*/ 25 w 110"/>
                <a:gd name="T25" fmla="*/ 0 h 85"/>
                <a:gd name="T26" fmla="*/ 21 w 110"/>
                <a:gd name="T27" fmla="*/ 4 h 85"/>
                <a:gd name="T28" fmla="*/ 33 w 110"/>
                <a:gd name="T29" fmla="*/ 17 h 85"/>
                <a:gd name="T30" fmla="*/ 31 w 110"/>
                <a:gd name="T31" fmla="*/ 19 h 85"/>
                <a:gd name="T32" fmla="*/ 21 w 110"/>
                <a:gd name="T33" fmla="*/ 18 h 85"/>
                <a:gd name="T34" fmla="*/ 5 w 110"/>
                <a:gd name="T35" fmla="*/ 11 h 85"/>
                <a:gd name="T36" fmla="*/ 0 w 110"/>
                <a:gd name="T37" fmla="*/ 15 h 85"/>
                <a:gd name="T38" fmla="*/ 6 w 110"/>
                <a:gd name="T39" fmla="*/ 21 h 85"/>
                <a:gd name="T40" fmla="*/ 14 w 110"/>
                <a:gd name="T41" fmla="*/ 25 h 85"/>
                <a:gd name="T42" fmla="*/ 11 w 110"/>
                <a:gd name="T43" fmla="*/ 31 h 85"/>
                <a:gd name="T44" fmla="*/ 22 w 110"/>
                <a:gd name="T45" fmla="*/ 39 h 85"/>
                <a:gd name="T46" fmla="*/ 19 w 110"/>
                <a:gd name="T47" fmla="*/ 47 h 85"/>
                <a:gd name="T48" fmla="*/ 28 w 110"/>
                <a:gd name="T49" fmla="*/ 52 h 85"/>
                <a:gd name="T50" fmla="*/ 37 w 110"/>
                <a:gd name="T51" fmla="*/ 57 h 85"/>
                <a:gd name="T52" fmla="*/ 41 w 110"/>
                <a:gd name="T53" fmla="*/ 73 h 85"/>
                <a:gd name="T54" fmla="*/ 61 w 110"/>
                <a:gd name="T55" fmla="*/ 56 h 85"/>
                <a:gd name="T56" fmla="*/ 68 w 110"/>
                <a:gd name="T57" fmla="*/ 54 h 85"/>
                <a:gd name="T58" fmla="*/ 75 w 110"/>
                <a:gd name="T59" fmla="*/ 61 h 85"/>
                <a:gd name="T60" fmla="*/ 71 w 110"/>
                <a:gd name="T61" fmla="*/ 73 h 85"/>
                <a:gd name="T62" fmla="*/ 85 w 110"/>
                <a:gd name="T63" fmla="*/ 85 h 85"/>
                <a:gd name="T64" fmla="*/ 90 w 110"/>
                <a:gd name="T65" fmla="*/ 84 h 85"/>
                <a:gd name="T66" fmla="*/ 87 w 110"/>
                <a:gd name="T67" fmla="*/ 72 h 85"/>
                <a:gd name="T68" fmla="*/ 93 w 110"/>
                <a:gd name="T69" fmla="*/ 66 h 85"/>
                <a:gd name="T70" fmla="*/ 94 w 110"/>
                <a:gd name="T71" fmla="*/ 58 h 85"/>
                <a:gd name="T72" fmla="*/ 94 w 110"/>
                <a:gd name="T73" fmla="*/ 39 h 85"/>
                <a:gd name="T74" fmla="*/ 110 w 110"/>
                <a:gd name="T75" fmla="*/ 37 h 85"/>
                <a:gd name="T76" fmla="*/ 103 w 110"/>
                <a:gd name="T77" fmla="*/ 32 h 85"/>
                <a:gd name="T78" fmla="*/ 93 w 110"/>
                <a:gd name="T79" fmla="*/ 31 h 85"/>
                <a:gd name="T80" fmla="*/ 80 w 110"/>
                <a:gd name="T81" fmla="*/ 14 h 85"/>
                <a:gd name="T82" fmla="*/ 67 w 110"/>
                <a:gd name="T83" fmla="*/ 2 h 85"/>
                <a:gd name="T84" fmla="*/ 67 w 110"/>
                <a:gd name="T85" fmla="*/ 2 h 85"/>
                <a:gd name="T86" fmla="*/ 58 w 110"/>
                <a:gd name="T87" fmla="*/ 11 h 85"/>
                <a:gd name="T88" fmla="*/ 56 w 110"/>
                <a:gd name="T89" fmla="*/ 17 h 85"/>
                <a:gd name="T90" fmla="*/ 47 w 110"/>
                <a:gd name="T91" fmla="*/ 15 h 85"/>
                <a:gd name="T92" fmla="*/ 47 w 110"/>
                <a:gd name="T93" fmla="*/ 1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10" h="85">
                  <a:moveTo>
                    <a:pt x="8" y="50"/>
                  </a:moveTo>
                  <a:lnTo>
                    <a:pt x="4" y="50"/>
                  </a:lnTo>
                  <a:lnTo>
                    <a:pt x="8" y="60"/>
                  </a:lnTo>
                  <a:lnTo>
                    <a:pt x="21" y="71"/>
                  </a:lnTo>
                  <a:lnTo>
                    <a:pt x="35" y="74"/>
                  </a:lnTo>
                  <a:lnTo>
                    <a:pt x="24" y="60"/>
                  </a:lnTo>
                  <a:lnTo>
                    <a:pt x="23" y="56"/>
                  </a:lnTo>
                  <a:lnTo>
                    <a:pt x="15" y="56"/>
                  </a:lnTo>
                  <a:lnTo>
                    <a:pt x="8" y="50"/>
                  </a:lnTo>
                  <a:lnTo>
                    <a:pt x="8" y="50"/>
                  </a:lnTo>
                  <a:close/>
                  <a:moveTo>
                    <a:pt x="47" y="15"/>
                  </a:moveTo>
                  <a:lnTo>
                    <a:pt x="31" y="1"/>
                  </a:lnTo>
                  <a:lnTo>
                    <a:pt x="25" y="0"/>
                  </a:lnTo>
                  <a:lnTo>
                    <a:pt x="21" y="4"/>
                  </a:lnTo>
                  <a:lnTo>
                    <a:pt x="33" y="17"/>
                  </a:lnTo>
                  <a:lnTo>
                    <a:pt x="31" y="19"/>
                  </a:lnTo>
                  <a:lnTo>
                    <a:pt x="21" y="18"/>
                  </a:lnTo>
                  <a:lnTo>
                    <a:pt x="5" y="11"/>
                  </a:lnTo>
                  <a:lnTo>
                    <a:pt x="0" y="15"/>
                  </a:lnTo>
                  <a:lnTo>
                    <a:pt x="6" y="21"/>
                  </a:lnTo>
                  <a:lnTo>
                    <a:pt x="14" y="25"/>
                  </a:lnTo>
                  <a:lnTo>
                    <a:pt x="11" y="31"/>
                  </a:lnTo>
                  <a:lnTo>
                    <a:pt x="22" y="39"/>
                  </a:lnTo>
                  <a:lnTo>
                    <a:pt x="19" y="47"/>
                  </a:lnTo>
                  <a:lnTo>
                    <a:pt x="28" y="52"/>
                  </a:lnTo>
                  <a:lnTo>
                    <a:pt x="37" y="57"/>
                  </a:lnTo>
                  <a:lnTo>
                    <a:pt x="41" y="73"/>
                  </a:lnTo>
                  <a:lnTo>
                    <a:pt x="61" y="56"/>
                  </a:lnTo>
                  <a:lnTo>
                    <a:pt x="68" y="54"/>
                  </a:lnTo>
                  <a:lnTo>
                    <a:pt x="75" y="61"/>
                  </a:lnTo>
                  <a:lnTo>
                    <a:pt x="71" y="73"/>
                  </a:lnTo>
                  <a:lnTo>
                    <a:pt x="85" y="85"/>
                  </a:lnTo>
                  <a:lnTo>
                    <a:pt x="90" y="84"/>
                  </a:lnTo>
                  <a:lnTo>
                    <a:pt x="87" y="72"/>
                  </a:lnTo>
                  <a:lnTo>
                    <a:pt x="93" y="66"/>
                  </a:lnTo>
                  <a:lnTo>
                    <a:pt x="94" y="58"/>
                  </a:lnTo>
                  <a:lnTo>
                    <a:pt x="94" y="39"/>
                  </a:lnTo>
                  <a:lnTo>
                    <a:pt x="110" y="37"/>
                  </a:lnTo>
                  <a:lnTo>
                    <a:pt x="103" y="32"/>
                  </a:lnTo>
                  <a:lnTo>
                    <a:pt x="93" y="31"/>
                  </a:lnTo>
                  <a:lnTo>
                    <a:pt x="80" y="14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58" y="11"/>
                  </a:lnTo>
                  <a:lnTo>
                    <a:pt x="56" y="17"/>
                  </a:lnTo>
                  <a:lnTo>
                    <a:pt x="47" y="15"/>
                  </a:lnTo>
                  <a:lnTo>
                    <a:pt x="47" y="15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5" name="Burundi">
              <a:extLst>
                <a:ext uri="{FF2B5EF4-FFF2-40B4-BE49-F238E27FC236}">
                  <a16:creationId xmlns:a16="http://schemas.microsoft.com/office/drawing/2014/main" id="{64C12758-AB73-4B1A-B9DE-2CF0AF1A000D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1981" y="4149498"/>
              <a:ext cx="58737" cy="80963"/>
            </a:xfrm>
            <a:custGeom>
              <a:avLst/>
              <a:gdLst>
                <a:gd name="T0" fmla="*/ 32 w 37"/>
                <a:gd name="T1" fmla="*/ 12 h 51"/>
                <a:gd name="T2" fmla="*/ 31 w 37"/>
                <a:gd name="T3" fmla="*/ 2 h 51"/>
                <a:gd name="T4" fmla="*/ 31 w 37"/>
                <a:gd name="T5" fmla="*/ 2 h 51"/>
                <a:gd name="T6" fmla="*/ 20 w 37"/>
                <a:gd name="T7" fmla="*/ 0 h 51"/>
                <a:gd name="T8" fmla="*/ 13 w 37"/>
                <a:gd name="T9" fmla="*/ 14 h 51"/>
                <a:gd name="T10" fmla="*/ 0 w 37"/>
                <a:gd name="T11" fmla="*/ 13 h 51"/>
                <a:gd name="T12" fmla="*/ 5 w 37"/>
                <a:gd name="T13" fmla="*/ 23 h 51"/>
                <a:gd name="T14" fmla="*/ 6 w 37"/>
                <a:gd name="T15" fmla="*/ 27 h 51"/>
                <a:gd name="T16" fmla="*/ 13 w 37"/>
                <a:gd name="T17" fmla="*/ 50 h 51"/>
                <a:gd name="T18" fmla="*/ 12 w 37"/>
                <a:gd name="T19" fmla="*/ 51 h 51"/>
                <a:gd name="T20" fmla="*/ 15 w 37"/>
                <a:gd name="T21" fmla="*/ 51 h 51"/>
                <a:gd name="T22" fmla="*/ 23 w 37"/>
                <a:gd name="T23" fmla="*/ 42 h 51"/>
                <a:gd name="T24" fmla="*/ 31 w 37"/>
                <a:gd name="T25" fmla="*/ 30 h 51"/>
                <a:gd name="T26" fmla="*/ 37 w 37"/>
                <a:gd name="T27" fmla="*/ 25 h 51"/>
                <a:gd name="T28" fmla="*/ 37 w 37"/>
                <a:gd name="T29" fmla="*/ 17 h 51"/>
                <a:gd name="T30" fmla="*/ 32 w 37"/>
                <a:gd name="T31" fmla="*/ 12 h 51"/>
                <a:gd name="T32" fmla="*/ 32 w 37"/>
                <a:gd name="T33" fmla="*/ 1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7" h="51">
                  <a:moveTo>
                    <a:pt x="32" y="12"/>
                  </a:moveTo>
                  <a:lnTo>
                    <a:pt x="31" y="2"/>
                  </a:lnTo>
                  <a:lnTo>
                    <a:pt x="31" y="2"/>
                  </a:lnTo>
                  <a:lnTo>
                    <a:pt x="20" y="0"/>
                  </a:lnTo>
                  <a:lnTo>
                    <a:pt x="13" y="14"/>
                  </a:lnTo>
                  <a:lnTo>
                    <a:pt x="0" y="13"/>
                  </a:lnTo>
                  <a:lnTo>
                    <a:pt x="5" y="23"/>
                  </a:lnTo>
                  <a:lnTo>
                    <a:pt x="6" y="27"/>
                  </a:lnTo>
                  <a:lnTo>
                    <a:pt x="13" y="50"/>
                  </a:lnTo>
                  <a:lnTo>
                    <a:pt x="12" y="51"/>
                  </a:lnTo>
                  <a:lnTo>
                    <a:pt x="15" y="51"/>
                  </a:lnTo>
                  <a:lnTo>
                    <a:pt x="23" y="42"/>
                  </a:lnTo>
                  <a:lnTo>
                    <a:pt x="31" y="30"/>
                  </a:lnTo>
                  <a:lnTo>
                    <a:pt x="37" y="25"/>
                  </a:lnTo>
                  <a:lnTo>
                    <a:pt x="37" y="17"/>
                  </a:lnTo>
                  <a:lnTo>
                    <a:pt x="32" y="12"/>
                  </a:lnTo>
                  <a:lnTo>
                    <a:pt x="32" y="12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6" name="Belgium">
              <a:extLst>
                <a:ext uri="{FF2B5EF4-FFF2-40B4-BE49-F238E27FC236}">
                  <a16:creationId xmlns:a16="http://schemas.microsoft.com/office/drawing/2014/main" id="{85BFF68F-7BEA-4B64-B0B3-067E180FA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8219" y="2130198"/>
              <a:ext cx="104775" cy="71438"/>
            </a:xfrm>
            <a:custGeom>
              <a:avLst/>
              <a:gdLst>
                <a:gd name="T0" fmla="*/ 44 w 66"/>
                <a:gd name="T1" fmla="*/ 0 h 45"/>
                <a:gd name="T2" fmla="*/ 27 w 66"/>
                <a:gd name="T3" fmla="*/ 4 h 45"/>
                <a:gd name="T4" fmla="*/ 14 w 66"/>
                <a:gd name="T5" fmla="*/ 3 h 45"/>
                <a:gd name="T6" fmla="*/ 14 w 66"/>
                <a:gd name="T7" fmla="*/ 3 h 45"/>
                <a:gd name="T8" fmla="*/ 0 w 66"/>
                <a:gd name="T9" fmla="*/ 7 h 45"/>
                <a:gd name="T10" fmla="*/ 2 w 66"/>
                <a:gd name="T11" fmla="*/ 16 h 45"/>
                <a:gd name="T12" fmla="*/ 10 w 66"/>
                <a:gd name="T13" fmla="*/ 16 h 45"/>
                <a:gd name="T14" fmla="*/ 20 w 66"/>
                <a:gd name="T15" fmla="*/ 25 h 45"/>
                <a:gd name="T16" fmla="*/ 32 w 66"/>
                <a:gd name="T17" fmla="*/ 35 h 45"/>
                <a:gd name="T18" fmla="*/ 41 w 66"/>
                <a:gd name="T19" fmla="*/ 34 h 45"/>
                <a:gd name="T20" fmla="*/ 58 w 66"/>
                <a:gd name="T21" fmla="*/ 45 h 45"/>
                <a:gd name="T22" fmla="*/ 60 w 66"/>
                <a:gd name="T23" fmla="*/ 32 h 45"/>
                <a:gd name="T24" fmla="*/ 65 w 66"/>
                <a:gd name="T25" fmla="*/ 31 h 45"/>
                <a:gd name="T26" fmla="*/ 66 w 66"/>
                <a:gd name="T27" fmla="*/ 15 h 45"/>
                <a:gd name="T28" fmla="*/ 55 w 66"/>
                <a:gd name="T29" fmla="*/ 10 h 45"/>
                <a:gd name="T30" fmla="*/ 44 w 66"/>
                <a:gd name="T31" fmla="*/ 0 h 45"/>
                <a:gd name="T32" fmla="*/ 44 w 66"/>
                <a:gd name="T33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45">
                  <a:moveTo>
                    <a:pt x="44" y="0"/>
                  </a:moveTo>
                  <a:lnTo>
                    <a:pt x="27" y="4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0" y="7"/>
                  </a:lnTo>
                  <a:lnTo>
                    <a:pt x="2" y="16"/>
                  </a:lnTo>
                  <a:lnTo>
                    <a:pt x="10" y="16"/>
                  </a:lnTo>
                  <a:lnTo>
                    <a:pt x="20" y="25"/>
                  </a:lnTo>
                  <a:lnTo>
                    <a:pt x="32" y="35"/>
                  </a:lnTo>
                  <a:lnTo>
                    <a:pt x="41" y="34"/>
                  </a:lnTo>
                  <a:lnTo>
                    <a:pt x="58" y="45"/>
                  </a:lnTo>
                  <a:lnTo>
                    <a:pt x="60" y="32"/>
                  </a:lnTo>
                  <a:lnTo>
                    <a:pt x="65" y="31"/>
                  </a:lnTo>
                  <a:lnTo>
                    <a:pt x="66" y="15"/>
                  </a:lnTo>
                  <a:lnTo>
                    <a:pt x="55" y="10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7" name="Benin">
              <a:extLst>
                <a:ext uri="{FF2B5EF4-FFF2-40B4-BE49-F238E27FC236}">
                  <a16:creationId xmlns:a16="http://schemas.microsoft.com/office/drawing/2014/main" id="{FC68E436-3449-490F-898B-AF28A6D025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0594" y="3600223"/>
              <a:ext cx="101600" cy="230188"/>
            </a:xfrm>
            <a:custGeom>
              <a:avLst/>
              <a:gdLst>
                <a:gd name="T0" fmla="*/ 60 w 64"/>
                <a:gd name="T1" fmla="*/ 14 h 145"/>
                <a:gd name="T2" fmla="*/ 43 w 64"/>
                <a:gd name="T3" fmla="*/ 0 h 145"/>
                <a:gd name="T4" fmla="*/ 36 w 64"/>
                <a:gd name="T5" fmla="*/ 0 h 145"/>
                <a:gd name="T6" fmla="*/ 29 w 64"/>
                <a:gd name="T7" fmla="*/ 7 h 145"/>
                <a:gd name="T8" fmla="*/ 25 w 64"/>
                <a:gd name="T9" fmla="*/ 14 h 145"/>
                <a:gd name="T10" fmla="*/ 14 w 64"/>
                <a:gd name="T11" fmla="*/ 17 h 145"/>
                <a:gd name="T12" fmla="*/ 10 w 64"/>
                <a:gd name="T13" fmla="*/ 27 h 145"/>
                <a:gd name="T14" fmla="*/ 3 w 64"/>
                <a:gd name="T15" fmla="*/ 30 h 145"/>
                <a:gd name="T16" fmla="*/ 0 w 64"/>
                <a:gd name="T17" fmla="*/ 42 h 145"/>
                <a:gd name="T18" fmla="*/ 7 w 64"/>
                <a:gd name="T19" fmla="*/ 49 h 145"/>
                <a:gd name="T20" fmla="*/ 14 w 64"/>
                <a:gd name="T21" fmla="*/ 58 h 145"/>
                <a:gd name="T22" fmla="*/ 15 w 64"/>
                <a:gd name="T23" fmla="*/ 69 h 145"/>
                <a:gd name="T24" fmla="*/ 19 w 64"/>
                <a:gd name="T25" fmla="*/ 74 h 145"/>
                <a:gd name="T26" fmla="*/ 18 w 64"/>
                <a:gd name="T27" fmla="*/ 129 h 145"/>
                <a:gd name="T28" fmla="*/ 24 w 64"/>
                <a:gd name="T29" fmla="*/ 145 h 145"/>
                <a:gd name="T30" fmla="*/ 40 w 64"/>
                <a:gd name="T31" fmla="*/ 142 h 145"/>
                <a:gd name="T32" fmla="*/ 41 w 64"/>
                <a:gd name="T33" fmla="*/ 104 h 145"/>
                <a:gd name="T34" fmla="*/ 41 w 64"/>
                <a:gd name="T35" fmla="*/ 89 h 145"/>
                <a:gd name="T36" fmla="*/ 45 w 64"/>
                <a:gd name="T37" fmla="*/ 74 h 145"/>
                <a:gd name="T38" fmla="*/ 52 w 64"/>
                <a:gd name="T39" fmla="*/ 66 h 145"/>
                <a:gd name="T40" fmla="*/ 62 w 64"/>
                <a:gd name="T41" fmla="*/ 51 h 145"/>
                <a:gd name="T42" fmla="*/ 59 w 64"/>
                <a:gd name="T43" fmla="*/ 46 h 145"/>
                <a:gd name="T44" fmla="*/ 64 w 64"/>
                <a:gd name="T45" fmla="*/ 36 h 145"/>
                <a:gd name="T46" fmla="*/ 59 w 64"/>
                <a:gd name="T47" fmla="*/ 21 h 145"/>
                <a:gd name="T48" fmla="*/ 60 w 64"/>
                <a:gd name="T49" fmla="*/ 14 h 145"/>
                <a:gd name="T50" fmla="*/ 60 w 64"/>
                <a:gd name="T51" fmla="*/ 14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4" h="145">
                  <a:moveTo>
                    <a:pt x="60" y="14"/>
                  </a:moveTo>
                  <a:lnTo>
                    <a:pt x="43" y="0"/>
                  </a:lnTo>
                  <a:lnTo>
                    <a:pt x="36" y="0"/>
                  </a:lnTo>
                  <a:lnTo>
                    <a:pt x="29" y="7"/>
                  </a:lnTo>
                  <a:lnTo>
                    <a:pt x="25" y="14"/>
                  </a:lnTo>
                  <a:lnTo>
                    <a:pt x="14" y="17"/>
                  </a:lnTo>
                  <a:lnTo>
                    <a:pt x="10" y="27"/>
                  </a:lnTo>
                  <a:lnTo>
                    <a:pt x="3" y="30"/>
                  </a:lnTo>
                  <a:lnTo>
                    <a:pt x="0" y="42"/>
                  </a:lnTo>
                  <a:lnTo>
                    <a:pt x="7" y="49"/>
                  </a:lnTo>
                  <a:lnTo>
                    <a:pt x="14" y="58"/>
                  </a:lnTo>
                  <a:lnTo>
                    <a:pt x="15" y="69"/>
                  </a:lnTo>
                  <a:lnTo>
                    <a:pt x="19" y="74"/>
                  </a:lnTo>
                  <a:lnTo>
                    <a:pt x="18" y="129"/>
                  </a:lnTo>
                  <a:lnTo>
                    <a:pt x="24" y="145"/>
                  </a:lnTo>
                  <a:lnTo>
                    <a:pt x="40" y="142"/>
                  </a:lnTo>
                  <a:lnTo>
                    <a:pt x="41" y="104"/>
                  </a:lnTo>
                  <a:lnTo>
                    <a:pt x="41" y="89"/>
                  </a:lnTo>
                  <a:lnTo>
                    <a:pt x="45" y="74"/>
                  </a:lnTo>
                  <a:lnTo>
                    <a:pt x="52" y="66"/>
                  </a:lnTo>
                  <a:lnTo>
                    <a:pt x="62" y="51"/>
                  </a:lnTo>
                  <a:lnTo>
                    <a:pt x="59" y="46"/>
                  </a:lnTo>
                  <a:lnTo>
                    <a:pt x="64" y="36"/>
                  </a:lnTo>
                  <a:lnTo>
                    <a:pt x="59" y="21"/>
                  </a:lnTo>
                  <a:lnTo>
                    <a:pt x="60" y="14"/>
                  </a:lnTo>
                  <a:lnTo>
                    <a:pt x="60" y="14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8" name="Burkina Faso">
              <a:extLst>
                <a:ext uri="{FF2B5EF4-FFF2-40B4-BE49-F238E27FC236}">
                  <a16:creationId xmlns:a16="http://schemas.microsoft.com/office/drawing/2014/main" id="{382A1B47-E43C-4D73-B8EA-4ECBB3C5D3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4219" y="3492273"/>
              <a:ext cx="252412" cy="207963"/>
            </a:xfrm>
            <a:custGeom>
              <a:avLst/>
              <a:gdLst>
                <a:gd name="T0" fmla="*/ 122 w 159"/>
                <a:gd name="T1" fmla="*/ 5 h 131"/>
                <a:gd name="T2" fmla="*/ 109 w 159"/>
                <a:gd name="T3" fmla="*/ 5 h 131"/>
                <a:gd name="T4" fmla="*/ 103 w 159"/>
                <a:gd name="T5" fmla="*/ 0 h 131"/>
                <a:gd name="T6" fmla="*/ 92 w 159"/>
                <a:gd name="T7" fmla="*/ 4 h 131"/>
                <a:gd name="T8" fmla="*/ 72 w 159"/>
                <a:gd name="T9" fmla="*/ 13 h 131"/>
                <a:gd name="T10" fmla="*/ 69 w 159"/>
                <a:gd name="T11" fmla="*/ 20 h 131"/>
                <a:gd name="T12" fmla="*/ 53 w 159"/>
                <a:gd name="T13" fmla="*/ 32 h 131"/>
                <a:gd name="T14" fmla="*/ 50 w 159"/>
                <a:gd name="T15" fmla="*/ 37 h 131"/>
                <a:gd name="T16" fmla="*/ 41 w 159"/>
                <a:gd name="T17" fmla="*/ 42 h 131"/>
                <a:gd name="T18" fmla="*/ 31 w 159"/>
                <a:gd name="T19" fmla="*/ 39 h 131"/>
                <a:gd name="T20" fmla="*/ 25 w 159"/>
                <a:gd name="T21" fmla="*/ 45 h 131"/>
                <a:gd name="T22" fmla="*/ 22 w 159"/>
                <a:gd name="T23" fmla="*/ 61 h 131"/>
                <a:gd name="T24" fmla="*/ 5 w 159"/>
                <a:gd name="T25" fmla="*/ 80 h 131"/>
                <a:gd name="T26" fmla="*/ 6 w 159"/>
                <a:gd name="T27" fmla="*/ 89 h 131"/>
                <a:gd name="T28" fmla="*/ 0 w 159"/>
                <a:gd name="T29" fmla="*/ 99 h 131"/>
                <a:gd name="T30" fmla="*/ 1 w 159"/>
                <a:gd name="T31" fmla="*/ 113 h 131"/>
                <a:gd name="T32" fmla="*/ 11 w 159"/>
                <a:gd name="T33" fmla="*/ 117 h 131"/>
                <a:gd name="T34" fmla="*/ 15 w 159"/>
                <a:gd name="T35" fmla="*/ 126 h 131"/>
                <a:gd name="T36" fmla="*/ 24 w 159"/>
                <a:gd name="T37" fmla="*/ 131 h 131"/>
                <a:gd name="T38" fmla="*/ 31 w 159"/>
                <a:gd name="T39" fmla="*/ 125 h 131"/>
                <a:gd name="T40" fmla="*/ 41 w 159"/>
                <a:gd name="T41" fmla="*/ 124 h 131"/>
                <a:gd name="T42" fmla="*/ 56 w 159"/>
                <a:gd name="T43" fmla="*/ 130 h 131"/>
                <a:gd name="T44" fmla="*/ 52 w 159"/>
                <a:gd name="T45" fmla="*/ 112 h 131"/>
                <a:gd name="T46" fmla="*/ 53 w 159"/>
                <a:gd name="T47" fmla="*/ 99 h 131"/>
                <a:gd name="T48" fmla="*/ 89 w 159"/>
                <a:gd name="T49" fmla="*/ 97 h 131"/>
                <a:gd name="T50" fmla="*/ 99 w 159"/>
                <a:gd name="T51" fmla="*/ 99 h 131"/>
                <a:gd name="T52" fmla="*/ 105 w 159"/>
                <a:gd name="T53" fmla="*/ 95 h 131"/>
                <a:gd name="T54" fmla="*/ 114 w 159"/>
                <a:gd name="T55" fmla="*/ 97 h 131"/>
                <a:gd name="T56" fmla="*/ 133 w 159"/>
                <a:gd name="T57" fmla="*/ 98 h 131"/>
                <a:gd name="T58" fmla="*/ 140 w 159"/>
                <a:gd name="T59" fmla="*/ 95 h 131"/>
                <a:gd name="T60" fmla="*/ 144 w 159"/>
                <a:gd name="T61" fmla="*/ 85 h 131"/>
                <a:gd name="T62" fmla="*/ 155 w 159"/>
                <a:gd name="T63" fmla="*/ 82 h 131"/>
                <a:gd name="T64" fmla="*/ 159 w 159"/>
                <a:gd name="T65" fmla="*/ 75 h 131"/>
                <a:gd name="T66" fmla="*/ 159 w 159"/>
                <a:gd name="T67" fmla="*/ 59 h 131"/>
                <a:gd name="T68" fmla="*/ 136 w 159"/>
                <a:gd name="T69" fmla="*/ 54 h 131"/>
                <a:gd name="T70" fmla="*/ 135 w 159"/>
                <a:gd name="T71" fmla="*/ 42 h 131"/>
                <a:gd name="T72" fmla="*/ 123 w 159"/>
                <a:gd name="T73" fmla="*/ 27 h 131"/>
                <a:gd name="T74" fmla="*/ 120 w 159"/>
                <a:gd name="T75" fmla="*/ 16 h 131"/>
                <a:gd name="T76" fmla="*/ 122 w 159"/>
                <a:gd name="T77" fmla="*/ 5 h 131"/>
                <a:gd name="T78" fmla="*/ 122 w 159"/>
                <a:gd name="T79" fmla="*/ 5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9" h="131">
                  <a:moveTo>
                    <a:pt x="122" y="5"/>
                  </a:moveTo>
                  <a:lnTo>
                    <a:pt x="109" y="5"/>
                  </a:lnTo>
                  <a:lnTo>
                    <a:pt x="103" y="0"/>
                  </a:lnTo>
                  <a:lnTo>
                    <a:pt x="92" y="4"/>
                  </a:lnTo>
                  <a:lnTo>
                    <a:pt x="72" y="13"/>
                  </a:lnTo>
                  <a:lnTo>
                    <a:pt x="69" y="20"/>
                  </a:lnTo>
                  <a:lnTo>
                    <a:pt x="53" y="32"/>
                  </a:lnTo>
                  <a:lnTo>
                    <a:pt x="50" y="37"/>
                  </a:lnTo>
                  <a:lnTo>
                    <a:pt x="41" y="42"/>
                  </a:lnTo>
                  <a:lnTo>
                    <a:pt x="31" y="39"/>
                  </a:lnTo>
                  <a:lnTo>
                    <a:pt x="25" y="45"/>
                  </a:lnTo>
                  <a:lnTo>
                    <a:pt x="22" y="61"/>
                  </a:lnTo>
                  <a:lnTo>
                    <a:pt x="5" y="80"/>
                  </a:lnTo>
                  <a:lnTo>
                    <a:pt x="6" y="89"/>
                  </a:lnTo>
                  <a:lnTo>
                    <a:pt x="0" y="99"/>
                  </a:lnTo>
                  <a:lnTo>
                    <a:pt x="1" y="113"/>
                  </a:lnTo>
                  <a:lnTo>
                    <a:pt x="11" y="117"/>
                  </a:lnTo>
                  <a:lnTo>
                    <a:pt x="15" y="126"/>
                  </a:lnTo>
                  <a:lnTo>
                    <a:pt x="24" y="131"/>
                  </a:lnTo>
                  <a:lnTo>
                    <a:pt x="31" y="125"/>
                  </a:lnTo>
                  <a:lnTo>
                    <a:pt x="41" y="124"/>
                  </a:lnTo>
                  <a:lnTo>
                    <a:pt x="56" y="130"/>
                  </a:lnTo>
                  <a:lnTo>
                    <a:pt x="52" y="112"/>
                  </a:lnTo>
                  <a:lnTo>
                    <a:pt x="53" y="99"/>
                  </a:lnTo>
                  <a:lnTo>
                    <a:pt x="89" y="97"/>
                  </a:lnTo>
                  <a:lnTo>
                    <a:pt x="99" y="99"/>
                  </a:lnTo>
                  <a:lnTo>
                    <a:pt x="105" y="95"/>
                  </a:lnTo>
                  <a:lnTo>
                    <a:pt x="114" y="97"/>
                  </a:lnTo>
                  <a:lnTo>
                    <a:pt x="133" y="98"/>
                  </a:lnTo>
                  <a:lnTo>
                    <a:pt x="140" y="95"/>
                  </a:lnTo>
                  <a:lnTo>
                    <a:pt x="144" y="85"/>
                  </a:lnTo>
                  <a:lnTo>
                    <a:pt x="155" y="82"/>
                  </a:lnTo>
                  <a:lnTo>
                    <a:pt x="159" y="75"/>
                  </a:lnTo>
                  <a:lnTo>
                    <a:pt x="159" y="59"/>
                  </a:lnTo>
                  <a:lnTo>
                    <a:pt x="136" y="54"/>
                  </a:lnTo>
                  <a:lnTo>
                    <a:pt x="135" y="42"/>
                  </a:lnTo>
                  <a:lnTo>
                    <a:pt x="123" y="27"/>
                  </a:lnTo>
                  <a:lnTo>
                    <a:pt x="120" y="16"/>
                  </a:lnTo>
                  <a:lnTo>
                    <a:pt x="122" y="5"/>
                  </a:lnTo>
                  <a:lnTo>
                    <a:pt x="122" y="5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9" name="Bulgaria">
              <a:extLst>
                <a:ext uri="{FF2B5EF4-FFF2-40B4-BE49-F238E27FC236}">
                  <a16:creationId xmlns:a16="http://schemas.microsoft.com/office/drawing/2014/main" id="{8607F8C0-033D-4F69-AC0A-A5EECF00E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8294" y="2395312"/>
              <a:ext cx="185737" cy="109538"/>
            </a:xfrm>
            <a:custGeom>
              <a:avLst/>
              <a:gdLst>
                <a:gd name="T0" fmla="*/ 117 w 117"/>
                <a:gd name="T1" fmla="*/ 12 h 69"/>
                <a:gd name="T2" fmla="*/ 106 w 117"/>
                <a:gd name="T3" fmla="*/ 9 h 69"/>
                <a:gd name="T4" fmla="*/ 91 w 117"/>
                <a:gd name="T5" fmla="*/ 2 h 69"/>
                <a:gd name="T6" fmla="*/ 69 w 117"/>
                <a:gd name="T7" fmla="*/ 6 h 69"/>
                <a:gd name="T8" fmla="*/ 61 w 117"/>
                <a:gd name="T9" fmla="*/ 13 h 69"/>
                <a:gd name="T10" fmla="*/ 33 w 117"/>
                <a:gd name="T11" fmla="*/ 11 h 69"/>
                <a:gd name="T12" fmla="*/ 18 w 117"/>
                <a:gd name="T13" fmla="*/ 7 h 69"/>
                <a:gd name="T14" fmla="*/ 11 w 117"/>
                <a:gd name="T15" fmla="*/ 9 h 69"/>
                <a:gd name="T16" fmla="*/ 4 w 117"/>
                <a:gd name="T17" fmla="*/ 0 h 69"/>
                <a:gd name="T18" fmla="*/ 0 w 117"/>
                <a:gd name="T19" fmla="*/ 6 h 69"/>
                <a:gd name="T20" fmla="*/ 3 w 117"/>
                <a:gd name="T21" fmla="*/ 14 h 69"/>
                <a:gd name="T22" fmla="*/ 13 w 117"/>
                <a:gd name="T23" fmla="*/ 23 h 69"/>
                <a:gd name="T24" fmla="*/ 7 w 117"/>
                <a:gd name="T25" fmla="*/ 31 h 69"/>
                <a:gd name="T26" fmla="*/ 4 w 117"/>
                <a:gd name="T27" fmla="*/ 38 h 69"/>
                <a:gd name="T28" fmla="*/ 7 w 117"/>
                <a:gd name="T29" fmla="*/ 41 h 69"/>
                <a:gd name="T30" fmla="*/ 4 w 117"/>
                <a:gd name="T31" fmla="*/ 44 h 69"/>
                <a:gd name="T32" fmla="*/ 14 w 117"/>
                <a:gd name="T33" fmla="*/ 51 h 69"/>
                <a:gd name="T34" fmla="*/ 17 w 117"/>
                <a:gd name="T35" fmla="*/ 67 h 69"/>
                <a:gd name="T36" fmla="*/ 31 w 117"/>
                <a:gd name="T37" fmla="*/ 67 h 69"/>
                <a:gd name="T38" fmla="*/ 46 w 117"/>
                <a:gd name="T39" fmla="*/ 62 h 69"/>
                <a:gd name="T40" fmla="*/ 61 w 117"/>
                <a:gd name="T41" fmla="*/ 69 h 69"/>
                <a:gd name="T42" fmla="*/ 78 w 117"/>
                <a:gd name="T43" fmla="*/ 67 h 69"/>
                <a:gd name="T44" fmla="*/ 77 w 117"/>
                <a:gd name="T45" fmla="*/ 56 h 69"/>
                <a:gd name="T46" fmla="*/ 96 w 117"/>
                <a:gd name="T47" fmla="*/ 48 h 69"/>
                <a:gd name="T48" fmla="*/ 112 w 117"/>
                <a:gd name="T49" fmla="*/ 51 h 69"/>
                <a:gd name="T50" fmla="*/ 104 w 117"/>
                <a:gd name="T51" fmla="*/ 38 h 69"/>
                <a:gd name="T52" fmla="*/ 110 w 117"/>
                <a:gd name="T53" fmla="*/ 21 h 69"/>
                <a:gd name="T54" fmla="*/ 117 w 117"/>
                <a:gd name="T55" fmla="*/ 12 h 69"/>
                <a:gd name="T56" fmla="*/ 117 w 117"/>
                <a:gd name="T57" fmla="*/ 12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17" h="69">
                  <a:moveTo>
                    <a:pt x="117" y="12"/>
                  </a:moveTo>
                  <a:lnTo>
                    <a:pt x="106" y="9"/>
                  </a:lnTo>
                  <a:lnTo>
                    <a:pt x="91" y="2"/>
                  </a:lnTo>
                  <a:lnTo>
                    <a:pt x="69" y="6"/>
                  </a:lnTo>
                  <a:lnTo>
                    <a:pt x="61" y="13"/>
                  </a:lnTo>
                  <a:lnTo>
                    <a:pt x="33" y="11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4" y="0"/>
                  </a:lnTo>
                  <a:lnTo>
                    <a:pt x="0" y="6"/>
                  </a:lnTo>
                  <a:lnTo>
                    <a:pt x="3" y="14"/>
                  </a:lnTo>
                  <a:lnTo>
                    <a:pt x="13" y="23"/>
                  </a:lnTo>
                  <a:lnTo>
                    <a:pt x="7" y="31"/>
                  </a:lnTo>
                  <a:lnTo>
                    <a:pt x="4" y="38"/>
                  </a:lnTo>
                  <a:lnTo>
                    <a:pt x="7" y="41"/>
                  </a:lnTo>
                  <a:lnTo>
                    <a:pt x="4" y="44"/>
                  </a:lnTo>
                  <a:lnTo>
                    <a:pt x="14" y="51"/>
                  </a:lnTo>
                  <a:lnTo>
                    <a:pt x="17" y="67"/>
                  </a:lnTo>
                  <a:lnTo>
                    <a:pt x="31" y="67"/>
                  </a:lnTo>
                  <a:lnTo>
                    <a:pt x="46" y="62"/>
                  </a:lnTo>
                  <a:lnTo>
                    <a:pt x="61" y="69"/>
                  </a:lnTo>
                  <a:lnTo>
                    <a:pt x="78" y="67"/>
                  </a:lnTo>
                  <a:lnTo>
                    <a:pt x="77" y="56"/>
                  </a:lnTo>
                  <a:lnTo>
                    <a:pt x="96" y="48"/>
                  </a:lnTo>
                  <a:lnTo>
                    <a:pt x="112" y="51"/>
                  </a:lnTo>
                  <a:lnTo>
                    <a:pt x="104" y="38"/>
                  </a:lnTo>
                  <a:lnTo>
                    <a:pt x="110" y="21"/>
                  </a:lnTo>
                  <a:lnTo>
                    <a:pt x="117" y="12"/>
                  </a:lnTo>
                  <a:lnTo>
                    <a:pt x="117" y="12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0" name="Bosnia and Herzegovina">
              <a:extLst>
                <a:ext uri="{FF2B5EF4-FFF2-40B4-BE49-F238E27FC236}">
                  <a16:creationId xmlns:a16="http://schemas.microsoft.com/office/drawing/2014/main" id="{EB8F1312-B111-4F80-B16D-B5254B9873E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5094" y="2360386"/>
              <a:ext cx="119062" cy="92075"/>
            </a:xfrm>
            <a:custGeom>
              <a:avLst/>
              <a:gdLst>
                <a:gd name="T0" fmla="*/ 24 w 75"/>
                <a:gd name="T1" fmla="*/ 0 h 58"/>
                <a:gd name="T2" fmla="*/ 15 w 75"/>
                <a:gd name="T3" fmla="*/ 0 h 58"/>
                <a:gd name="T4" fmla="*/ 12 w 75"/>
                <a:gd name="T5" fmla="*/ 4 h 58"/>
                <a:gd name="T6" fmla="*/ 4 w 75"/>
                <a:gd name="T7" fmla="*/ 0 h 58"/>
                <a:gd name="T8" fmla="*/ 0 w 75"/>
                <a:gd name="T9" fmla="*/ 9 h 58"/>
                <a:gd name="T10" fmla="*/ 11 w 75"/>
                <a:gd name="T11" fmla="*/ 19 h 58"/>
                <a:gd name="T12" fmla="*/ 15 w 75"/>
                <a:gd name="T13" fmla="*/ 27 h 58"/>
                <a:gd name="T14" fmla="*/ 25 w 75"/>
                <a:gd name="T15" fmla="*/ 35 h 58"/>
                <a:gd name="T16" fmla="*/ 32 w 75"/>
                <a:gd name="T17" fmla="*/ 41 h 58"/>
                <a:gd name="T18" fmla="*/ 41 w 75"/>
                <a:gd name="T19" fmla="*/ 50 h 58"/>
                <a:gd name="T20" fmla="*/ 58 w 75"/>
                <a:gd name="T21" fmla="*/ 58 h 58"/>
                <a:gd name="T22" fmla="*/ 60 w 75"/>
                <a:gd name="T23" fmla="*/ 46 h 58"/>
                <a:gd name="T24" fmla="*/ 66 w 75"/>
                <a:gd name="T25" fmla="*/ 41 h 58"/>
                <a:gd name="T26" fmla="*/ 69 w 75"/>
                <a:gd name="T27" fmla="*/ 39 h 58"/>
                <a:gd name="T28" fmla="*/ 73 w 75"/>
                <a:gd name="T29" fmla="*/ 37 h 58"/>
                <a:gd name="T30" fmla="*/ 75 w 75"/>
                <a:gd name="T31" fmla="*/ 27 h 58"/>
                <a:gd name="T32" fmla="*/ 65 w 75"/>
                <a:gd name="T33" fmla="*/ 18 h 58"/>
                <a:gd name="T34" fmla="*/ 69 w 75"/>
                <a:gd name="T35" fmla="*/ 8 h 58"/>
                <a:gd name="T36" fmla="*/ 62 w 75"/>
                <a:gd name="T37" fmla="*/ 8 h 58"/>
                <a:gd name="T38" fmla="*/ 62 w 75"/>
                <a:gd name="T39" fmla="*/ 8 h 58"/>
                <a:gd name="T40" fmla="*/ 53 w 75"/>
                <a:gd name="T41" fmla="*/ 2 h 58"/>
                <a:gd name="T42" fmla="*/ 40 w 75"/>
                <a:gd name="T43" fmla="*/ 3 h 58"/>
                <a:gd name="T44" fmla="*/ 24 w 75"/>
                <a:gd name="T45" fmla="*/ 0 h 58"/>
                <a:gd name="T46" fmla="*/ 24 w 75"/>
                <a:gd name="T47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5" h="58">
                  <a:moveTo>
                    <a:pt x="24" y="0"/>
                  </a:moveTo>
                  <a:lnTo>
                    <a:pt x="15" y="0"/>
                  </a:lnTo>
                  <a:lnTo>
                    <a:pt x="12" y="4"/>
                  </a:lnTo>
                  <a:lnTo>
                    <a:pt x="4" y="0"/>
                  </a:lnTo>
                  <a:lnTo>
                    <a:pt x="0" y="9"/>
                  </a:lnTo>
                  <a:lnTo>
                    <a:pt x="11" y="19"/>
                  </a:lnTo>
                  <a:lnTo>
                    <a:pt x="15" y="27"/>
                  </a:lnTo>
                  <a:lnTo>
                    <a:pt x="25" y="35"/>
                  </a:lnTo>
                  <a:lnTo>
                    <a:pt x="32" y="41"/>
                  </a:lnTo>
                  <a:lnTo>
                    <a:pt x="41" y="50"/>
                  </a:lnTo>
                  <a:lnTo>
                    <a:pt x="58" y="58"/>
                  </a:lnTo>
                  <a:lnTo>
                    <a:pt x="60" y="46"/>
                  </a:lnTo>
                  <a:lnTo>
                    <a:pt x="66" y="41"/>
                  </a:lnTo>
                  <a:lnTo>
                    <a:pt x="69" y="39"/>
                  </a:lnTo>
                  <a:lnTo>
                    <a:pt x="73" y="37"/>
                  </a:lnTo>
                  <a:lnTo>
                    <a:pt x="75" y="27"/>
                  </a:lnTo>
                  <a:lnTo>
                    <a:pt x="65" y="18"/>
                  </a:lnTo>
                  <a:lnTo>
                    <a:pt x="69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53" y="2"/>
                  </a:lnTo>
                  <a:lnTo>
                    <a:pt x="40" y="3"/>
                  </a:lnTo>
                  <a:lnTo>
                    <a:pt x="24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1" name="Belarus">
              <a:extLst>
                <a:ext uri="{FF2B5EF4-FFF2-40B4-BE49-F238E27FC236}">
                  <a16:creationId xmlns:a16="http://schemas.microsoft.com/office/drawing/2014/main" id="{9A9E55F0-CBBC-4EEB-AB3F-B449F089AC7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4006" y="1961923"/>
              <a:ext cx="263525" cy="174625"/>
            </a:xfrm>
            <a:custGeom>
              <a:avLst/>
              <a:gdLst>
                <a:gd name="T0" fmla="*/ 93 w 166"/>
                <a:gd name="T1" fmla="*/ 6 h 110"/>
                <a:gd name="T2" fmla="*/ 74 w 166"/>
                <a:gd name="T3" fmla="*/ 0 h 110"/>
                <a:gd name="T4" fmla="*/ 57 w 166"/>
                <a:gd name="T5" fmla="*/ 9 h 110"/>
                <a:gd name="T6" fmla="*/ 48 w 166"/>
                <a:gd name="T7" fmla="*/ 12 h 110"/>
                <a:gd name="T8" fmla="*/ 50 w 166"/>
                <a:gd name="T9" fmla="*/ 22 h 110"/>
                <a:gd name="T10" fmla="*/ 37 w 166"/>
                <a:gd name="T11" fmla="*/ 29 h 110"/>
                <a:gd name="T12" fmla="*/ 35 w 166"/>
                <a:gd name="T13" fmla="*/ 42 h 110"/>
                <a:gd name="T14" fmla="*/ 18 w 166"/>
                <a:gd name="T15" fmla="*/ 51 h 110"/>
                <a:gd name="T16" fmla="*/ 1 w 166"/>
                <a:gd name="T17" fmla="*/ 51 h 110"/>
                <a:gd name="T18" fmla="*/ 3 w 166"/>
                <a:gd name="T19" fmla="*/ 60 h 110"/>
                <a:gd name="T20" fmla="*/ 9 w 166"/>
                <a:gd name="T21" fmla="*/ 69 h 110"/>
                <a:gd name="T22" fmla="*/ 10 w 166"/>
                <a:gd name="T23" fmla="*/ 78 h 110"/>
                <a:gd name="T24" fmla="*/ 0 w 166"/>
                <a:gd name="T25" fmla="*/ 82 h 110"/>
                <a:gd name="T26" fmla="*/ 7 w 166"/>
                <a:gd name="T27" fmla="*/ 94 h 110"/>
                <a:gd name="T28" fmla="*/ 9 w 166"/>
                <a:gd name="T29" fmla="*/ 103 h 110"/>
                <a:gd name="T30" fmla="*/ 18 w 166"/>
                <a:gd name="T31" fmla="*/ 102 h 110"/>
                <a:gd name="T32" fmla="*/ 26 w 166"/>
                <a:gd name="T33" fmla="*/ 96 h 110"/>
                <a:gd name="T34" fmla="*/ 40 w 166"/>
                <a:gd name="T35" fmla="*/ 96 h 110"/>
                <a:gd name="T36" fmla="*/ 59 w 166"/>
                <a:gd name="T37" fmla="*/ 97 h 110"/>
                <a:gd name="T38" fmla="*/ 79 w 166"/>
                <a:gd name="T39" fmla="*/ 103 h 110"/>
                <a:gd name="T40" fmla="*/ 94 w 166"/>
                <a:gd name="T41" fmla="*/ 103 h 110"/>
                <a:gd name="T42" fmla="*/ 102 w 166"/>
                <a:gd name="T43" fmla="*/ 107 h 110"/>
                <a:gd name="T44" fmla="*/ 107 w 166"/>
                <a:gd name="T45" fmla="*/ 103 h 110"/>
                <a:gd name="T46" fmla="*/ 113 w 166"/>
                <a:gd name="T47" fmla="*/ 109 h 110"/>
                <a:gd name="T48" fmla="*/ 129 w 166"/>
                <a:gd name="T49" fmla="*/ 107 h 110"/>
                <a:gd name="T50" fmla="*/ 136 w 166"/>
                <a:gd name="T51" fmla="*/ 110 h 110"/>
                <a:gd name="T52" fmla="*/ 135 w 166"/>
                <a:gd name="T53" fmla="*/ 97 h 110"/>
                <a:gd name="T54" fmla="*/ 140 w 166"/>
                <a:gd name="T55" fmla="*/ 93 h 110"/>
                <a:gd name="T56" fmla="*/ 156 w 166"/>
                <a:gd name="T57" fmla="*/ 92 h 110"/>
                <a:gd name="T58" fmla="*/ 156 w 166"/>
                <a:gd name="T59" fmla="*/ 92 h 110"/>
                <a:gd name="T60" fmla="*/ 148 w 166"/>
                <a:gd name="T61" fmla="*/ 77 h 110"/>
                <a:gd name="T62" fmla="*/ 143 w 166"/>
                <a:gd name="T63" fmla="*/ 69 h 110"/>
                <a:gd name="T64" fmla="*/ 146 w 166"/>
                <a:gd name="T65" fmla="*/ 68 h 110"/>
                <a:gd name="T66" fmla="*/ 160 w 166"/>
                <a:gd name="T67" fmla="*/ 68 h 110"/>
                <a:gd name="T68" fmla="*/ 166 w 166"/>
                <a:gd name="T69" fmla="*/ 63 h 110"/>
                <a:gd name="T70" fmla="*/ 160 w 166"/>
                <a:gd name="T71" fmla="*/ 57 h 110"/>
                <a:gd name="T72" fmla="*/ 147 w 166"/>
                <a:gd name="T73" fmla="*/ 53 h 110"/>
                <a:gd name="T74" fmla="*/ 148 w 166"/>
                <a:gd name="T75" fmla="*/ 49 h 110"/>
                <a:gd name="T76" fmla="*/ 139 w 166"/>
                <a:gd name="T77" fmla="*/ 45 h 110"/>
                <a:gd name="T78" fmla="*/ 125 w 166"/>
                <a:gd name="T79" fmla="*/ 30 h 110"/>
                <a:gd name="T80" fmla="*/ 128 w 166"/>
                <a:gd name="T81" fmla="*/ 25 h 110"/>
                <a:gd name="T82" fmla="*/ 124 w 166"/>
                <a:gd name="T83" fmla="*/ 13 h 110"/>
                <a:gd name="T84" fmla="*/ 105 w 166"/>
                <a:gd name="T85" fmla="*/ 8 h 110"/>
                <a:gd name="T86" fmla="*/ 97 w 166"/>
                <a:gd name="T87" fmla="*/ 11 h 110"/>
                <a:gd name="T88" fmla="*/ 93 w 166"/>
                <a:gd name="T89" fmla="*/ 6 h 110"/>
                <a:gd name="T90" fmla="*/ 93 w 166"/>
                <a:gd name="T91" fmla="*/ 6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66" h="110">
                  <a:moveTo>
                    <a:pt x="93" y="6"/>
                  </a:moveTo>
                  <a:lnTo>
                    <a:pt x="74" y="0"/>
                  </a:lnTo>
                  <a:lnTo>
                    <a:pt x="57" y="9"/>
                  </a:lnTo>
                  <a:lnTo>
                    <a:pt x="48" y="12"/>
                  </a:lnTo>
                  <a:lnTo>
                    <a:pt x="50" y="22"/>
                  </a:lnTo>
                  <a:lnTo>
                    <a:pt x="37" y="29"/>
                  </a:lnTo>
                  <a:lnTo>
                    <a:pt x="35" y="42"/>
                  </a:lnTo>
                  <a:lnTo>
                    <a:pt x="18" y="51"/>
                  </a:lnTo>
                  <a:lnTo>
                    <a:pt x="1" y="51"/>
                  </a:lnTo>
                  <a:lnTo>
                    <a:pt x="3" y="60"/>
                  </a:lnTo>
                  <a:lnTo>
                    <a:pt x="9" y="69"/>
                  </a:lnTo>
                  <a:lnTo>
                    <a:pt x="10" y="78"/>
                  </a:lnTo>
                  <a:lnTo>
                    <a:pt x="0" y="82"/>
                  </a:lnTo>
                  <a:lnTo>
                    <a:pt x="7" y="94"/>
                  </a:lnTo>
                  <a:lnTo>
                    <a:pt x="9" y="103"/>
                  </a:lnTo>
                  <a:lnTo>
                    <a:pt x="18" y="102"/>
                  </a:lnTo>
                  <a:lnTo>
                    <a:pt x="26" y="96"/>
                  </a:lnTo>
                  <a:lnTo>
                    <a:pt x="40" y="96"/>
                  </a:lnTo>
                  <a:lnTo>
                    <a:pt x="59" y="97"/>
                  </a:lnTo>
                  <a:lnTo>
                    <a:pt x="79" y="103"/>
                  </a:lnTo>
                  <a:lnTo>
                    <a:pt x="94" y="103"/>
                  </a:lnTo>
                  <a:lnTo>
                    <a:pt x="102" y="107"/>
                  </a:lnTo>
                  <a:lnTo>
                    <a:pt x="107" y="103"/>
                  </a:lnTo>
                  <a:lnTo>
                    <a:pt x="113" y="109"/>
                  </a:lnTo>
                  <a:lnTo>
                    <a:pt x="129" y="107"/>
                  </a:lnTo>
                  <a:lnTo>
                    <a:pt x="136" y="110"/>
                  </a:lnTo>
                  <a:lnTo>
                    <a:pt x="135" y="97"/>
                  </a:lnTo>
                  <a:lnTo>
                    <a:pt x="140" y="93"/>
                  </a:lnTo>
                  <a:lnTo>
                    <a:pt x="156" y="92"/>
                  </a:lnTo>
                  <a:lnTo>
                    <a:pt x="156" y="92"/>
                  </a:lnTo>
                  <a:lnTo>
                    <a:pt x="148" y="77"/>
                  </a:lnTo>
                  <a:lnTo>
                    <a:pt x="143" y="69"/>
                  </a:lnTo>
                  <a:lnTo>
                    <a:pt x="146" y="68"/>
                  </a:lnTo>
                  <a:lnTo>
                    <a:pt x="160" y="68"/>
                  </a:lnTo>
                  <a:lnTo>
                    <a:pt x="166" y="63"/>
                  </a:lnTo>
                  <a:lnTo>
                    <a:pt x="160" y="57"/>
                  </a:lnTo>
                  <a:lnTo>
                    <a:pt x="147" y="53"/>
                  </a:lnTo>
                  <a:lnTo>
                    <a:pt x="148" y="49"/>
                  </a:lnTo>
                  <a:lnTo>
                    <a:pt x="139" y="45"/>
                  </a:lnTo>
                  <a:lnTo>
                    <a:pt x="125" y="30"/>
                  </a:lnTo>
                  <a:lnTo>
                    <a:pt x="128" y="25"/>
                  </a:lnTo>
                  <a:lnTo>
                    <a:pt x="124" y="13"/>
                  </a:lnTo>
                  <a:lnTo>
                    <a:pt x="105" y="8"/>
                  </a:lnTo>
                  <a:lnTo>
                    <a:pt x="97" y="11"/>
                  </a:lnTo>
                  <a:lnTo>
                    <a:pt x="93" y="6"/>
                  </a:lnTo>
                  <a:lnTo>
                    <a:pt x="93" y="6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2" name="Belize">
              <a:extLst>
                <a:ext uri="{FF2B5EF4-FFF2-40B4-BE49-F238E27FC236}">
                  <a16:creationId xmlns:a16="http://schemas.microsoft.com/office/drawing/2014/main" id="{6B0EB8F3-B94F-4167-B552-0E2D4641652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6731" y="3365273"/>
              <a:ext cx="47625" cy="96838"/>
            </a:xfrm>
            <a:custGeom>
              <a:avLst/>
              <a:gdLst>
                <a:gd name="T0" fmla="*/ 6 w 30"/>
                <a:gd name="T1" fmla="*/ 61 h 61"/>
                <a:gd name="T2" fmla="*/ 11 w 30"/>
                <a:gd name="T3" fmla="*/ 54 h 61"/>
                <a:gd name="T4" fmla="*/ 15 w 30"/>
                <a:gd name="T5" fmla="*/ 53 h 61"/>
                <a:gd name="T6" fmla="*/ 20 w 30"/>
                <a:gd name="T7" fmla="*/ 46 h 61"/>
                <a:gd name="T8" fmla="*/ 23 w 30"/>
                <a:gd name="T9" fmla="*/ 34 h 61"/>
                <a:gd name="T10" fmla="*/ 22 w 30"/>
                <a:gd name="T11" fmla="*/ 32 h 61"/>
                <a:gd name="T12" fmla="*/ 25 w 30"/>
                <a:gd name="T13" fmla="*/ 24 h 61"/>
                <a:gd name="T14" fmla="*/ 24 w 30"/>
                <a:gd name="T15" fmla="*/ 20 h 61"/>
                <a:gd name="T16" fmla="*/ 29 w 30"/>
                <a:gd name="T17" fmla="*/ 10 h 61"/>
                <a:gd name="T18" fmla="*/ 30 w 30"/>
                <a:gd name="T19" fmla="*/ 3 h 61"/>
                <a:gd name="T20" fmla="*/ 26 w 30"/>
                <a:gd name="T21" fmla="*/ 3 h 61"/>
                <a:gd name="T22" fmla="*/ 26 w 30"/>
                <a:gd name="T23" fmla="*/ 0 h 61"/>
                <a:gd name="T24" fmla="*/ 22 w 30"/>
                <a:gd name="T25" fmla="*/ 0 h 61"/>
                <a:gd name="T26" fmla="*/ 13 w 30"/>
                <a:gd name="T27" fmla="*/ 14 h 61"/>
                <a:gd name="T28" fmla="*/ 9 w 30"/>
                <a:gd name="T29" fmla="*/ 11 h 61"/>
                <a:gd name="T30" fmla="*/ 7 w 30"/>
                <a:gd name="T31" fmla="*/ 13 h 61"/>
                <a:gd name="T32" fmla="*/ 7 w 30"/>
                <a:gd name="T33" fmla="*/ 16 h 61"/>
                <a:gd name="T34" fmla="*/ 4 w 30"/>
                <a:gd name="T35" fmla="*/ 35 h 61"/>
                <a:gd name="T36" fmla="*/ 0 w 30"/>
                <a:gd name="T37" fmla="*/ 61 h 61"/>
                <a:gd name="T38" fmla="*/ 6 w 30"/>
                <a:gd name="T39" fmla="*/ 61 h 61"/>
                <a:gd name="T40" fmla="*/ 6 w 30"/>
                <a:gd name="T4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" h="61">
                  <a:moveTo>
                    <a:pt x="6" y="61"/>
                  </a:moveTo>
                  <a:lnTo>
                    <a:pt x="11" y="54"/>
                  </a:lnTo>
                  <a:lnTo>
                    <a:pt x="15" y="53"/>
                  </a:lnTo>
                  <a:lnTo>
                    <a:pt x="20" y="46"/>
                  </a:lnTo>
                  <a:lnTo>
                    <a:pt x="23" y="34"/>
                  </a:lnTo>
                  <a:lnTo>
                    <a:pt x="22" y="32"/>
                  </a:lnTo>
                  <a:lnTo>
                    <a:pt x="25" y="24"/>
                  </a:lnTo>
                  <a:lnTo>
                    <a:pt x="24" y="20"/>
                  </a:lnTo>
                  <a:lnTo>
                    <a:pt x="29" y="10"/>
                  </a:lnTo>
                  <a:lnTo>
                    <a:pt x="30" y="3"/>
                  </a:lnTo>
                  <a:lnTo>
                    <a:pt x="26" y="3"/>
                  </a:lnTo>
                  <a:lnTo>
                    <a:pt x="26" y="0"/>
                  </a:lnTo>
                  <a:lnTo>
                    <a:pt x="22" y="0"/>
                  </a:lnTo>
                  <a:lnTo>
                    <a:pt x="13" y="14"/>
                  </a:lnTo>
                  <a:lnTo>
                    <a:pt x="9" y="11"/>
                  </a:lnTo>
                  <a:lnTo>
                    <a:pt x="7" y="13"/>
                  </a:lnTo>
                  <a:lnTo>
                    <a:pt x="7" y="16"/>
                  </a:lnTo>
                  <a:lnTo>
                    <a:pt x="4" y="35"/>
                  </a:lnTo>
                  <a:lnTo>
                    <a:pt x="0" y="61"/>
                  </a:lnTo>
                  <a:lnTo>
                    <a:pt x="6" y="61"/>
                  </a:lnTo>
                  <a:lnTo>
                    <a:pt x="6" y="61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3" name="Bolivia">
              <a:extLst>
                <a:ext uri="{FF2B5EF4-FFF2-40B4-BE49-F238E27FC236}">
                  <a16:creationId xmlns:a16="http://schemas.microsoft.com/office/drawing/2014/main" id="{55E61A9D-63C7-40EE-9F7B-EF2BDFE1E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1731" y="4430486"/>
              <a:ext cx="415925" cy="495300"/>
            </a:xfrm>
            <a:custGeom>
              <a:avLst/>
              <a:gdLst>
                <a:gd name="T0" fmla="*/ 253 w 262"/>
                <a:gd name="T1" fmla="*/ 247 h 312"/>
                <a:gd name="T2" fmla="*/ 258 w 262"/>
                <a:gd name="T3" fmla="*/ 243 h 312"/>
                <a:gd name="T4" fmla="*/ 255 w 262"/>
                <a:gd name="T5" fmla="*/ 229 h 312"/>
                <a:gd name="T6" fmla="*/ 260 w 262"/>
                <a:gd name="T7" fmla="*/ 218 h 312"/>
                <a:gd name="T8" fmla="*/ 262 w 262"/>
                <a:gd name="T9" fmla="*/ 200 h 312"/>
                <a:gd name="T10" fmla="*/ 256 w 262"/>
                <a:gd name="T11" fmla="*/ 185 h 312"/>
                <a:gd name="T12" fmla="*/ 244 w 262"/>
                <a:gd name="T13" fmla="*/ 178 h 312"/>
                <a:gd name="T14" fmla="*/ 241 w 262"/>
                <a:gd name="T15" fmla="*/ 169 h 312"/>
                <a:gd name="T16" fmla="*/ 243 w 262"/>
                <a:gd name="T17" fmla="*/ 156 h 312"/>
                <a:gd name="T18" fmla="*/ 203 w 262"/>
                <a:gd name="T19" fmla="*/ 154 h 312"/>
                <a:gd name="T20" fmla="*/ 194 w 262"/>
                <a:gd name="T21" fmla="*/ 127 h 312"/>
                <a:gd name="T22" fmla="*/ 199 w 262"/>
                <a:gd name="T23" fmla="*/ 126 h 312"/>
                <a:gd name="T24" fmla="*/ 198 w 262"/>
                <a:gd name="T25" fmla="*/ 116 h 312"/>
                <a:gd name="T26" fmla="*/ 194 w 262"/>
                <a:gd name="T27" fmla="*/ 109 h 312"/>
                <a:gd name="T28" fmla="*/ 192 w 262"/>
                <a:gd name="T29" fmla="*/ 95 h 312"/>
                <a:gd name="T30" fmla="*/ 180 w 262"/>
                <a:gd name="T31" fmla="*/ 89 h 312"/>
                <a:gd name="T32" fmla="*/ 167 w 262"/>
                <a:gd name="T33" fmla="*/ 89 h 312"/>
                <a:gd name="T34" fmla="*/ 157 w 262"/>
                <a:gd name="T35" fmla="*/ 81 h 312"/>
                <a:gd name="T36" fmla="*/ 143 w 262"/>
                <a:gd name="T37" fmla="*/ 77 h 312"/>
                <a:gd name="T38" fmla="*/ 134 w 262"/>
                <a:gd name="T39" fmla="*/ 68 h 312"/>
                <a:gd name="T40" fmla="*/ 111 w 262"/>
                <a:gd name="T41" fmla="*/ 64 h 312"/>
                <a:gd name="T42" fmla="*/ 86 w 262"/>
                <a:gd name="T43" fmla="*/ 43 h 312"/>
                <a:gd name="T44" fmla="*/ 87 w 262"/>
                <a:gd name="T45" fmla="*/ 27 h 312"/>
                <a:gd name="T46" fmla="*/ 85 w 262"/>
                <a:gd name="T47" fmla="*/ 18 h 312"/>
                <a:gd name="T48" fmla="*/ 85 w 262"/>
                <a:gd name="T49" fmla="*/ 0 h 312"/>
                <a:gd name="T50" fmla="*/ 58 w 262"/>
                <a:gd name="T51" fmla="*/ 5 h 312"/>
                <a:gd name="T52" fmla="*/ 48 w 262"/>
                <a:gd name="T53" fmla="*/ 13 h 312"/>
                <a:gd name="T54" fmla="*/ 30 w 262"/>
                <a:gd name="T55" fmla="*/ 22 h 312"/>
                <a:gd name="T56" fmla="*/ 26 w 262"/>
                <a:gd name="T57" fmla="*/ 30 h 312"/>
                <a:gd name="T58" fmla="*/ 15 w 262"/>
                <a:gd name="T59" fmla="*/ 31 h 312"/>
                <a:gd name="T60" fmla="*/ 0 w 262"/>
                <a:gd name="T61" fmla="*/ 28 h 312"/>
                <a:gd name="T62" fmla="*/ 20 w 262"/>
                <a:gd name="T63" fmla="*/ 66 h 312"/>
                <a:gd name="T64" fmla="*/ 16 w 262"/>
                <a:gd name="T65" fmla="*/ 75 h 312"/>
                <a:gd name="T66" fmla="*/ 16 w 262"/>
                <a:gd name="T67" fmla="*/ 91 h 312"/>
                <a:gd name="T68" fmla="*/ 17 w 262"/>
                <a:gd name="T69" fmla="*/ 111 h 312"/>
                <a:gd name="T70" fmla="*/ 11 w 262"/>
                <a:gd name="T71" fmla="*/ 123 h 312"/>
                <a:gd name="T72" fmla="*/ 15 w 262"/>
                <a:gd name="T73" fmla="*/ 132 h 312"/>
                <a:gd name="T74" fmla="*/ 11 w 262"/>
                <a:gd name="T75" fmla="*/ 140 h 312"/>
                <a:gd name="T76" fmla="*/ 21 w 262"/>
                <a:gd name="T77" fmla="*/ 160 h 312"/>
                <a:gd name="T78" fmla="*/ 11 w 262"/>
                <a:gd name="T79" fmla="*/ 186 h 312"/>
                <a:gd name="T80" fmla="*/ 22 w 262"/>
                <a:gd name="T81" fmla="*/ 202 h 312"/>
                <a:gd name="T82" fmla="*/ 27 w 262"/>
                <a:gd name="T83" fmla="*/ 219 h 312"/>
                <a:gd name="T84" fmla="*/ 39 w 262"/>
                <a:gd name="T85" fmla="*/ 229 h 312"/>
                <a:gd name="T86" fmla="*/ 35 w 262"/>
                <a:gd name="T87" fmla="*/ 252 h 312"/>
                <a:gd name="T88" fmla="*/ 48 w 262"/>
                <a:gd name="T89" fmla="*/ 279 h 312"/>
                <a:gd name="T90" fmla="*/ 60 w 262"/>
                <a:gd name="T91" fmla="*/ 312 h 312"/>
                <a:gd name="T92" fmla="*/ 74 w 262"/>
                <a:gd name="T93" fmla="*/ 308 h 312"/>
                <a:gd name="T94" fmla="*/ 89 w 262"/>
                <a:gd name="T95" fmla="*/ 286 h 312"/>
                <a:gd name="T96" fmla="*/ 117 w 262"/>
                <a:gd name="T97" fmla="*/ 292 h 312"/>
                <a:gd name="T98" fmla="*/ 130 w 262"/>
                <a:gd name="T99" fmla="*/ 310 h 312"/>
                <a:gd name="T100" fmla="*/ 137 w 262"/>
                <a:gd name="T101" fmla="*/ 290 h 312"/>
                <a:gd name="T102" fmla="*/ 160 w 262"/>
                <a:gd name="T103" fmla="*/ 292 h 312"/>
                <a:gd name="T104" fmla="*/ 164 w 262"/>
                <a:gd name="T105" fmla="*/ 297 h 312"/>
                <a:gd name="T106" fmla="*/ 170 w 262"/>
                <a:gd name="T107" fmla="*/ 268 h 312"/>
                <a:gd name="T108" fmla="*/ 169 w 262"/>
                <a:gd name="T109" fmla="*/ 256 h 312"/>
                <a:gd name="T110" fmla="*/ 177 w 262"/>
                <a:gd name="T111" fmla="*/ 234 h 312"/>
                <a:gd name="T112" fmla="*/ 212 w 262"/>
                <a:gd name="T113" fmla="*/ 228 h 312"/>
                <a:gd name="T114" fmla="*/ 231 w 262"/>
                <a:gd name="T115" fmla="*/ 228 h 312"/>
                <a:gd name="T116" fmla="*/ 252 w 262"/>
                <a:gd name="T117" fmla="*/ 240 h 312"/>
                <a:gd name="T118" fmla="*/ 253 w 262"/>
                <a:gd name="T119" fmla="*/ 247 h 312"/>
                <a:gd name="T120" fmla="*/ 253 w 262"/>
                <a:gd name="T121" fmla="*/ 247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62" h="312">
                  <a:moveTo>
                    <a:pt x="253" y="247"/>
                  </a:moveTo>
                  <a:lnTo>
                    <a:pt x="258" y="243"/>
                  </a:lnTo>
                  <a:lnTo>
                    <a:pt x="255" y="229"/>
                  </a:lnTo>
                  <a:lnTo>
                    <a:pt x="260" y="218"/>
                  </a:lnTo>
                  <a:lnTo>
                    <a:pt x="262" y="200"/>
                  </a:lnTo>
                  <a:lnTo>
                    <a:pt x="256" y="185"/>
                  </a:lnTo>
                  <a:lnTo>
                    <a:pt x="244" y="178"/>
                  </a:lnTo>
                  <a:lnTo>
                    <a:pt x="241" y="169"/>
                  </a:lnTo>
                  <a:lnTo>
                    <a:pt x="243" y="156"/>
                  </a:lnTo>
                  <a:lnTo>
                    <a:pt x="203" y="154"/>
                  </a:lnTo>
                  <a:lnTo>
                    <a:pt x="194" y="127"/>
                  </a:lnTo>
                  <a:lnTo>
                    <a:pt x="199" y="126"/>
                  </a:lnTo>
                  <a:lnTo>
                    <a:pt x="198" y="116"/>
                  </a:lnTo>
                  <a:lnTo>
                    <a:pt x="194" y="109"/>
                  </a:lnTo>
                  <a:lnTo>
                    <a:pt x="192" y="95"/>
                  </a:lnTo>
                  <a:lnTo>
                    <a:pt x="180" y="89"/>
                  </a:lnTo>
                  <a:lnTo>
                    <a:pt x="167" y="89"/>
                  </a:lnTo>
                  <a:lnTo>
                    <a:pt x="157" y="81"/>
                  </a:lnTo>
                  <a:lnTo>
                    <a:pt x="143" y="77"/>
                  </a:lnTo>
                  <a:lnTo>
                    <a:pt x="134" y="68"/>
                  </a:lnTo>
                  <a:lnTo>
                    <a:pt x="111" y="64"/>
                  </a:lnTo>
                  <a:lnTo>
                    <a:pt x="86" y="43"/>
                  </a:lnTo>
                  <a:lnTo>
                    <a:pt x="87" y="27"/>
                  </a:lnTo>
                  <a:lnTo>
                    <a:pt x="85" y="18"/>
                  </a:lnTo>
                  <a:lnTo>
                    <a:pt x="85" y="0"/>
                  </a:lnTo>
                  <a:lnTo>
                    <a:pt x="58" y="5"/>
                  </a:lnTo>
                  <a:lnTo>
                    <a:pt x="48" y="13"/>
                  </a:lnTo>
                  <a:lnTo>
                    <a:pt x="30" y="22"/>
                  </a:lnTo>
                  <a:lnTo>
                    <a:pt x="26" y="30"/>
                  </a:lnTo>
                  <a:lnTo>
                    <a:pt x="15" y="31"/>
                  </a:lnTo>
                  <a:lnTo>
                    <a:pt x="0" y="28"/>
                  </a:lnTo>
                  <a:lnTo>
                    <a:pt x="20" y="66"/>
                  </a:lnTo>
                  <a:lnTo>
                    <a:pt x="16" y="75"/>
                  </a:lnTo>
                  <a:lnTo>
                    <a:pt x="16" y="91"/>
                  </a:lnTo>
                  <a:lnTo>
                    <a:pt x="17" y="111"/>
                  </a:lnTo>
                  <a:lnTo>
                    <a:pt x="11" y="123"/>
                  </a:lnTo>
                  <a:lnTo>
                    <a:pt x="15" y="132"/>
                  </a:lnTo>
                  <a:lnTo>
                    <a:pt x="11" y="140"/>
                  </a:lnTo>
                  <a:lnTo>
                    <a:pt x="21" y="160"/>
                  </a:lnTo>
                  <a:lnTo>
                    <a:pt x="11" y="186"/>
                  </a:lnTo>
                  <a:lnTo>
                    <a:pt x="22" y="202"/>
                  </a:lnTo>
                  <a:lnTo>
                    <a:pt x="27" y="219"/>
                  </a:lnTo>
                  <a:lnTo>
                    <a:pt x="39" y="229"/>
                  </a:lnTo>
                  <a:lnTo>
                    <a:pt x="35" y="252"/>
                  </a:lnTo>
                  <a:lnTo>
                    <a:pt x="48" y="279"/>
                  </a:lnTo>
                  <a:lnTo>
                    <a:pt x="60" y="312"/>
                  </a:lnTo>
                  <a:lnTo>
                    <a:pt x="74" y="308"/>
                  </a:lnTo>
                  <a:lnTo>
                    <a:pt x="89" y="286"/>
                  </a:lnTo>
                  <a:lnTo>
                    <a:pt x="117" y="292"/>
                  </a:lnTo>
                  <a:lnTo>
                    <a:pt x="130" y="310"/>
                  </a:lnTo>
                  <a:lnTo>
                    <a:pt x="137" y="290"/>
                  </a:lnTo>
                  <a:lnTo>
                    <a:pt x="160" y="292"/>
                  </a:lnTo>
                  <a:lnTo>
                    <a:pt x="164" y="297"/>
                  </a:lnTo>
                  <a:lnTo>
                    <a:pt x="170" y="268"/>
                  </a:lnTo>
                  <a:lnTo>
                    <a:pt x="169" y="256"/>
                  </a:lnTo>
                  <a:lnTo>
                    <a:pt x="177" y="234"/>
                  </a:lnTo>
                  <a:lnTo>
                    <a:pt x="212" y="228"/>
                  </a:lnTo>
                  <a:lnTo>
                    <a:pt x="231" y="228"/>
                  </a:lnTo>
                  <a:lnTo>
                    <a:pt x="252" y="240"/>
                  </a:lnTo>
                  <a:lnTo>
                    <a:pt x="253" y="247"/>
                  </a:lnTo>
                  <a:lnTo>
                    <a:pt x="253" y="247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0" name="Brazil">
              <a:extLst>
                <a:ext uri="{FF2B5EF4-FFF2-40B4-BE49-F238E27FC236}">
                  <a16:creationId xmlns:a16="http://schemas.microsoft.com/office/drawing/2014/main" id="{CD8BC2BF-F885-4B17-B1B8-D2722FA08F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6156" y="3863748"/>
              <a:ext cx="1304925" cy="1471612"/>
            </a:xfrm>
            <a:custGeom>
              <a:avLst/>
              <a:gdLst>
                <a:gd name="T0" fmla="*/ 339 w 822"/>
                <a:gd name="T1" fmla="*/ 85 h 927"/>
                <a:gd name="T2" fmla="*/ 310 w 822"/>
                <a:gd name="T3" fmla="*/ 94 h 927"/>
                <a:gd name="T4" fmla="*/ 295 w 822"/>
                <a:gd name="T5" fmla="*/ 39 h 927"/>
                <a:gd name="T6" fmla="*/ 292 w 822"/>
                <a:gd name="T7" fmla="*/ 6 h 927"/>
                <a:gd name="T8" fmla="*/ 271 w 822"/>
                <a:gd name="T9" fmla="*/ 17 h 927"/>
                <a:gd name="T10" fmla="*/ 210 w 822"/>
                <a:gd name="T11" fmla="*/ 29 h 927"/>
                <a:gd name="T12" fmla="*/ 198 w 822"/>
                <a:gd name="T13" fmla="*/ 51 h 927"/>
                <a:gd name="T14" fmla="*/ 204 w 822"/>
                <a:gd name="T15" fmla="*/ 80 h 927"/>
                <a:gd name="T16" fmla="*/ 173 w 822"/>
                <a:gd name="T17" fmla="*/ 106 h 927"/>
                <a:gd name="T18" fmla="*/ 138 w 822"/>
                <a:gd name="T19" fmla="*/ 84 h 927"/>
                <a:gd name="T20" fmla="*/ 85 w 822"/>
                <a:gd name="T21" fmla="*/ 99 h 927"/>
                <a:gd name="T22" fmla="*/ 80 w 822"/>
                <a:gd name="T23" fmla="*/ 112 h 927"/>
                <a:gd name="T24" fmla="*/ 92 w 822"/>
                <a:gd name="T25" fmla="*/ 162 h 927"/>
                <a:gd name="T26" fmla="*/ 45 w 822"/>
                <a:gd name="T27" fmla="*/ 235 h 927"/>
                <a:gd name="T28" fmla="*/ 18 w 822"/>
                <a:gd name="T29" fmla="*/ 282 h 927"/>
                <a:gd name="T30" fmla="*/ 10 w 822"/>
                <a:gd name="T31" fmla="*/ 325 h 927"/>
                <a:gd name="T32" fmla="*/ 42 w 822"/>
                <a:gd name="T33" fmla="*/ 363 h 927"/>
                <a:gd name="T34" fmla="*/ 86 w 822"/>
                <a:gd name="T35" fmla="*/ 390 h 927"/>
                <a:gd name="T36" fmla="*/ 128 w 822"/>
                <a:gd name="T37" fmla="*/ 379 h 927"/>
                <a:gd name="T38" fmla="*/ 183 w 822"/>
                <a:gd name="T39" fmla="*/ 375 h 927"/>
                <a:gd name="T40" fmla="*/ 232 w 822"/>
                <a:gd name="T41" fmla="*/ 425 h 927"/>
                <a:gd name="T42" fmla="*/ 278 w 822"/>
                <a:gd name="T43" fmla="*/ 446 h 927"/>
                <a:gd name="T44" fmla="*/ 297 w 822"/>
                <a:gd name="T45" fmla="*/ 483 h 927"/>
                <a:gd name="T46" fmla="*/ 339 w 822"/>
                <a:gd name="T47" fmla="*/ 526 h 927"/>
                <a:gd name="T48" fmla="*/ 358 w 822"/>
                <a:gd name="T49" fmla="*/ 575 h 927"/>
                <a:gd name="T50" fmla="*/ 357 w 822"/>
                <a:gd name="T51" fmla="*/ 617 h 927"/>
                <a:gd name="T52" fmla="*/ 404 w 822"/>
                <a:gd name="T53" fmla="*/ 657 h 927"/>
                <a:gd name="T54" fmla="*/ 423 w 822"/>
                <a:gd name="T55" fmla="*/ 696 h 927"/>
                <a:gd name="T56" fmla="*/ 438 w 822"/>
                <a:gd name="T57" fmla="*/ 723 h 927"/>
                <a:gd name="T58" fmla="*/ 459 w 822"/>
                <a:gd name="T59" fmla="*/ 765 h 927"/>
                <a:gd name="T60" fmla="*/ 389 w 822"/>
                <a:gd name="T61" fmla="*/ 843 h 927"/>
                <a:gd name="T62" fmla="*/ 455 w 822"/>
                <a:gd name="T63" fmla="*/ 873 h 927"/>
                <a:gd name="T64" fmla="*/ 488 w 822"/>
                <a:gd name="T65" fmla="*/ 927 h 927"/>
                <a:gd name="T66" fmla="*/ 531 w 822"/>
                <a:gd name="T67" fmla="*/ 861 h 927"/>
                <a:gd name="T68" fmla="*/ 564 w 822"/>
                <a:gd name="T69" fmla="*/ 770 h 927"/>
                <a:gd name="T70" fmla="*/ 598 w 822"/>
                <a:gd name="T71" fmla="*/ 698 h 927"/>
                <a:gd name="T72" fmla="*/ 688 w 822"/>
                <a:gd name="T73" fmla="*/ 671 h 927"/>
                <a:gd name="T74" fmla="*/ 729 w 822"/>
                <a:gd name="T75" fmla="*/ 591 h 927"/>
                <a:gd name="T76" fmla="*/ 742 w 822"/>
                <a:gd name="T77" fmla="*/ 497 h 927"/>
                <a:gd name="T78" fmla="*/ 763 w 822"/>
                <a:gd name="T79" fmla="*/ 414 h 927"/>
                <a:gd name="T80" fmla="*/ 822 w 822"/>
                <a:gd name="T81" fmla="*/ 300 h 927"/>
                <a:gd name="T82" fmla="*/ 785 w 822"/>
                <a:gd name="T83" fmla="*/ 247 h 927"/>
                <a:gd name="T84" fmla="*/ 679 w 822"/>
                <a:gd name="T85" fmla="*/ 194 h 927"/>
                <a:gd name="T86" fmla="*/ 607 w 822"/>
                <a:gd name="T87" fmla="*/ 162 h 927"/>
                <a:gd name="T88" fmla="*/ 529 w 822"/>
                <a:gd name="T89" fmla="*/ 131 h 927"/>
                <a:gd name="T90" fmla="*/ 501 w 822"/>
                <a:gd name="T91" fmla="*/ 83 h 927"/>
                <a:gd name="T92" fmla="*/ 466 w 822"/>
                <a:gd name="T93" fmla="*/ 26 h 927"/>
                <a:gd name="T94" fmla="*/ 428 w 822"/>
                <a:gd name="T95" fmla="*/ 76 h 927"/>
                <a:gd name="T96" fmla="*/ 406 w 822"/>
                <a:gd name="T97" fmla="*/ 70 h 927"/>
                <a:gd name="T98" fmla="*/ 373 w 822"/>
                <a:gd name="T99" fmla="*/ 72 h 927"/>
                <a:gd name="T100" fmla="*/ 363 w 822"/>
                <a:gd name="T101" fmla="*/ 80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2" h="927">
                  <a:moveTo>
                    <a:pt x="363" y="80"/>
                  </a:moveTo>
                  <a:lnTo>
                    <a:pt x="357" y="80"/>
                  </a:lnTo>
                  <a:lnTo>
                    <a:pt x="346" y="79"/>
                  </a:lnTo>
                  <a:lnTo>
                    <a:pt x="339" y="85"/>
                  </a:lnTo>
                  <a:lnTo>
                    <a:pt x="329" y="89"/>
                  </a:lnTo>
                  <a:lnTo>
                    <a:pt x="324" y="90"/>
                  </a:lnTo>
                  <a:lnTo>
                    <a:pt x="321" y="94"/>
                  </a:lnTo>
                  <a:lnTo>
                    <a:pt x="310" y="94"/>
                  </a:lnTo>
                  <a:lnTo>
                    <a:pt x="297" y="82"/>
                  </a:lnTo>
                  <a:lnTo>
                    <a:pt x="296" y="72"/>
                  </a:lnTo>
                  <a:lnTo>
                    <a:pt x="291" y="59"/>
                  </a:lnTo>
                  <a:lnTo>
                    <a:pt x="295" y="39"/>
                  </a:lnTo>
                  <a:lnTo>
                    <a:pt x="301" y="31"/>
                  </a:lnTo>
                  <a:lnTo>
                    <a:pt x="296" y="20"/>
                  </a:lnTo>
                  <a:lnTo>
                    <a:pt x="289" y="16"/>
                  </a:lnTo>
                  <a:lnTo>
                    <a:pt x="292" y="6"/>
                  </a:lnTo>
                  <a:lnTo>
                    <a:pt x="287" y="0"/>
                  </a:lnTo>
                  <a:lnTo>
                    <a:pt x="277" y="1"/>
                  </a:lnTo>
                  <a:lnTo>
                    <a:pt x="279" y="9"/>
                  </a:lnTo>
                  <a:lnTo>
                    <a:pt x="271" y="17"/>
                  </a:lnTo>
                  <a:lnTo>
                    <a:pt x="247" y="26"/>
                  </a:lnTo>
                  <a:lnTo>
                    <a:pt x="232" y="30"/>
                  </a:lnTo>
                  <a:lnTo>
                    <a:pt x="226" y="36"/>
                  </a:lnTo>
                  <a:lnTo>
                    <a:pt x="210" y="29"/>
                  </a:lnTo>
                  <a:lnTo>
                    <a:pt x="194" y="26"/>
                  </a:lnTo>
                  <a:lnTo>
                    <a:pt x="190" y="29"/>
                  </a:lnTo>
                  <a:lnTo>
                    <a:pt x="199" y="35"/>
                  </a:lnTo>
                  <a:lnTo>
                    <a:pt x="198" y="51"/>
                  </a:lnTo>
                  <a:lnTo>
                    <a:pt x="200" y="66"/>
                  </a:lnTo>
                  <a:lnTo>
                    <a:pt x="219" y="67"/>
                  </a:lnTo>
                  <a:lnTo>
                    <a:pt x="220" y="73"/>
                  </a:lnTo>
                  <a:lnTo>
                    <a:pt x="204" y="80"/>
                  </a:lnTo>
                  <a:lnTo>
                    <a:pt x="202" y="90"/>
                  </a:lnTo>
                  <a:lnTo>
                    <a:pt x="193" y="94"/>
                  </a:lnTo>
                  <a:lnTo>
                    <a:pt x="178" y="99"/>
                  </a:lnTo>
                  <a:lnTo>
                    <a:pt x="173" y="106"/>
                  </a:lnTo>
                  <a:lnTo>
                    <a:pt x="157" y="108"/>
                  </a:lnTo>
                  <a:lnTo>
                    <a:pt x="146" y="95"/>
                  </a:lnTo>
                  <a:lnTo>
                    <a:pt x="141" y="98"/>
                  </a:lnTo>
                  <a:lnTo>
                    <a:pt x="138" y="84"/>
                  </a:lnTo>
                  <a:lnTo>
                    <a:pt x="132" y="77"/>
                  </a:lnTo>
                  <a:lnTo>
                    <a:pt x="125" y="85"/>
                  </a:lnTo>
                  <a:lnTo>
                    <a:pt x="85" y="84"/>
                  </a:lnTo>
                  <a:lnTo>
                    <a:pt x="85" y="99"/>
                  </a:lnTo>
                  <a:lnTo>
                    <a:pt x="97" y="102"/>
                  </a:lnTo>
                  <a:lnTo>
                    <a:pt x="96" y="110"/>
                  </a:lnTo>
                  <a:lnTo>
                    <a:pt x="92" y="108"/>
                  </a:lnTo>
                  <a:lnTo>
                    <a:pt x="80" y="112"/>
                  </a:lnTo>
                  <a:lnTo>
                    <a:pt x="80" y="129"/>
                  </a:lnTo>
                  <a:lnTo>
                    <a:pt x="89" y="138"/>
                  </a:lnTo>
                  <a:lnTo>
                    <a:pt x="92" y="151"/>
                  </a:lnTo>
                  <a:lnTo>
                    <a:pt x="92" y="162"/>
                  </a:lnTo>
                  <a:lnTo>
                    <a:pt x="84" y="227"/>
                  </a:lnTo>
                  <a:lnTo>
                    <a:pt x="65" y="226"/>
                  </a:lnTo>
                  <a:lnTo>
                    <a:pt x="62" y="230"/>
                  </a:lnTo>
                  <a:lnTo>
                    <a:pt x="45" y="235"/>
                  </a:lnTo>
                  <a:lnTo>
                    <a:pt x="22" y="250"/>
                  </a:lnTo>
                  <a:lnTo>
                    <a:pt x="20" y="262"/>
                  </a:lnTo>
                  <a:lnTo>
                    <a:pt x="15" y="270"/>
                  </a:lnTo>
                  <a:lnTo>
                    <a:pt x="18" y="282"/>
                  </a:lnTo>
                  <a:lnTo>
                    <a:pt x="6" y="290"/>
                  </a:lnTo>
                  <a:lnTo>
                    <a:pt x="6" y="300"/>
                  </a:lnTo>
                  <a:lnTo>
                    <a:pt x="0" y="304"/>
                  </a:lnTo>
                  <a:lnTo>
                    <a:pt x="10" y="325"/>
                  </a:lnTo>
                  <a:lnTo>
                    <a:pt x="23" y="339"/>
                  </a:lnTo>
                  <a:lnTo>
                    <a:pt x="19" y="350"/>
                  </a:lnTo>
                  <a:lnTo>
                    <a:pt x="32" y="351"/>
                  </a:lnTo>
                  <a:lnTo>
                    <a:pt x="42" y="363"/>
                  </a:lnTo>
                  <a:lnTo>
                    <a:pt x="59" y="364"/>
                  </a:lnTo>
                  <a:lnTo>
                    <a:pt x="76" y="350"/>
                  </a:lnTo>
                  <a:lnTo>
                    <a:pt x="77" y="387"/>
                  </a:lnTo>
                  <a:lnTo>
                    <a:pt x="86" y="390"/>
                  </a:lnTo>
                  <a:lnTo>
                    <a:pt x="98" y="385"/>
                  </a:lnTo>
                  <a:lnTo>
                    <a:pt x="113" y="388"/>
                  </a:lnTo>
                  <a:lnTo>
                    <a:pt x="124" y="387"/>
                  </a:lnTo>
                  <a:lnTo>
                    <a:pt x="128" y="379"/>
                  </a:lnTo>
                  <a:lnTo>
                    <a:pt x="146" y="370"/>
                  </a:lnTo>
                  <a:lnTo>
                    <a:pt x="156" y="362"/>
                  </a:lnTo>
                  <a:lnTo>
                    <a:pt x="183" y="357"/>
                  </a:lnTo>
                  <a:lnTo>
                    <a:pt x="183" y="375"/>
                  </a:lnTo>
                  <a:lnTo>
                    <a:pt x="185" y="384"/>
                  </a:lnTo>
                  <a:lnTo>
                    <a:pt x="184" y="400"/>
                  </a:lnTo>
                  <a:lnTo>
                    <a:pt x="209" y="421"/>
                  </a:lnTo>
                  <a:lnTo>
                    <a:pt x="232" y="425"/>
                  </a:lnTo>
                  <a:lnTo>
                    <a:pt x="241" y="434"/>
                  </a:lnTo>
                  <a:lnTo>
                    <a:pt x="255" y="438"/>
                  </a:lnTo>
                  <a:lnTo>
                    <a:pt x="265" y="446"/>
                  </a:lnTo>
                  <a:lnTo>
                    <a:pt x="278" y="446"/>
                  </a:lnTo>
                  <a:lnTo>
                    <a:pt x="290" y="452"/>
                  </a:lnTo>
                  <a:lnTo>
                    <a:pt x="292" y="466"/>
                  </a:lnTo>
                  <a:lnTo>
                    <a:pt x="296" y="473"/>
                  </a:lnTo>
                  <a:lnTo>
                    <a:pt x="297" y="483"/>
                  </a:lnTo>
                  <a:lnTo>
                    <a:pt x="292" y="484"/>
                  </a:lnTo>
                  <a:lnTo>
                    <a:pt x="301" y="511"/>
                  </a:lnTo>
                  <a:lnTo>
                    <a:pt x="341" y="513"/>
                  </a:lnTo>
                  <a:lnTo>
                    <a:pt x="339" y="526"/>
                  </a:lnTo>
                  <a:lnTo>
                    <a:pt x="342" y="535"/>
                  </a:lnTo>
                  <a:lnTo>
                    <a:pt x="354" y="542"/>
                  </a:lnTo>
                  <a:lnTo>
                    <a:pt x="360" y="557"/>
                  </a:lnTo>
                  <a:lnTo>
                    <a:pt x="358" y="575"/>
                  </a:lnTo>
                  <a:lnTo>
                    <a:pt x="353" y="586"/>
                  </a:lnTo>
                  <a:lnTo>
                    <a:pt x="356" y="600"/>
                  </a:lnTo>
                  <a:lnTo>
                    <a:pt x="351" y="604"/>
                  </a:lnTo>
                  <a:lnTo>
                    <a:pt x="357" y="617"/>
                  </a:lnTo>
                  <a:lnTo>
                    <a:pt x="359" y="650"/>
                  </a:lnTo>
                  <a:lnTo>
                    <a:pt x="381" y="655"/>
                  </a:lnTo>
                  <a:lnTo>
                    <a:pt x="389" y="650"/>
                  </a:lnTo>
                  <a:lnTo>
                    <a:pt x="404" y="657"/>
                  </a:lnTo>
                  <a:lnTo>
                    <a:pt x="409" y="663"/>
                  </a:lnTo>
                  <a:lnTo>
                    <a:pt x="412" y="685"/>
                  </a:lnTo>
                  <a:lnTo>
                    <a:pt x="415" y="694"/>
                  </a:lnTo>
                  <a:lnTo>
                    <a:pt x="423" y="696"/>
                  </a:lnTo>
                  <a:lnTo>
                    <a:pt x="430" y="691"/>
                  </a:lnTo>
                  <a:lnTo>
                    <a:pt x="438" y="696"/>
                  </a:lnTo>
                  <a:lnTo>
                    <a:pt x="439" y="709"/>
                  </a:lnTo>
                  <a:lnTo>
                    <a:pt x="438" y="723"/>
                  </a:lnTo>
                  <a:lnTo>
                    <a:pt x="436" y="737"/>
                  </a:lnTo>
                  <a:lnTo>
                    <a:pt x="445" y="732"/>
                  </a:lnTo>
                  <a:lnTo>
                    <a:pt x="457" y="746"/>
                  </a:lnTo>
                  <a:lnTo>
                    <a:pt x="459" y="765"/>
                  </a:lnTo>
                  <a:lnTo>
                    <a:pt x="443" y="778"/>
                  </a:lnTo>
                  <a:lnTo>
                    <a:pt x="431" y="787"/>
                  </a:lnTo>
                  <a:lnTo>
                    <a:pt x="411" y="811"/>
                  </a:lnTo>
                  <a:lnTo>
                    <a:pt x="389" y="843"/>
                  </a:lnTo>
                  <a:lnTo>
                    <a:pt x="402" y="840"/>
                  </a:lnTo>
                  <a:lnTo>
                    <a:pt x="424" y="858"/>
                  </a:lnTo>
                  <a:lnTo>
                    <a:pt x="432" y="858"/>
                  </a:lnTo>
                  <a:lnTo>
                    <a:pt x="455" y="873"/>
                  </a:lnTo>
                  <a:lnTo>
                    <a:pt x="473" y="886"/>
                  </a:lnTo>
                  <a:lnTo>
                    <a:pt x="487" y="902"/>
                  </a:lnTo>
                  <a:lnTo>
                    <a:pt x="480" y="913"/>
                  </a:lnTo>
                  <a:lnTo>
                    <a:pt x="488" y="927"/>
                  </a:lnTo>
                  <a:lnTo>
                    <a:pt x="499" y="913"/>
                  </a:lnTo>
                  <a:lnTo>
                    <a:pt x="505" y="891"/>
                  </a:lnTo>
                  <a:lnTo>
                    <a:pt x="516" y="880"/>
                  </a:lnTo>
                  <a:lnTo>
                    <a:pt x="531" y="861"/>
                  </a:lnTo>
                  <a:lnTo>
                    <a:pt x="548" y="819"/>
                  </a:lnTo>
                  <a:lnTo>
                    <a:pt x="561" y="806"/>
                  </a:lnTo>
                  <a:lnTo>
                    <a:pt x="563" y="795"/>
                  </a:lnTo>
                  <a:lnTo>
                    <a:pt x="564" y="770"/>
                  </a:lnTo>
                  <a:lnTo>
                    <a:pt x="560" y="757"/>
                  </a:lnTo>
                  <a:lnTo>
                    <a:pt x="561" y="740"/>
                  </a:lnTo>
                  <a:lnTo>
                    <a:pt x="576" y="716"/>
                  </a:lnTo>
                  <a:lnTo>
                    <a:pt x="598" y="698"/>
                  </a:lnTo>
                  <a:lnTo>
                    <a:pt x="620" y="690"/>
                  </a:lnTo>
                  <a:lnTo>
                    <a:pt x="634" y="680"/>
                  </a:lnTo>
                  <a:lnTo>
                    <a:pt x="666" y="671"/>
                  </a:lnTo>
                  <a:lnTo>
                    <a:pt x="688" y="671"/>
                  </a:lnTo>
                  <a:lnTo>
                    <a:pt x="692" y="657"/>
                  </a:lnTo>
                  <a:lnTo>
                    <a:pt x="708" y="646"/>
                  </a:lnTo>
                  <a:lnTo>
                    <a:pt x="710" y="622"/>
                  </a:lnTo>
                  <a:lnTo>
                    <a:pt x="729" y="591"/>
                  </a:lnTo>
                  <a:lnTo>
                    <a:pt x="731" y="559"/>
                  </a:lnTo>
                  <a:lnTo>
                    <a:pt x="737" y="549"/>
                  </a:lnTo>
                  <a:lnTo>
                    <a:pt x="738" y="534"/>
                  </a:lnTo>
                  <a:lnTo>
                    <a:pt x="742" y="497"/>
                  </a:lnTo>
                  <a:lnTo>
                    <a:pt x="738" y="453"/>
                  </a:lnTo>
                  <a:lnTo>
                    <a:pt x="744" y="435"/>
                  </a:lnTo>
                  <a:lnTo>
                    <a:pt x="749" y="434"/>
                  </a:lnTo>
                  <a:lnTo>
                    <a:pt x="763" y="414"/>
                  </a:lnTo>
                  <a:lnTo>
                    <a:pt x="775" y="388"/>
                  </a:lnTo>
                  <a:lnTo>
                    <a:pt x="804" y="354"/>
                  </a:lnTo>
                  <a:lnTo>
                    <a:pt x="815" y="339"/>
                  </a:lnTo>
                  <a:lnTo>
                    <a:pt x="822" y="300"/>
                  </a:lnTo>
                  <a:lnTo>
                    <a:pt x="818" y="285"/>
                  </a:lnTo>
                  <a:lnTo>
                    <a:pt x="811" y="255"/>
                  </a:lnTo>
                  <a:lnTo>
                    <a:pt x="803" y="248"/>
                  </a:lnTo>
                  <a:lnTo>
                    <a:pt x="785" y="247"/>
                  </a:lnTo>
                  <a:lnTo>
                    <a:pt x="769" y="239"/>
                  </a:lnTo>
                  <a:lnTo>
                    <a:pt x="742" y="213"/>
                  </a:lnTo>
                  <a:lnTo>
                    <a:pt x="710" y="193"/>
                  </a:lnTo>
                  <a:lnTo>
                    <a:pt x="679" y="194"/>
                  </a:lnTo>
                  <a:lnTo>
                    <a:pt x="638" y="181"/>
                  </a:lnTo>
                  <a:lnTo>
                    <a:pt x="614" y="189"/>
                  </a:lnTo>
                  <a:lnTo>
                    <a:pt x="617" y="176"/>
                  </a:lnTo>
                  <a:lnTo>
                    <a:pt x="607" y="162"/>
                  </a:lnTo>
                  <a:lnTo>
                    <a:pt x="572" y="148"/>
                  </a:lnTo>
                  <a:lnTo>
                    <a:pt x="546" y="139"/>
                  </a:lnTo>
                  <a:lnTo>
                    <a:pt x="530" y="154"/>
                  </a:lnTo>
                  <a:lnTo>
                    <a:pt x="529" y="131"/>
                  </a:lnTo>
                  <a:lnTo>
                    <a:pt x="492" y="127"/>
                  </a:lnTo>
                  <a:lnTo>
                    <a:pt x="485" y="120"/>
                  </a:lnTo>
                  <a:lnTo>
                    <a:pt x="501" y="100"/>
                  </a:lnTo>
                  <a:lnTo>
                    <a:pt x="501" y="83"/>
                  </a:lnTo>
                  <a:lnTo>
                    <a:pt x="490" y="80"/>
                  </a:lnTo>
                  <a:lnTo>
                    <a:pt x="479" y="38"/>
                  </a:lnTo>
                  <a:lnTo>
                    <a:pt x="473" y="25"/>
                  </a:lnTo>
                  <a:lnTo>
                    <a:pt x="466" y="26"/>
                  </a:lnTo>
                  <a:lnTo>
                    <a:pt x="453" y="48"/>
                  </a:lnTo>
                  <a:lnTo>
                    <a:pt x="447" y="66"/>
                  </a:lnTo>
                  <a:lnTo>
                    <a:pt x="438" y="74"/>
                  </a:lnTo>
                  <a:lnTo>
                    <a:pt x="428" y="76"/>
                  </a:lnTo>
                  <a:lnTo>
                    <a:pt x="425" y="69"/>
                  </a:lnTo>
                  <a:lnTo>
                    <a:pt x="421" y="68"/>
                  </a:lnTo>
                  <a:lnTo>
                    <a:pt x="414" y="75"/>
                  </a:lnTo>
                  <a:lnTo>
                    <a:pt x="406" y="70"/>
                  </a:lnTo>
                  <a:lnTo>
                    <a:pt x="394" y="65"/>
                  </a:lnTo>
                  <a:lnTo>
                    <a:pt x="383" y="67"/>
                  </a:lnTo>
                  <a:lnTo>
                    <a:pt x="375" y="66"/>
                  </a:lnTo>
                  <a:lnTo>
                    <a:pt x="373" y="72"/>
                  </a:lnTo>
                  <a:lnTo>
                    <a:pt x="376" y="77"/>
                  </a:lnTo>
                  <a:lnTo>
                    <a:pt x="374" y="81"/>
                  </a:lnTo>
                  <a:lnTo>
                    <a:pt x="363" y="80"/>
                  </a:lnTo>
                  <a:lnTo>
                    <a:pt x="363" y="8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4" name="Brunei">
              <a:extLst>
                <a:ext uri="{FF2B5EF4-FFF2-40B4-BE49-F238E27FC236}">
                  <a16:creationId xmlns:a16="http://schemas.microsoft.com/office/drawing/2014/main" id="{E02C74CD-C56F-438F-B81B-10055DF8015B}"/>
                </a:ext>
              </a:extLst>
            </p:cNvPr>
            <p:cNvSpPr>
              <a:spLocks/>
            </p:cNvSpPr>
            <p:nvPr/>
          </p:nvSpPr>
          <p:spPr bwMode="auto">
            <a:xfrm>
              <a:off x="9795669" y="3857398"/>
              <a:ext cx="41275" cy="53975"/>
            </a:xfrm>
            <a:custGeom>
              <a:avLst/>
              <a:gdLst>
                <a:gd name="T0" fmla="*/ 0 w 26"/>
                <a:gd name="T1" fmla="*/ 22 h 34"/>
                <a:gd name="T2" fmla="*/ 11 w 26"/>
                <a:gd name="T3" fmla="*/ 34 h 34"/>
                <a:gd name="T4" fmla="*/ 14 w 26"/>
                <a:gd name="T5" fmla="*/ 26 h 34"/>
                <a:gd name="T6" fmla="*/ 25 w 26"/>
                <a:gd name="T7" fmla="*/ 27 h 34"/>
                <a:gd name="T8" fmla="*/ 26 w 26"/>
                <a:gd name="T9" fmla="*/ 11 h 34"/>
                <a:gd name="T10" fmla="*/ 26 w 26"/>
                <a:gd name="T11" fmla="*/ 0 h 34"/>
                <a:gd name="T12" fmla="*/ 9 w 26"/>
                <a:gd name="T13" fmla="*/ 13 h 34"/>
                <a:gd name="T14" fmla="*/ 0 w 26"/>
                <a:gd name="T15" fmla="*/ 22 h 34"/>
                <a:gd name="T16" fmla="*/ 0 w 26"/>
                <a:gd name="T17" fmla="*/ 2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34">
                  <a:moveTo>
                    <a:pt x="0" y="22"/>
                  </a:moveTo>
                  <a:lnTo>
                    <a:pt x="11" y="34"/>
                  </a:lnTo>
                  <a:lnTo>
                    <a:pt x="14" y="26"/>
                  </a:lnTo>
                  <a:lnTo>
                    <a:pt x="25" y="27"/>
                  </a:lnTo>
                  <a:lnTo>
                    <a:pt x="26" y="11"/>
                  </a:lnTo>
                  <a:lnTo>
                    <a:pt x="26" y="0"/>
                  </a:lnTo>
                  <a:lnTo>
                    <a:pt x="9" y="13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5" name="Bhutan">
              <a:extLst>
                <a:ext uri="{FF2B5EF4-FFF2-40B4-BE49-F238E27FC236}">
                  <a16:creationId xmlns:a16="http://schemas.microsoft.com/office/drawing/2014/main" id="{7EDF3BA2-9B88-4C46-ABC0-0FB3E8A622F4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9044" y="2993798"/>
              <a:ext cx="106362" cy="60325"/>
            </a:xfrm>
            <a:custGeom>
              <a:avLst/>
              <a:gdLst>
                <a:gd name="T0" fmla="*/ 56 w 67"/>
                <a:gd name="T1" fmla="*/ 13 h 38"/>
                <a:gd name="T2" fmla="*/ 46 w 67"/>
                <a:gd name="T3" fmla="*/ 7 h 38"/>
                <a:gd name="T4" fmla="*/ 35 w 67"/>
                <a:gd name="T5" fmla="*/ 6 h 38"/>
                <a:gd name="T6" fmla="*/ 20 w 67"/>
                <a:gd name="T7" fmla="*/ 0 h 38"/>
                <a:gd name="T8" fmla="*/ 10 w 67"/>
                <a:gd name="T9" fmla="*/ 7 h 38"/>
                <a:gd name="T10" fmla="*/ 0 w 67"/>
                <a:gd name="T11" fmla="*/ 24 h 38"/>
                <a:gd name="T12" fmla="*/ 1 w 67"/>
                <a:gd name="T13" fmla="*/ 29 h 38"/>
                <a:gd name="T14" fmla="*/ 22 w 67"/>
                <a:gd name="T15" fmla="*/ 38 h 38"/>
                <a:gd name="T16" fmla="*/ 34 w 67"/>
                <a:gd name="T17" fmla="*/ 35 h 38"/>
                <a:gd name="T18" fmla="*/ 52 w 67"/>
                <a:gd name="T19" fmla="*/ 36 h 38"/>
                <a:gd name="T20" fmla="*/ 67 w 67"/>
                <a:gd name="T21" fmla="*/ 36 h 38"/>
                <a:gd name="T22" fmla="*/ 67 w 67"/>
                <a:gd name="T23" fmla="*/ 21 h 38"/>
                <a:gd name="T24" fmla="*/ 56 w 67"/>
                <a:gd name="T25" fmla="*/ 13 h 38"/>
                <a:gd name="T26" fmla="*/ 56 w 67"/>
                <a:gd name="T27" fmla="*/ 13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7" h="38">
                  <a:moveTo>
                    <a:pt x="56" y="13"/>
                  </a:moveTo>
                  <a:lnTo>
                    <a:pt x="46" y="7"/>
                  </a:lnTo>
                  <a:lnTo>
                    <a:pt x="35" y="6"/>
                  </a:lnTo>
                  <a:lnTo>
                    <a:pt x="20" y="0"/>
                  </a:lnTo>
                  <a:lnTo>
                    <a:pt x="10" y="7"/>
                  </a:lnTo>
                  <a:lnTo>
                    <a:pt x="0" y="24"/>
                  </a:lnTo>
                  <a:lnTo>
                    <a:pt x="1" y="29"/>
                  </a:lnTo>
                  <a:lnTo>
                    <a:pt x="22" y="38"/>
                  </a:lnTo>
                  <a:lnTo>
                    <a:pt x="34" y="35"/>
                  </a:lnTo>
                  <a:lnTo>
                    <a:pt x="52" y="36"/>
                  </a:lnTo>
                  <a:lnTo>
                    <a:pt x="67" y="36"/>
                  </a:lnTo>
                  <a:lnTo>
                    <a:pt x="67" y="21"/>
                  </a:lnTo>
                  <a:lnTo>
                    <a:pt x="56" y="13"/>
                  </a:lnTo>
                  <a:lnTo>
                    <a:pt x="56" y="13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6" name="Bangladesh">
              <a:extLst>
                <a:ext uri="{FF2B5EF4-FFF2-40B4-BE49-F238E27FC236}">
                  <a16:creationId xmlns:a16="http://schemas.microsoft.com/office/drawing/2014/main" id="{23326BD8-F9E3-4FAD-88CE-6F14632E0EF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1106" y="3065237"/>
              <a:ext cx="169862" cy="215899"/>
            </a:xfrm>
            <a:custGeom>
              <a:avLst/>
              <a:gdLst>
                <a:gd name="T0" fmla="*/ 105 w 107"/>
                <a:gd name="T1" fmla="*/ 105 h 136"/>
                <a:gd name="T2" fmla="*/ 88 w 107"/>
                <a:gd name="T3" fmla="*/ 66 h 136"/>
                <a:gd name="T4" fmla="*/ 83 w 107"/>
                <a:gd name="T5" fmla="*/ 67 h 136"/>
                <a:gd name="T6" fmla="*/ 82 w 107"/>
                <a:gd name="T7" fmla="*/ 82 h 136"/>
                <a:gd name="T8" fmla="*/ 69 w 107"/>
                <a:gd name="T9" fmla="*/ 69 h 136"/>
                <a:gd name="T10" fmla="*/ 73 w 107"/>
                <a:gd name="T11" fmla="*/ 56 h 136"/>
                <a:gd name="T12" fmla="*/ 82 w 107"/>
                <a:gd name="T13" fmla="*/ 54 h 136"/>
                <a:gd name="T14" fmla="*/ 88 w 107"/>
                <a:gd name="T15" fmla="*/ 34 h 136"/>
                <a:gd name="T16" fmla="*/ 75 w 107"/>
                <a:gd name="T17" fmla="*/ 31 h 136"/>
                <a:gd name="T18" fmla="*/ 57 w 107"/>
                <a:gd name="T19" fmla="*/ 31 h 136"/>
                <a:gd name="T20" fmla="*/ 36 w 107"/>
                <a:gd name="T21" fmla="*/ 28 h 136"/>
                <a:gd name="T22" fmla="*/ 32 w 107"/>
                <a:gd name="T23" fmla="*/ 11 h 136"/>
                <a:gd name="T24" fmla="*/ 22 w 107"/>
                <a:gd name="T25" fmla="*/ 9 h 136"/>
                <a:gd name="T26" fmla="*/ 4 w 107"/>
                <a:gd name="T27" fmla="*/ 0 h 136"/>
                <a:gd name="T28" fmla="*/ 0 w 107"/>
                <a:gd name="T29" fmla="*/ 16 h 136"/>
                <a:gd name="T30" fmla="*/ 16 w 107"/>
                <a:gd name="T31" fmla="*/ 28 h 136"/>
                <a:gd name="T32" fmla="*/ 5 w 107"/>
                <a:gd name="T33" fmla="*/ 37 h 136"/>
                <a:gd name="T34" fmla="*/ 2 w 107"/>
                <a:gd name="T35" fmla="*/ 46 h 136"/>
                <a:gd name="T36" fmla="*/ 16 w 107"/>
                <a:gd name="T37" fmla="*/ 52 h 136"/>
                <a:gd name="T38" fmla="*/ 15 w 107"/>
                <a:gd name="T39" fmla="*/ 66 h 136"/>
                <a:gd name="T40" fmla="*/ 24 w 107"/>
                <a:gd name="T41" fmla="*/ 84 h 136"/>
                <a:gd name="T42" fmla="*/ 30 w 107"/>
                <a:gd name="T43" fmla="*/ 104 h 136"/>
                <a:gd name="T44" fmla="*/ 38 w 107"/>
                <a:gd name="T45" fmla="*/ 106 h 136"/>
                <a:gd name="T46" fmla="*/ 44 w 107"/>
                <a:gd name="T47" fmla="*/ 108 h 136"/>
                <a:gd name="T48" fmla="*/ 47 w 107"/>
                <a:gd name="T49" fmla="*/ 105 h 136"/>
                <a:gd name="T50" fmla="*/ 57 w 107"/>
                <a:gd name="T51" fmla="*/ 109 h 136"/>
                <a:gd name="T52" fmla="*/ 61 w 107"/>
                <a:gd name="T53" fmla="*/ 96 h 136"/>
                <a:gd name="T54" fmla="*/ 58 w 107"/>
                <a:gd name="T55" fmla="*/ 86 h 136"/>
                <a:gd name="T56" fmla="*/ 77 w 107"/>
                <a:gd name="T57" fmla="*/ 87 h 136"/>
                <a:gd name="T58" fmla="*/ 87 w 107"/>
                <a:gd name="T59" fmla="*/ 101 h 136"/>
                <a:gd name="T60" fmla="*/ 93 w 107"/>
                <a:gd name="T61" fmla="*/ 112 h 136"/>
                <a:gd name="T62" fmla="*/ 96 w 107"/>
                <a:gd name="T63" fmla="*/ 124 h 136"/>
                <a:gd name="T64" fmla="*/ 103 w 107"/>
                <a:gd name="T65" fmla="*/ 136 h 136"/>
                <a:gd name="T66" fmla="*/ 100 w 107"/>
                <a:gd name="T67" fmla="*/ 118 h 136"/>
                <a:gd name="T68" fmla="*/ 107 w 107"/>
                <a:gd name="T69" fmla="*/ 121 h 136"/>
                <a:gd name="T70" fmla="*/ 105 w 107"/>
                <a:gd name="T71" fmla="*/ 105 h 136"/>
                <a:gd name="T72" fmla="*/ 105 w 107"/>
                <a:gd name="T73" fmla="*/ 105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7" h="136">
                  <a:moveTo>
                    <a:pt x="105" y="105"/>
                  </a:moveTo>
                  <a:lnTo>
                    <a:pt x="88" y="66"/>
                  </a:lnTo>
                  <a:lnTo>
                    <a:pt x="83" y="67"/>
                  </a:lnTo>
                  <a:lnTo>
                    <a:pt x="82" y="82"/>
                  </a:lnTo>
                  <a:lnTo>
                    <a:pt x="69" y="69"/>
                  </a:lnTo>
                  <a:lnTo>
                    <a:pt x="73" y="56"/>
                  </a:lnTo>
                  <a:lnTo>
                    <a:pt x="82" y="54"/>
                  </a:lnTo>
                  <a:lnTo>
                    <a:pt x="88" y="34"/>
                  </a:lnTo>
                  <a:lnTo>
                    <a:pt x="75" y="31"/>
                  </a:lnTo>
                  <a:lnTo>
                    <a:pt x="57" y="31"/>
                  </a:lnTo>
                  <a:lnTo>
                    <a:pt x="36" y="28"/>
                  </a:lnTo>
                  <a:lnTo>
                    <a:pt x="32" y="11"/>
                  </a:lnTo>
                  <a:lnTo>
                    <a:pt x="22" y="9"/>
                  </a:lnTo>
                  <a:lnTo>
                    <a:pt x="4" y="0"/>
                  </a:lnTo>
                  <a:lnTo>
                    <a:pt x="0" y="16"/>
                  </a:lnTo>
                  <a:lnTo>
                    <a:pt x="16" y="28"/>
                  </a:lnTo>
                  <a:lnTo>
                    <a:pt x="5" y="37"/>
                  </a:lnTo>
                  <a:lnTo>
                    <a:pt x="2" y="46"/>
                  </a:lnTo>
                  <a:lnTo>
                    <a:pt x="16" y="52"/>
                  </a:lnTo>
                  <a:lnTo>
                    <a:pt x="15" y="66"/>
                  </a:lnTo>
                  <a:lnTo>
                    <a:pt x="24" y="84"/>
                  </a:lnTo>
                  <a:lnTo>
                    <a:pt x="30" y="104"/>
                  </a:lnTo>
                  <a:lnTo>
                    <a:pt x="38" y="106"/>
                  </a:lnTo>
                  <a:lnTo>
                    <a:pt x="44" y="108"/>
                  </a:lnTo>
                  <a:lnTo>
                    <a:pt x="47" y="105"/>
                  </a:lnTo>
                  <a:lnTo>
                    <a:pt x="57" y="109"/>
                  </a:lnTo>
                  <a:lnTo>
                    <a:pt x="61" y="96"/>
                  </a:lnTo>
                  <a:lnTo>
                    <a:pt x="58" y="86"/>
                  </a:lnTo>
                  <a:lnTo>
                    <a:pt x="77" y="87"/>
                  </a:lnTo>
                  <a:lnTo>
                    <a:pt x="87" y="101"/>
                  </a:lnTo>
                  <a:lnTo>
                    <a:pt x="93" y="112"/>
                  </a:lnTo>
                  <a:lnTo>
                    <a:pt x="96" y="124"/>
                  </a:lnTo>
                  <a:lnTo>
                    <a:pt x="103" y="136"/>
                  </a:lnTo>
                  <a:lnTo>
                    <a:pt x="100" y="118"/>
                  </a:lnTo>
                  <a:lnTo>
                    <a:pt x="107" y="121"/>
                  </a:lnTo>
                  <a:lnTo>
                    <a:pt x="105" y="105"/>
                  </a:lnTo>
                  <a:lnTo>
                    <a:pt x="105" y="105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7" name="Botswana">
              <a:extLst>
                <a:ext uri="{FF2B5EF4-FFF2-40B4-BE49-F238E27FC236}">
                  <a16:creationId xmlns:a16="http://schemas.microsoft.com/office/drawing/2014/main" id="{50C4D457-0146-43FA-B5F7-92F2F81F48C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1306" y="4728935"/>
              <a:ext cx="314325" cy="346075"/>
            </a:xfrm>
            <a:custGeom>
              <a:avLst/>
              <a:gdLst>
                <a:gd name="T0" fmla="*/ 116 w 198"/>
                <a:gd name="T1" fmla="*/ 1 h 218"/>
                <a:gd name="T2" fmla="*/ 113 w 198"/>
                <a:gd name="T3" fmla="*/ 0 h 218"/>
                <a:gd name="T4" fmla="*/ 100 w 198"/>
                <a:gd name="T5" fmla="*/ 5 h 218"/>
                <a:gd name="T6" fmla="*/ 95 w 198"/>
                <a:gd name="T7" fmla="*/ 5 h 218"/>
                <a:gd name="T8" fmla="*/ 81 w 198"/>
                <a:gd name="T9" fmla="*/ 14 h 218"/>
                <a:gd name="T10" fmla="*/ 73 w 198"/>
                <a:gd name="T11" fmla="*/ 5 h 218"/>
                <a:gd name="T12" fmla="*/ 41 w 198"/>
                <a:gd name="T13" fmla="*/ 13 h 218"/>
                <a:gd name="T14" fmla="*/ 26 w 198"/>
                <a:gd name="T15" fmla="*/ 14 h 218"/>
                <a:gd name="T16" fmla="*/ 22 w 198"/>
                <a:gd name="T17" fmla="*/ 98 h 218"/>
                <a:gd name="T18" fmla="*/ 2 w 198"/>
                <a:gd name="T19" fmla="*/ 99 h 218"/>
                <a:gd name="T20" fmla="*/ 0 w 198"/>
                <a:gd name="T21" fmla="*/ 169 h 218"/>
                <a:gd name="T22" fmla="*/ 5 w 198"/>
                <a:gd name="T23" fmla="*/ 172 h 218"/>
                <a:gd name="T24" fmla="*/ 16 w 198"/>
                <a:gd name="T25" fmla="*/ 195 h 218"/>
                <a:gd name="T26" fmla="*/ 14 w 198"/>
                <a:gd name="T27" fmla="*/ 209 h 218"/>
                <a:gd name="T28" fmla="*/ 18 w 198"/>
                <a:gd name="T29" fmla="*/ 218 h 218"/>
                <a:gd name="T30" fmla="*/ 33 w 198"/>
                <a:gd name="T31" fmla="*/ 215 h 218"/>
                <a:gd name="T32" fmla="*/ 43 w 198"/>
                <a:gd name="T33" fmla="*/ 205 h 218"/>
                <a:gd name="T34" fmla="*/ 54 w 198"/>
                <a:gd name="T35" fmla="*/ 197 h 218"/>
                <a:gd name="T36" fmla="*/ 59 w 198"/>
                <a:gd name="T37" fmla="*/ 186 h 218"/>
                <a:gd name="T38" fmla="*/ 69 w 198"/>
                <a:gd name="T39" fmla="*/ 181 h 218"/>
                <a:gd name="T40" fmla="*/ 78 w 198"/>
                <a:gd name="T41" fmla="*/ 183 h 218"/>
                <a:gd name="T42" fmla="*/ 87 w 198"/>
                <a:gd name="T43" fmla="*/ 190 h 218"/>
                <a:gd name="T44" fmla="*/ 103 w 198"/>
                <a:gd name="T45" fmla="*/ 191 h 218"/>
                <a:gd name="T46" fmla="*/ 117 w 198"/>
                <a:gd name="T47" fmla="*/ 185 h 218"/>
                <a:gd name="T48" fmla="*/ 119 w 198"/>
                <a:gd name="T49" fmla="*/ 178 h 218"/>
                <a:gd name="T50" fmla="*/ 124 w 198"/>
                <a:gd name="T51" fmla="*/ 167 h 218"/>
                <a:gd name="T52" fmla="*/ 135 w 198"/>
                <a:gd name="T53" fmla="*/ 165 h 218"/>
                <a:gd name="T54" fmla="*/ 141 w 198"/>
                <a:gd name="T55" fmla="*/ 156 h 218"/>
                <a:gd name="T56" fmla="*/ 149 w 198"/>
                <a:gd name="T57" fmla="*/ 140 h 218"/>
                <a:gd name="T58" fmla="*/ 168 w 198"/>
                <a:gd name="T59" fmla="*/ 123 h 218"/>
                <a:gd name="T60" fmla="*/ 198 w 198"/>
                <a:gd name="T61" fmla="*/ 105 h 218"/>
                <a:gd name="T62" fmla="*/ 185 w 198"/>
                <a:gd name="T63" fmla="*/ 94 h 218"/>
                <a:gd name="T64" fmla="*/ 170 w 198"/>
                <a:gd name="T65" fmla="*/ 91 h 218"/>
                <a:gd name="T66" fmla="*/ 164 w 198"/>
                <a:gd name="T67" fmla="*/ 75 h 218"/>
                <a:gd name="T68" fmla="*/ 164 w 198"/>
                <a:gd name="T69" fmla="*/ 67 h 218"/>
                <a:gd name="T70" fmla="*/ 156 w 198"/>
                <a:gd name="T71" fmla="*/ 65 h 218"/>
                <a:gd name="T72" fmla="*/ 133 w 198"/>
                <a:gd name="T73" fmla="*/ 39 h 218"/>
                <a:gd name="T74" fmla="*/ 127 w 198"/>
                <a:gd name="T75" fmla="*/ 25 h 218"/>
                <a:gd name="T76" fmla="*/ 123 w 198"/>
                <a:gd name="T77" fmla="*/ 20 h 218"/>
                <a:gd name="T78" fmla="*/ 116 w 198"/>
                <a:gd name="T79" fmla="*/ 1 h 218"/>
                <a:gd name="T80" fmla="*/ 116 w 198"/>
                <a:gd name="T81" fmla="*/ 1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98" h="218">
                  <a:moveTo>
                    <a:pt x="116" y="1"/>
                  </a:moveTo>
                  <a:lnTo>
                    <a:pt x="113" y="0"/>
                  </a:lnTo>
                  <a:lnTo>
                    <a:pt x="100" y="5"/>
                  </a:lnTo>
                  <a:lnTo>
                    <a:pt x="95" y="5"/>
                  </a:lnTo>
                  <a:lnTo>
                    <a:pt x="81" y="14"/>
                  </a:lnTo>
                  <a:lnTo>
                    <a:pt x="73" y="5"/>
                  </a:lnTo>
                  <a:lnTo>
                    <a:pt x="41" y="13"/>
                  </a:lnTo>
                  <a:lnTo>
                    <a:pt x="26" y="14"/>
                  </a:lnTo>
                  <a:lnTo>
                    <a:pt x="22" y="98"/>
                  </a:lnTo>
                  <a:lnTo>
                    <a:pt x="2" y="99"/>
                  </a:lnTo>
                  <a:lnTo>
                    <a:pt x="0" y="169"/>
                  </a:lnTo>
                  <a:lnTo>
                    <a:pt x="5" y="172"/>
                  </a:lnTo>
                  <a:lnTo>
                    <a:pt x="16" y="195"/>
                  </a:lnTo>
                  <a:lnTo>
                    <a:pt x="14" y="209"/>
                  </a:lnTo>
                  <a:lnTo>
                    <a:pt x="18" y="218"/>
                  </a:lnTo>
                  <a:lnTo>
                    <a:pt x="33" y="215"/>
                  </a:lnTo>
                  <a:lnTo>
                    <a:pt x="43" y="205"/>
                  </a:lnTo>
                  <a:lnTo>
                    <a:pt x="54" y="197"/>
                  </a:lnTo>
                  <a:lnTo>
                    <a:pt x="59" y="186"/>
                  </a:lnTo>
                  <a:lnTo>
                    <a:pt x="69" y="181"/>
                  </a:lnTo>
                  <a:lnTo>
                    <a:pt x="78" y="183"/>
                  </a:lnTo>
                  <a:lnTo>
                    <a:pt x="87" y="190"/>
                  </a:lnTo>
                  <a:lnTo>
                    <a:pt x="103" y="191"/>
                  </a:lnTo>
                  <a:lnTo>
                    <a:pt x="117" y="185"/>
                  </a:lnTo>
                  <a:lnTo>
                    <a:pt x="119" y="178"/>
                  </a:lnTo>
                  <a:lnTo>
                    <a:pt x="124" y="167"/>
                  </a:lnTo>
                  <a:lnTo>
                    <a:pt x="135" y="165"/>
                  </a:lnTo>
                  <a:lnTo>
                    <a:pt x="141" y="156"/>
                  </a:lnTo>
                  <a:lnTo>
                    <a:pt x="149" y="140"/>
                  </a:lnTo>
                  <a:lnTo>
                    <a:pt x="168" y="123"/>
                  </a:lnTo>
                  <a:lnTo>
                    <a:pt x="198" y="105"/>
                  </a:lnTo>
                  <a:lnTo>
                    <a:pt x="185" y="94"/>
                  </a:lnTo>
                  <a:lnTo>
                    <a:pt x="170" y="91"/>
                  </a:lnTo>
                  <a:lnTo>
                    <a:pt x="164" y="75"/>
                  </a:lnTo>
                  <a:lnTo>
                    <a:pt x="164" y="67"/>
                  </a:lnTo>
                  <a:lnTo>
                    <a:pt x="156" y="65"/>
                  </a:lnTo>
                  <a:lnTo>
                    <a:pt x="133" y="39"/>
                  </a:lnTo>
                  <a:lnTo>
                    <a:pt x="127" y="25"/>
                  </a:lnTo>
                  <a:lnTo>
                    <a:pt x="123" y="20"/>
                  </a:lnTo>
                  <a:lnTo>
                    <a:pt x="116" y="1"/>
                  </a:lnTo>
                  <a:lnTo>
                    <a:pt x="116" y="1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8" name="Central African Republic">
              <a:extLst>
                <a:ext uri="{FF2B5EF4-FFF2-40B4-BE49-F238E27FC236}">
                  <a16:creationId xmlns:a16="http://schemas.microsoft.com/office/drawing/2014/main" id="{F36F605B-316E-44F9-ABEB-EB91AEBB4945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6206" y="3641498"/>
              <a:ext cx="430212" cy="334963"/>
            </a:xfrm>
            <a:custGeom>
              <a:avLst/>
              <a:gdLst>
                <a:gd name="T0" fmla="*/ 195 w 271"/>
                <a:gd name="T1" fmla="*/ 59 h 211"/>
                <a:gd name="T2" fmla="*/ 187 w 271"/>
                <a:gd name="T3" fmla="*/ 45 h 211"/>
                <a:gd name="T4" fmla="*/ 189 w 271"/>
                <a:gd name="T5" fmla="*/ 25 h 211"/>
                <a:gd name="T6" fmla="*/ 175 w 271"/>
                <a:gd name="T7" fmla="*/ 0 h 211"/>
                <a:gd name="T8" fmla="*/ 151 w 271"/>
                <a:gd name="T9" fmla="*/ 14 h 211"/>
                <a:gd name="T10" fmla="*/ 117 w 271"/>
                <a:gd name="T11" fmla="*/ 51 h 211"/>
                <a:gd name="T12" fmla="*/ 91 w 271"/>
                <a:gd name="T13" fmla="*/ 51 h 211"/>
                <a:gd name="T14" fmla="*/ 82 w 271"/>
                <a:gd name="T15" fmla="*/ 68 h 211"/>
                <a:gd name="T16" fmla="*/ 47 w 271"/>
                <a:gd name="T17" fmla="*/ 87 h 211"/>
                <a:gd name="T18" fmla="*/ 38 w 271"/>
                <a:gd name="T19" fmla="*/ 80 h 211"/>
                <a:gd name="T20" fmla="*/ 17 w 271"/>
                <a:gd name="T21" fmla="*/ 89 h 211"/>
                <a:gd name="T22" fmla="*/ 2 w 271"/>
                <a:gd name="T23" fmla="*/ 117 h 211"/>
                <a:gd name="T24" fmla="*/ 3 w 271"/>
                <a:gd name="T25" fmla="*/ 146 h 211"/>
                <a:gd name="T26" fmla="*/ 10 w 271"/>
                <a:gd name="T27" fmla="*/ 165 h 211"/>
                <a:gd name="T28" fmla="*/ 20 w 271"/>
                <a:gd name="T29" fmla="*/ 186 h 211"/>
                <a:gd name="T30" fmla="*/ 31 w 271"/>
                <a:gd name="T31" fmla="*/ 205 h 211"/>
                <a:gd name="T32" fmla="*/ 44 w 271"/>
                <a:gd name="T33" fmla="*/ 189 h 211"/>
                <a:gd name="T34" fmla="*/ 71 w 271"/>
                <a:gd name="T35" fmla="*/ 180 h 211"/>
                <a:gd name="T36" fmla="*/ 86 w 271"/>
                <a:gd name="T37" fmla="*/ 165 h 211"/>
                <a:gd name="T38" fmla="*/ 105 w 271"/>
                <a:gd name="T39" fmla="*/ 146 h 211"/>
                <a:gd name="T40" fmla="*/ 136 w 271"/>
                <a:gd name="T41" fmla="*/ 163 h 211"/>
                <a:gd name="T42" fmla="*/ 167 w 271"/>
                <a:gd name="T43" fmla="*/ 169 h 211"/>
                <a:gd name="T44" fmla="*/ 176 w 271"/>
                <a:gd name="T45" fmla="*/ 153 h 211"/>
                <a:gd name="T46" fmla="*/ 209 w 271"/>
                <a:gd name="T47" fmla="*/ 144 h 211"/>
                <a:gd name="T48" fmla="*/ 224 w 271"/>
                <a:gd name="T49" fmla="*/ 148 h 211"/>
                <a:gd name="T50" fmla="*/ 234 w 271"/>
                <a:gd name="T51" fmla="*/ 140 h 211"/>
                <a:gd name="T52" fmla="*/ 264 w 271"/>
                <a:gd name="T53" fmla="*/ 143 h 211"/>
                <a:gd name="T54" fmla="*/ 268 w 271"/>
                <a:gd name="T55" fmla="*/ 133 h 211"/>
                <a:gd name="T56" fmla="*/ 246 w 271"/>
                <a:gd name="T57" fmla="*/ 109 h 211"/>
                <a:gd name="T58" fmla="*/ 223 w 271"/>
                <a:gd name="T59" fmla="*/ 87 h 211"/>
                <a:gd name="T60" fmla="*/ 211 w 271"/>
                <a:gd name="T61" fmla="*/ 69 h 211"/>
                <a:gd name="T62" fmla="*/ 197 w 271"/>
                <a:gd name="T63" fmla="*/ 6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71" h="211">
                  <a:moveTo>
                    <a:pt x="197" y="60"/>
                  </a:moveTo>
                  <a:lnTo>
                    <a:pt x="195" y="59"/>
                  </a:lnTo>
                  <a:lnTo>
                    <a:pt x="188" y="52"/>
                  </a:lnTo>
                  <a:lnTo>
                    <a:pt x="187" y="45"/>
                  </a:lnTo>
                  <a:lnTo>
                    <a:pt x="189" y="35"/>
                  </a:lnTo>
                  <a:lnTo>
                    <a:pt x="189" y="25"/>
                  </a:lnTo>
                  <a:lnTo>
                    <a:pt x="177" y="10"/>
                  </a:lnTo>
                  <a:lnTo>
                    <a:pt x="175" y="0"/>
                  </a:lnTo>
                  <a:lnTo>
                    <a:pt x="161" y="5"/>
                  </a:lnTo>
                  <a:lnTo>
                    <a:pt x="151" y="14"/>
                  </a:lnTo>
                  <a:lnTo>
                    <a:pt x="136" y="40"/>
                  </a:lnTo>
                  <a:lnTo>
                    <a:pt x="117" y="51"/>
                  </a:lnTo>
                  <a:lnTo>
                    <a:pt x="96" y="50"/>
                  </a:lnTo>
                  <a:lnTo>
                    <a:pt x="91" y="51"/>
                  </a:lnTo>
                  <a:lnTo>
                    <a:pt x="92" y="60"/>
                  </a:lnTo>
                  <a:lnTo>
                    <a:pt x="82" y="68"/>
                  </a:lnTo>
                  <a:lnTo>
                    <a:pt x="74" y="78"/>
                  </a:lnTo>
                  <a:lnTo>
                    <a:pt x="47" y="87"/>
                  </a:lnTo>
                  <a:lnTo>
                    <a:pt x="42" y="81"/>
                  </a:lnTo>
                  <a:lnTo>
                    <a:pt x="38" y="80"/>
                  </a:lnTo>
                  <a:lnTo>
                    <a:pt x="34" y="87"/>
                  </a:lnTo>
                  <a:lnTo>
                    <a:pt x="17" y="89"/>
                  </a:lnTo>
                  <a:lnTo>
                    <a:pt x="6" y="113"/>
                  </a:lnTo>
                  <a:lnTo>
                    <a:pt x="2" y="117"/>
                  </a:lnTo>
                  <a:lnTo>
                    <a:pt x="0" y="136"/>
                  </a:lnTo>
                  <a:lnTo>
                    <a:pt x="3" y="146"/>
                  </a:lnTo>
                  <a:lnTo>
                    <a:pt x="1" y="152"/>
                  </a:lnTo>
                  <a:lnTo>
                    <a:pt x="10" y="165"/>
                  </a:lnTo>
                  <a:lnTo>
                    <a:pt x="12" y="174"/>
                  </a:lnTo>
                  <a:lnTo>
                    <a:pt x="20" y="186"/>
                  </a:lnTo>
                  <a:lnTo>
                    <a:pt x="30" y="193"/>
                  </a:lnTo>
                  <a:lnTo>
                    <a:pt x="31" y="205"/>
                  </a:lnTo>
                  <a:lnTo>
                    <a:pt x="34" y="211"/>
                  </a:lnTo>
                  <a:lnTo>
                    <a:pt x="44" y="189"/>
                  </a:lnTo>
                  <a:lnTo>
                    <a:pt x="57" y="177"/>
                  </a:lnTo>
                  <a:lnTo>
                    <a:pt x="71" y="180"/>
                  </a:lnTo>
                  <a:lnTo>
                    <a:pt x="84" y="182"/>
                  </a:lnTo>
                  <a:lnTo>
                    <a:pt x="86" y="165"/>
                  </a:lnTo>
                  <a:lnTo>
                    <a:pt x="94" y="153"/>
                  </a:lnTo>
                  <a:lnTo>
                    <a:pt x="105" y="146"/>
                  </a:lnTo>
                  <a:lnTo>
                    <a:pt x="122" y="153"/>
                  </a:lnTo>
                  <a:lnTo>
                    <a:pt x="136" y="163"/>
                  </a:lnTo>
                  <a:lnTo>
                    <a:pt x="151" y="164"/>
                  </a:lnTo>
                  <a:lnTo>
                    <a:pt x="167" y="169"/>
                  </a:lnTo>
                  <a:lnTo>
                    <a:pt x="173" y="155"/>
                  </a:lnTo>
                  <a:lnTo>
                    <a:pt x="176" y="153"/>
                  </a:lnTo>
                  <a:lnTo>
                    <a:pt x="186" y="155"/>
                  </a:lnTo>
                  <a:lnTo>
                    <a:pt x="209" y="144"/>
                  </a:lnTo>
                  <a:lnTo>
                    <a:pt x="217" y="149"/>
                  </a:lnTo>
                  <a:lnTo>
                    <a:pt x="224" y="148"/>
                  </a:lnTo>
                  <a:lnTo>
                    <a:pt x="227" y="142"/>
                  </a:lnTo>
                  <a:lnTo>
                    <a:pt x="234" y="140"/>
                  </a:lnTo>
                  <a:lnTo>
                    <a:pt x="251" y="143"/>
                  </a:lnTo>
                  <a:lnTo>
                    <a:pt x="264" y="143"/>
                  </a:lnTo>
                  <a:lnTo>
                    <a:pt x="271" y="141"/>
                  </a:lnTo>
                  <a:lnTo>
                    <a:pt x="268" y="133"/>
                  </a:lnTo>
                  <a:lnTo>
                    <a:pt x="252" y="123"/>
                  </a:lnTo>
                  <a:lnTo>
                    <a:pt x="246" y="109"/>
                  </a:lnTo>
                  <a:lnTo>
                    <a:pt x="237" y="99"/>
                  </a:lnTo>
                  <a:lnTo>
                    <a:pt x="223" y="87"/>
                  </a:lnTo>
                  <a:lnTo>
                    <a:pt x="223" y="79"/>
                  </a:lnTo>
                  <a:lnTo>
                    <a:pt x="211" y="69"/>
                  </a:lnTo>
                  <a:lnTo>
                    <a:pt x="197" y="60"/>
                  </a:lnTo>
                  <a:lnTo>
                    <a:pt x="197" y="6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9" name="Canada">
              <a:extLst>
                <a:ext uri="{FF2B5EF4-FFF2-40B4-BE49-F238E27FC236}">
                  <a16:creationId xmlns:a16="http://schemas.microsoft.com/office/drawing/2014/main" id="{25B71258-4F55-4708-8614-51605FFD99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43931" y="1128487"/>
              <a:ext cx="2525712" cy="1347787"/>
            </a:xfrm>
            <a:custGeom>
              <a:avLst/>
              <a:gdLst>
                <a:gd name="T0" fmla="*/ 1194 w 1591"/>
                <a:gd name="T1" fmla="*/ 665 h 849"/>
                <a:gd name="T2" fmla="*/ 32 w 1591"/>
                <a:gd name="T3" fmla="*/ 652 h 849"/>
                <a:gd name="T4" fmla="*/ 1323 w 1591"/>
                <a:gd name="T5" fmla="*/ 649 h 849"/>
                <a:gd name="T6" fmla="*/ 1366 w 1591"/>
                <a:gd name="T7" fmla="*/ 743 h 849"/>
                <a:gd name="T8" fmla="*/ 1346 w 1591"/>
                <a:gd name="T9" fmla="*/ 649 h 849"/>
                <a:gd name="T10" fmla="*/ 1061 w 1591"/>
                <a:gd name="T11" fmla="*/ 389 h 849"/>
                <a:gd name="T12" fmla="*/ 1026 w 1591"/>
                <a:gd name="T13" fmla="*/ 381 h 849"/>
                <a:gd name="T14" fmla="*/ 1062 w 1591"/>
                <a:gd name="T15" fmla="*/ 353 h 849"/>
                <a:gd name="T16" fmla="*/ 1180 w 1591"/>
                <a:gd name="T17" fmla="*/ 269 h 849"/>
                <a:gd name="T18" fmla="*/ 890 w 1591"/>
                <a:gd name="T19" fmla="*/ 256 h 849"/>
                <a:gd name="T20" fmla="*/ 868 w 1591"/>
                <a:gd name="T21" fmla="*/ 286 h 849"/>
                <a:gd name="T22" fmla="*/ 697 w 1591"/>
                <a:gd name="T23" fmla="*/ 274 h 849"/>
                <a:gd name="T24" fmla="*/ 476 w 1591"/>
                <a:gd name="T25" fmla="*/ 243 h 849"/>
                <a:gd name="T26" fmla="*/ 251 w 1591"/>
                <a:gd name="T27" fmla="*/ 242 h 849"/>
                <a:gd name="T28" fmla="*/ 91 w 1591"/>
                <a:gd name="T29" fmla="*/ 491 h 849"/>
                <a:gd name="T30" fmla="*/ 108 w 1591"/>
                <a:gd name="T31" fmla="*/ 688 h 849"/>
                <a:gd name="T32" fmla="*/ 626 w 1591"/>
                <a:gd name="T33" fmla="*/ 691 h 849"/>
                <a:gd name="T34" fmla="*/ 775 w 1591"/>
                <a:gd name="T35" fmla="*/ 697 h 849"/>
                <a:gd name="T36" fmla="*/ 838 w 1591"/>
                <a:gd name="T37" fmla="*/ 755 h 849"/>
                <a:gd name="T38" fmla="*/ 773 w 1591"/>
                <a:gd name="T39" fmla="*/ 847 h 849"/>
                <a:gd name="T40" fmla="*/ 848 w 1591"/>
                <a:gd name="T41" fmla="*/ 819 h 849"/>
                <a:gd name="T42" fmla="*/ 1022 w 1591"/>
                <a:gd name="T43" fmla="*/ 775 h 849"/>
                <a:gd name="T44" fmla="*/ 1110 w 1591"/>
                <a:gd name="T45" fmla="*/ 812 h 849"/>
                <a:gd name="T46" fmla="*/ 1172 w 1591"/>
                <a:gd name="T47" fmla="*/ 682 h 849"/>
                <a:gd name="T48" fmla="*/ 1334 w 1591"/>
                <a:gd name="T49" fmla="*/ 632 h 849"/>
                <a:gd name="T50" fmla="*/ 1284 w 1591"/>
                <a:gd name="T51" fmla="*/ 433 h 849"/>
                <a:gd name="T52" fmla="*/ 1097 w 1591"/>
                <a:gd name="T53" fmla="*/ 385 h 849"/>
                <a:gd name="T54" fmla="*/ 920 w 1591"/>
                <a:gd name="T55" fmla="*/ 636 h 849"/>
                <a:gd name="T56" fmla="*/ 783 w 1591"/>
                <a:gd name="T57" fmla="*/ 467 h 849"/>
                <a:gd name="T58" fmla="*/ 1030 w 1591"/>
                <a:gd name="T59" fmla="*/ 308 h 849"/>
                <a:gd name="T60" fmla="*/ 1014 w 1591"/>
                <a:gd name="T61" fmla="*/ 259 h 849"/>
                <a:gd name="T62" fmla="*/ 617 w 1591"/>
                <a:gd name="T63" fmla="*/ 221 h 849"/>
                <a:gd name="T64" fmla="*/ 749 w 1591"/>
                <a:gd name="T65" fmla="*/ 248 h 849"/>
                <a:gd name="T66" fmla="*/ 780 w 1591"/>
                <a:gd name="T67" fmla="*/ 191 h 849"/>
                <a:gd name="T68" fmla="*/ 854 w 1591"/>
                <a:gd name="T69" fmla="*/ 165 h 849"/>
                <a:gd name="T70" fmla="*/ 1130 w 1591"/>
                <a:gd name="T71" fmla="*/ 158 h 849"/>
                <a:gd name="T72" fmla="*/ 1194 w 1591"/>
                <a:gd name="T73" fmla="*/ 236 h 849"/>
                <a:gd name="T74" fmla="*/ 1163 w 1591"/>
                <a:gd name="T75" fmla="*/ 346 h 849"/>
                <a:gd name="T76" fmla="*/ 1315 w 1591"/>
                <a:gd name="T77" fmla="*/ 346 h 849"/>
                <a:gd name="T78" fmla="*/ 1343 w 1591"/>
                <a:gd name="T79" fmla="*/ 248 h 849"/>
                <a:gd name="T80" fmla="*/ 1110 w 1591"/>
                <a:gd name="T81" fmla="*/ 182 h 849"/>
                <a:gd name="T82" fmla="*/ 961 w 1591"/>
                <a:gd name="T83" fmla="*/ 165 h 849"/>
                <a:gd name="T84" fmla="*/ 976 w 1591"/>
                <a:gd name="T85" fmla="*/ 192 h 849"/>
                <a:gd name="T86" fmla="*/ 523 w 1591"/>
                <a:gd name="T87" fmla="*/ 187 h 849"/>
                <a:gd name="T88" fmla="*/ 1040 w 1591"/>
                <a:gd name="T89" fmla="*/ 136 h 849"/>
                <a:gd name="T90" fmla="*/ 861 w 1591"/>
                <a:gd name="T91" fmla="*/ 114 h 849"/>
                <a:gd name="T92" fmla="*/ 764 w 1591"/>
                <a:gd name="T93" fmla="*/ 146 h 849"/>
                <a:gd name="T94" fmla="*/ 1060 w 1591"/>
                <a:gd name="T95" fmla="*/ 128 h 849"/>
                <a:gd name="T96" fmla="*/ 1132 w 1591"/>
                <a:gd name="T97" fmla="*/ 126 h 849"/>
                <a:gd name="T98" fmla="*/ 656 w 1591"/>
                <a:gd name="T99" fmla="*/ 115 h 849"/>
                <a:gd name="T100" fmla="*/ 1088 w 1591"/>
                <a:gd name="T101" fmla="*/ 90 h 849"/>
                <a:gd name="T102" fmla="*/ 899 w 1591"/>
                <a:gd name="T103" fmla="*/ 72 h 849"/>
                <a:gd name="T104" fmla="*/ 971 w 1591"/>
                <a:gd name="T105" fmla="*/ 59 h 849"/>
                <a:gd name="T106" fmla="*/ 1153 w 1591"/>
                <a:gd name="T107" fmla="*/ 32 h 849"/>
                <a:gd name="T108" fmla="*/ 1222 w 1591"/>
                <a:gd name="T109" fmla="*/ 53 h 849"/>
                <a:gd name="T110" fmla="*/ 1229 w 1591"/>
                <a:gd name="T111" fmla="*/ 15 h 849"/>
                <a:gd name="T112" fmla="*/ 1203 w 1591"/>
                <a:gd name="T113" fmla="*/ 69 h 849"/>
                <a:gd name="T114" fmla="*/ 1296 w 1591"/>
                <a:gd name="T115" fmla="*/ 99 h 849"/>
                <a:gd name="T116" fmla="*/ 1492 w 1591"/>
                <a:gd name="T117" fmla="*/ 34 h 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91" h="849">
                  <a:moveTo>
                    <a:pt x="1177" y="745"/>
                  </a:moveTo>
                  <a:lnTo>
                    <a:pt x="1174" y="733"/>
                  </a:lnTo>
                  <a:lnTo>
                    <a:pt x="1165" y="740"/>
                  </a:lnTo>
                  <a:lnTo>
                    <a:pt x="1166" y="748"/>
                  </a:lnTo>
                  <a:lnTo>
                    <a:pt x="1188" y="758"/>
                  </a:lnTo>
                  <a:lnTo>
                    <a:pt x="1194" y="757"/>
                  </a:lnTo>
                  <a:lnTo>
                    <a:pt x="1207" y="747"/>
                  </a:lnTo>
                  <a:lnTo>
                    <a:pt x="1190" y="747"/>
                  </a:lnTo>
                  <a:lnTo>
                    <a:pt x="1177" y="745"/>
                  </a:lnTo>
                  <a:lnTo>
                    <a:pt x="1177" y="745"/>
                  </a:lnTo>
                  <a:close/>
                  <a:moveTo>
                    <a:pt x="1231" y="685"/>
                  </a:moveTo>
                  <a:lnTo>
                    <a:pt x="1231" y="681"/>
                  </a:lnTo>
                  <a:lnTo>
                    <a:pt x="1216" y="671"/>
                  </a:lnTo>
                  <a:lnTo>
                    <a:pt x="1194" y="665"/>
                  </a:lnTo>
                  <a:lnTo>
                    <a:pt x="1187" y="667"/>
                  </a:lnTo>
                  <a:lnTo>
                    <a:pt x="1200" y="678"/>
                  </a:lnTo>
                  <a:lnTo>
                    <a:pt x="1222" y="686"/>
                  </a:lnTo>
                  <a:lnTo>
                    <a:pt x="1231" y="685"/>
                  </a:lnTo>
                  <a:lnTo>
                    <a:pt x="1231" y="685"/>
                  </a:lnTo>
                  <a:close/>
                  <a:moveTo>
                    <a:pt x="90" y="699"/>
                  </a:moveTo>
                  <a:lnTo>
                    <a:pt x="91" y="686"/>
                  </a:lnTo>
                  <a:lnTo>
                    <a:pt x="79" y="677"/>
                  </a:lnTo>
                  <a:lnTo>
                    <a:pt x="78" y="665"/>
                  </a:lnTo>
                  <a:lnTo>
                    <a:pt x="77" y="658"/>
                  </a:lnTo>
                  <a:lnTo>
                    <a:pt x="62" y="655"/>
                  </a:lnTo>
                  <a:lnTo>
                    <a:pt x="53" y="652"/>
                  </a:lnTo>
                  <a:lnTo>
                    <a:pt x="38" y="647"/>
                  </a:lnTo>
                  <a:lnTo>
                    <a:pt x="32" y="652"/>
                  </a:lnTo>
                  <a:lnTo>
                    <a:pt x="30" y="664"/>
                  </a:lnTo>
                  <a:lnTo>
                    <a:pt x="46" y="669"/>
                  </a:lnTo>
                  <a:lnTo>
                    <a:pt x="45" y="676"/>
                  </a:lnTo>
                  <a:lnTo>
                    <a:pt x="55" y="684"/>
                  </a:lnTo>
                  <a:lnTo>
                    <a:pt x="55" y="691"/>
                  </a:lnTo>
                  <a:lnTo>
                    <a:pt x="79" y="703"/>
                  </a:lnTo>
                  <a:lnTo>
                    <a:pt x="90" y="699"/>
                  </a:lnTo>
                  <a:lnTo>
                    <a:pt x="90" y="699"/>
                  </a:lnTo>
                  <a:close/>
                  <a:moveTo>
                    <a:pt x="1346" y="649"/>
                  </a:moveTo>
                  <a:lnTo>
                    <a:pt x="1360" y="635"/>
                  </a:lnTo>
                  <a:lnTo>
                    <a:pt x="1365" y="628"/>
                  </a:lnTo>
                  <a:lnTo>
                    <a:pt x="1358" y="627"/>
                  </a:lnTo>
                  <a:lnTo>
                    <a:pt x="1339" y="635"/>
                  </a:lnTo>
                  <a:lnTo>
                    <a:pt x="1323" y="649"/>
                  </a:lnTo>
                  <a:lnTo>
                    <a:pt x="1293" y="685"/>
                  </a:lnTo>
                  <a:lnTo>
                    <a:pt x="1274" y="699"/>
                  </a:lnTo>
                  <a:lnTo>
                    <a:pt x="1279" y="705"/>
                  </a:lnTo>
                  <a:lnTo>
                    <a:pt x="1265" y="713"/>
                  </a:lnTo>
                  <a:lnTo>
                    <a:pt x="1266" y="720"/>
                  </a:lnTo>
                  <a:lnTo>
                    <a:pt x="1302" y="720"/>
                  </a:lnTo>
                  <a:lnTo>
                    <a:pt x="1322" y="719"/>
                  </a:lnTo>
                  <a:lnTo>
                    <a:pt x="1338" y="725"/>
                  </a:lnTo>
                  <a:lnTo>
                    <a:pt x="1322" y="736"/>
                  </a:lnTo>
                  <a:lnTo>
                    <a:pt x="1333" y="736"/>
                  </a:lnTo>
                  <a:lnTo>
                    <a:pt x="1360" y="717"/>
                  </a:lnTo>
                  <a:lnTo>
                    <a:pt x="1364" y="719"/>
                  </a:lnTo>
                  <a:lnTo>
                    <a:pt x="1355" y="738"/>
                  </a:lnTo>
                  <a:lnTo>
                    <a:pt x="1366" y="743"/>
                  </a:lnTo>
                  <a:lnTo>
                    <a:pt x="1375" y="742"/>
                  </a:lnTo>
                  <a:lnTo>
                    <a:pt x="1388" y="721"/>
                  </a:lnTo>
                  <a:lnTo>
                    <a:pt x="1386" y="707"/>
                  </a:lnTo>
                  <a:lnTo>
                    <a:pt x="1388" y="695"/>
                  </a:lnTo>
                  <a:lnTo>
                    <a:pt x="1374" y="699"/>
                  </a:lnTo>
                  <a:lnTo>
                    <a:pt x="1384" y="682"/>
                  </a:lnTo>
                  <a:lnTo>
                    <a:pt x="1368" y="675"/>
                  </a:lnTo>
                  <a:lnTo>
                    <a:pt x="1358" y="680"/>
                  </a:lnTo>
                  <a:lnTo>
                    <a:pt x="1343" y="674"/>
                  </a:lnTo>
                  <a:lnTo>
                    <a:pt x="1352" y="666"/>
                  </a:lnTo>
                  <a:lnTo>
                    <a:pt x="1341" y="662"/>
                  </a:lnTo>
                  <a:lnTo>
                    <a:pt x="1327" y="669"/>
                  </a:lnTo>
                  <a:lnTo>
                    <a:pt x="1346" y="649"/>
                  </a:lnTo>
                  <a:lnTo>
                    <a:pt x="1346" y="649"/>
                  </a:lnTo>
                  <a:close/>
                  <a:moveTo>
                    <a:pt x="13" y="569"/>
                  </a:moveTo>
                  <a:lnTo>
                    <a:pt x="6" y="577"/>
                  </a:lnTo>
                  <a:lnTo>
                    <a:pt x="0" y="587"/>
                  </a:lnTo>
                  <a:lnTo>
                    <a:pt x="4" y="593"/>
                  </a:lnTo>
                  <a:lnTo>
                    <a:pt x="2" y="604"/>
                  </a:lnTo>
                  <a:lnTo>
                    <a:pt x="4" y="615"/>
                  </a:lnTo>
                  <a:lnTo>
                    <a:pt x="12" y="615"/>
                  </a:lnTo>
                  <a:lnTo>
                    <a:pt x="11" y="596"/>
                  </a:lnTo>
                  <a:lnTo>
                    <a:pt x="38" y="570"/>
                  </a:lnTo>
                  <a:lnTo>
                    <a:pt x="19" y="572"/>
                  </a:lnTo>
                  <a:lnTo>
                    <a:pt x="13" y="569"/>
                  </a:lnTo>
                  <a:lnTo>
                    <a:pt x="13" y="569"/>
                  </a:lnTo>
                  <a:close/>
                  <a:moveTo>
                    <a:pt x="1062" y="394"/>
                  </a:moveTo>
                  <a:lnTo>
                    <a:pt x="1061" y="389"/>
                  </a:lnTo>
                  <a:lnTo>
                    <a:pt x="1054" y="389"/>
                  </a:lnTo>
                  <a:lnTo>
                    <a:pt x="1044" y="395"/>
                  </a:lnTo>
                  <a:lnTo>
                    <a:pt x="1042" y="396"/>
                  </a:lnTo>
                  <a:lnTo>
                    <a:pt x="1042" y="403"/>
                  </a:lnTo>
                  <a:lnTo>
                    <a:pt x="1049" y="405"/>
                  </a:lnTo>
                  <a:lnTo>
                    <a:pt x="1062" y="394"/>
                  </a:lnTo>
                  <a:lnTo>
                    <a:pt x="1062" y="394"/>
                  </a:lnTo>
                  <a:close/>
                  <a:moveTo>
                    <a:pt x="1026" y="381"/>
                  </a:moveTo>
                  <a:lnTo>
                    <a:pt x="1029" y="378"/>
                  </a:lnTo>
                  <a:lnTo>
                    <a:pt x="1007" y="378"/>
                  </a:lnTo>
                  <a:lnTo>
                    <a:pt x="988" y="387"/>
                  </a:lnTo>
                  <a:lnTo>
                    <a:pt x="988" y="393"/>
                  </a:lnTo>
                  <a:lnTo>
                    <a:pt x="999" y="394"/>
                  </a:lnTo>
                  <a:lnTo>
                    <a:pt x="1026" y="381"/>
                  </a:lnTo>
                  <a:lnTo>
                    <a:pt x="1026" y="381"/>
                  </a:lnTo>
                  <a:close/>
                  <a:moveTo>
                    <a:pt x="1014" y="320"/>
                  </a:moveTo>
                  <a:lnTo>
                    <a:pt x="1005" y="318"/>
                  </a:lnTo>
                  <a:lnTo>
                    <a:pt x="986" y="338"/>
                  </a:lnTo>
                  <a:lnTo>
                    <a:pt x="972" y="353"/>
                  </a:lnTo>
                  <a:lnTo>
                    <a:pt x="951" y="365"/>
                  </a:lnTo>
                  <a:lnTo>
                    <a:pt x="975" y="362"/>
                  </a:lnTo>
                  <a:lnTo>
                    <a:pt x="971" y="375"/>
                  </a:lnTo>
                  <a:lnTo>
                    <a:pt x="1002" y="364"/>
                  </a:lnTo>
                  <a:lnTo>
                    <a:pt x="1026" y="353"/>
                  </a:lnTo>
                  <a:lnTo>
                    <a:pt x="1028" y="362"/>
                  </a:lnTo>
                  <a:lnTo>
                    <a:pt x="1051" y="367"/>
                  </a:lnTo>
                  <a:lnTo>
                    <a:pt x="1068" y="360"/>
                  </a:lnTo>
                  <a:lnTo>
                    <a:pt x="1062" y="353"/>
                  </a:lnTo>
                  <a:lnTo>
                    <a:pt x="1049" y="355"/>
                  </a:lnTo>
                  <a:lnTo>
                    <a:pt x="1054" y="345"/>
                  </a:lnTo>
                  <a:lnTo>
                    <a:pt x="1040" y="339"/>
                  </a:lnTo>
                  <a:lnTo>
                    <a:pt x="1027" y="331"/>
                  </a:lnTo>
                  <a:lnTo>
                    <a:pt x="1022" y="325"/>
                  </a:lnTo>
                  <a:lnTo>
                    <a:pt x="1011" y="329"/>
                  </a:lnTo>
                  <a:lnTo>
                    <a:pt x="1014" y="320"/>
                  </a:lnTo>
                  <a:lnTo>
                    <a:pt x="1014" y="320"/>
                  </a:lnTo>
                  <a:close/>
                  <a:moveTo>
                    <a:pt x="1181" y="289"/>
                  </a:moveTo>
                  <a:lnTo>
                    <a:pt x="1195" y="283"/>
                  </a:lnTo>
                  <a:lnTo>
                    <a:pt x="1199" y="281"/>
                  </a:lnTo>
                  <a:lnTo>
                    <a:pt x="1204" y="271"/>
                  </a:lnTo>
                  <a:lnTo>
                    <a:pt x="1195" y="266"/>
                  </a:lnTo>
                  <a:lnTo>
                    <a:pt x="1180" y="269"/>
                  </a:lnTo>
                  <a:lnTo>
                    <a:pt x="1166" y="281"/>
                  </a:lnTo>
                  <a:lnTo>
                    <a:pt x="1163" y="290"/>
                  </a:lnTo>
                  <a:lnTo>
                    <a:pt x="1181" y="289"/>
                  </a:lnTo>
                  <a:lnTo>
                    <a:pt x="1181" y="289"/>
                  </a:lnTo>
                  <a:close/>
                  <a:moveTo>
                    <a:pt x="906" y="249"/>
                  </a:moveTo>
                  <a:lnTo>
                    <a:pt x="902" y="241"/>
                  </a:lnTo>
                  <a:lnTo>
                    <a:pt x="901" y="238"/>
                  </a:lnTo>
                  <a:lnTo>
                    <a:pt x="896" y="234"/>
                  </a:lnTo>
                  <a:lnTo>
                    <a:pt x="885" y="228"/>
                  </a:lnTo>
                  <a:lnTo>
                    <a:pt x="866" y="238"/>
                  </a:lnTo>
                  <a:lnTo>
                    <a:pt x="847" y="243"/>
                  </a:lnTo>
                  <a:lnTo>
                    <a:pt x="860" y="253"/>
                  </a:lnTo>
                  <a:lnTo>
                    <a:pt x="874" y="251"/>
                  </a:lnTo>
                  <a:lnTo>
                    <a:pt x="890" y="256"/>
                  </a:lnTo>
                  <a:lnTo>
                    <a:pt x="906" y="249"/>
                  </a:lnTo>
                  <a:close/>
                  <a:moveTo>
                    <a:pt x="989" y="241"/>
                  </a:moveTo>
                  <a:lnTo>
                    <a:pt x="965" y="238"/>
                  </a:lnTo>
                  <a:lnTo>
                    <a:pt x="986" y="228"/>
                  </a:lnTo>
                  <a:lnTo>
                    <a:pt x="984" y="206"/>
                  </a:lnTo>
                  <a:lnTo>
                    <a:pt x="977" y="197"/>
                  </a:lnTo>
                  <a:lnTo>
                    <a:pt x="960" y="194"/>
                  </a:lnTo>
                  <a:lnTo>
                    <a:pt x="930" y="208"/>
                  </a:lnTo>
                  <a:lnTo>
                    <a:pt x="910" y="230"/>
                  </a:lnTo>
                  <a:lnTo>
                    <a:pt x="921" y="238"/>
                  </a:lnTo>
                  <a:lnTo>
                    <a:pt x="927" y="250"/>
                  </a:lnTo>
                  <a:lnTo>
                    <a:pt x="903" y="270"/>
                  </a:lnTo>
                  <a:lnTo>
                    <a:pt x="891" y="269"/>
                  </a:lnTo>
                  <a:lnTo>
                    <a:pt x="868" y="286"/>
                  </a:lnTo>
                  <a:lnTo>
                    <a:pt x="884" y="267"/>
                  </a:lnTo>
                  <a:lnTo>
                    <a:pt x="866" y="260"/>
                  </a:lnTo>
                  <a:lnTo>
                    <a:pt x="849" y="264"/>
                  </a:lnTo>
                  <a:lnTo>
                    <a:pt x="840" y="276"/>
                  </a:lnTo>
                  <a:lnTo>
                    <a:pt x="818" y="276"/>
                  </a:lnTo>
                  <a:lnTo>
                    <a:pt x="791" y="279"/>
                  </a:lnTo>
                  <a:lnTo>
                    <a:pt x="772" y="269"/>
                  </a:lnTo>
                  <a:lnTo>
                    <a:pt x="753" y="271"/>
                  </a:lnTo>
                  <a:lnTo>
                    <a:pt x="747" y="260"/>
                  </a:lnTo>
                  <a:lnTo>
                    <a:pt x="740" y="255"/>
                  </a:lnTo>
                  <a:lnTo>
                    <a:pt x="726" y="257"/>
                  </a:lnTo>
                  <a:lnTo>
                    <a:pt x="706" y="258"/>
                  </a:lnTo>
                  <a:lnTo>
                    <a:pt x="689" y="266"/>
                  </a:lnTo>
                  <a:lnTo>
                    <a:pt x="697" y="274"/>
                  </a:lnTo>
                  <a:lnTo>
                    <a:pt x="671" y="284"/>
                  </a:lnTo>
                  <a:lnTo>
                    <a:pt x="666" y="272"/>
                  </a:lnTo>
                  <a:lnTo>
                    <a:pt x="649" y="276"/>
                  </a:lnTo>
                  <a:lnTo>
                    <a:pt x="605" y="278"/>
                  </a:lnTo>
                  <a:lnTo>
                    <a:pt x="581" y="273"/>
                  </a:lnTo>
                  <a:lnTo>
                    <a:pt x="613" y="264"/>
                  </a:lnTo>
                  <a:lnTo>
                    <a:pt x="603" y="254"/>
                  </a:lnTo>
                  <a:lnTo>
                    <a:pt x="587" y="255"/>
                  </a:lnTo>
                  <a:lnTo>
                    <a:pt x="569" y="251"/>
                  </a:lnTo>
                  <a:lnTo>
                    <a:pt x="541" y="244"/>
                  </a:lnTo>
                  <a:lnTo>
                    <a:pt x="527" y="236"/>
                  </a:lnTo>
                  <a:lnTo>
                    <a:pt x="510" y="234"/>
                  </a:lnTo>
                  <a:lnTo>
                    <a:pt x="497" y="241"/>
                  </a:lnTo>
                  <a:lnTo>
                    <a:pt x="476" y="243"/>
                  </a:lnTo>
                  <a:lnTo>
                    <a:pt x="490" y="228"/>
                  </a:lnTo>
                  <a:lnTo>
                    <a:pt x="455" y="241"/>
                  </a:lnTo>
                  <a:lnTo>
                    <a:pt x="449" y="225"/>
                  </a:lnTo>
                  <a:lnTo>
                    <a:pt x="442" y="222"/>
                  </a:lnTo>
                  <a:lnTo>
                    <a:pt x="428" y="231"/>
                  </a:lnTo>
                  <a:lnTo>
                    <a:pt x="411" y="236"/>
                  </a:lnTo>
                  <a:lnTo>
                    <a:pt x="410" y="227"/>
                  </a:lnTo>
                  <a:lnTo>
                    <a:pt x="379" y="233"/>
                  </a:lnTo>
                  <a:lnTo>
                    <a:pt x="347" y="241"/>
                  </a:lnTo>
                  <a:lnTo>
                    <a:pt x="327" y="240"/>
                  </a:lnTo>
                  <a:lnTo>
                    <a:pt x="301" y="245"/>
                  </a:lnTo>
                  <a:lnTo>
                    <a:pt x="278" y="254"/>
                  </a:lnTo>
                  <a:lnTo>
                    <a:pt x="264" y="252"/>
                  </a:lnTo>
                  <a:lnTo>
                    <a:pt x="251" y="242"/>
                  </a:lnTo>
                  <a:lnTo>
                    <a:pt x="230" y="238"/>
                  </a:lnTo>
                  <a:lnTo>
                    <a:pt x="230" y="238"/>
                  </a:lnTo>
                  <a:lnTo>
                    <a:pt x="139" y="312"/>
                  </a:lnTo>
                  <a:lnTo>
                    <a:pt x="7" y="434"/>
                  </a:lnTo>
                  <a:lnTo>
                    <a:pt x="23" y="434"/>
                  </a:lnTo>
                  <a:lnTo>
                    <a:pt x="32" y="440"/>
                  </a:lnTo>
                  <a:lnTo>
                    <a:pt x="35" y="450"/>
                  </a:lnTo>
                  <a:lnTo>
                    <a:pt x="36" y="465"/>
                  </a:lnTo>
                  <a:lnTo>
                    <a:pt x="64" y="452"/>
                  </a:lnTo>
                  <a:lnTo>
                    <a:pt x="88" y="445"/>
                  </a:lnTo>
                  <a:lnTo>
                    <a:pt x="86" y="456"/>
                  </a:lnTo>
                  <a:lnTo>
                    <a:pt x="88" y="466"/>
                  </a:lnTo>
                  <a:lnTo>
                    <a:pt x="95" y="475"/>
                  </a:lnTo>
                  <a:lnTo>
                    <a:pt x="91" y="491"/>
                  </a:lnTo>
                  <a:lnTo>
                    <a:pt x="85" y="516"/>
                  </a:lnTo>
                  <a:lnTo>
                    <a:pt x="102" y="531"/>
                  </a:lnTo>
                  <a:lnTo>
                    <a:pt x="91" y="544"/>
                  </a:lnTo>
                  <a:lnTo>
                    <a:pt x="71" y="555"/>
                  </a:lnTo>
                  <a:lnTo>
                    <a:pt x="71" y="555"/>
                  </a:lnTo>
                  <a:lnTo>
                    <a:pt x="62" y="566"/>
                  </a:lnTo>
                  <a:lnTo>
                    <a:pt x="70" y="583"/>
                  </a:lnTo>
                  <a:lnTo>
                    <a:pt x="58" y="602"/>
                  </a:lnTo>
                  <a:lnTo>
                    <a:pt x="74" y="611"/>
                  </a:lnTo>
                  <a:lnTo>
                    <a:pt x="60" y="625"/>
                  </a:lnTo>
                  <a:lnTo>
                    <a:pt x="55" y="646"/>
                  </a:lnTo>
                  <a:lnTo>
                    <a:pt x="82" y="655"/>
                  </a:lnTo>
                  <a:lnTo>
                    <a:pt x="87" y="665"/>
                  </a:lnTo>
                  <a:lnTo>
                    <a:pt x="108" y="688"/>
                  </a:lnTo>
                  <a:lnTo>
                    <a:pt x="111" y="688"/>
                  </a:lnTo>
                  <a:lnTo>
                    <a:pt x="162" y="688"/>
                  </a:lnTo>
                  <a:lnTo>
                    <a:pt x="217" y="688"/>
                  </a:lnTo>
                  <a:lnTo>
                    <a:pt x="235" y="688"/>
                  </a:lnTo>
                  <a:lnTo>
                    <a:pt x="291" y="688"/>
                  </a:lnTo>
                  <a:lnTo>
                    <a:pt x="345" y="688"/>
                  </a:lnTo>
                  <a:lnTo>
                    <a:pt x="400" y="688"/>
                  </a:lnTo>
                  <a:lnTo>
                    <a:pt x="455" y="688"/>
                  </a:lnTo>
                  <a:lnTo>
                    <a:pt x="518" y="688"/>
                  </a:lnTo>
                  <a:lnTo>
                    <a:pt x="580" y="688"/>
                  </a:lnTo>
                  <a:lnTo>
                    <a:pt x="617" y="688"/>
                  </a:lnTo>
                  <a:lnTo>
                    <a:pt x="622" y="678"/>
                  </a:lnTo>
                  <a:lnTo>
                    <a:pt x="629" y="678"/>
                  </a:lnTo>
                  <a:lnTo>
                    <a:pt x="626" y="691"/>
                  </a:lnTo>
                  <a:lnTo>
                    <a:pt x="630" y="695"/>
                  </a:lnTo>
                  <a:lnTo>
                    <a:pt x="641" y="697"/>
                  </a:lnTo>
                  <a:lnTo>
                    <a:pt x="659" y="701"/>
                  </a:lnTo>
                  <a:lnTo>
                    <a:pt x="673" y="707"/>
                  </a:lnTo>
                  <a:lnTo>
                    <a:pt x="689" y="705"/>
                  </a:lnTo>
                  <a:lnTo>
                    <a:pt x="709" y="710"/>
                  </a:lnTo>
                  <a:lnTo>
                    <a:pt x="709" y="710"/>
                  </a:lnTo>
                  <a:lnTo>
                    <a:pt x="721" y="702"/>
                  </a:lnTo>
                  <a:lnTo>
                    <a:pt x="732" y="698"/>
                  </a:lnTo>
                  <a:lnTo>
                    <a:pt x="740" y="692"/>
                  </a:lnTo>
                  <a:lnTo>
                    <a:pt x="745" y="690"/>
                  </a:lnTo>
                  <a:lnTo>
                    <a:pt x="760" y="693"/>
                  </a:lnTo>
                  <a:lnTo>
                    <a:pt x="772" y="694"/>
                  </a:lnTo>
                  <a:lnTo>
                    <a:pt x="775" y="697"/>
                  </a:lnTo>
                  <a:lnTo>
                    <a:pt x="775" y="710"/>
                  </a:lnTo>
                  <a:lnTo>
                    <a:pt x="795" y="714"/>
                  </a:lnTo>
                  <a:lnTo>
                    <a:pt x="788" y="720"/>
                  </a:lnTo>
                  <a:lnTo>
                    <a:pt x="793" y="728"/>
                  </a:lnTo>
                  <a:lnTo>
                    <a:pt x="786" y="736"/>
                  </a:lnTo>
                  <a:lnTo>
                    <a:pt x="793" y="739"/>
                  </a:lnTo>
                  <a:lnTo>
                    <a:pt x="786" y="747"/>
                  </a:lnTo>
                  <a:lnTo>
                    <a:pt x="786" y="747"/>
                  </a:lnTo>
                  <a:lnTo>
                    <a:pt x="790" y="747"/>
                  </a:lnTo>
                  <a:lnTo>
                    <a:pt x="795" y="745"/>
                  </a:lnTo>
                  <a:lnTo>
                    <a:pt x="797" y="749"/>
                  </a:lnTo>
                  <a:lnTo>
                    <a:pt x="810" y="752"/>
                  </a:lnTo>
                  <a:lnTo>
                    <a:pt x="824" y="753"/>
                  </a:lnTo>
                  <a:lnTo>
                    <a:pt x="838" y="755"/>
                  </a:lnTo>
                  <a:lnTo>
                    <a:pt x="853" y="760"/>
                  </a:lnTo>
                  <a:lnTo>
                    <a:pt x="856" y="767"/>
                  </a:lnTo>
                  <a:lnTo>
                    <a:pt x="861" y="785"/>
                  </a:lnTo>
                  <a:lnTo>
                    <a:pt x="852" y="792"/>
                  </a:lnTo>
                  <a:lnTo>
                    <a:pt x="838" y="789"/>
                  </a:lnTo>
                  <a:lnTo>
                    <a:pt x="834" y="775"/>
                  </a:lnTo>
                  <a:lnTo>
                    <a:pt x="831" y="790"/>
                  </a:lnTo>
                  <a:lnTo>
                    <a:pt x="816" y="802"/>
                  </a:lnTo>
                  <a:lnTo>
                    <a:pt x="814" y="813"/>
                  </a:lnTo>
                  <a:lnTo>
                    <a:pt x="810" y="819"/>
                  </a:lnTo>
                  <a:lnTo>
                    <a:pt x="794" y="827"/>
                  </a:lnTo>
                  <a:lnTo>
                    <a:pt x="794" y="827"/>
                  </a:lnTo>
                  <a:lnTo>
                    <a:pt x="781" y="839"/>
                  </a:lnTo>
                  <a:lnTo>
                    <a:pt x="773" y="847"/>
                  </a:lnTo>
                  <a:lnTo>
                    <a:pt x="783" y="849"/>
                  </a:lnTo>
                  <a:lnTo>
                    <a:pt x="800" y="842"/>
                  </a:lnTo>
                  <a:lnTo>
                    <a:pt x="811" y="835"/>
                  </a:lnTo>
                  <a:lnTo>
                    <a:pt x="816" y="834"/>
                  </a:lnTo>
                  <a:lnTo>
                    <a:pt x="827" y="836"/>
                  </a:lnTo>
                  <a:lnTo>
                    <a:pt x="833" y="833"/>
                  </a:lnTo>
                  <a:lnTo>
                    <a:pt x="843" y="830"/>
                  </a:lnTo>
                  <a:lnTo>
                    <a:pt x="861" y="827"/>
                  </a:lnTo>
                  <a:lnTo>
                    <a:pt x="861" y="827"/>
                  </a:lnTo>
                  <a:lnTo>
                    <a:pt x="861" y="827"/>
                  </a:lnTo>
                  <a:lnTo>
                    <a:pt x="862" y="820"/>
                  </a:lnTo>
                  <a:lnTo>
                    <a:pt x="861" y="820"/>
                  </a:lnTo>
                  <a:lnTo>
                    <a:pt x="855" y="822"/>
                  </a:lnTo>
                  <a:lnTo>
                    <a:pt x="848" y="819"/>
                  </a:lnTo>
                  <a:lnTo>
                    <a:pt x="857" y="812"/>
                  </a:lnTo>
                  <a:lnTo>
                    <a:pt x="863" y="809"/>
                  </a:lnTo>
                  <a:lnTo>
                    <a:pt x="878" y="805"/>
                  </a:lnTo>
                  <a:lnTo>
                    <a:pt x="895" y="803"/>
                  </a:lnTo>
                  <a:lnTo>
                    <a:pt x="902" y="807"/>
                  </a:lnTo>
                  <a:lnTo>
                    <a:pt x="909" y="802"/>
                  </a:lnTo>
                  <a:lnTo>
                    <a:pt x="916" y="799"/>
                  </a:lnTo>
                  <a:lnTo>
                    <a:pt x="919" y="800"/>
                  </a:lnTo>
                  <a:lnTo>
                    <a:pt x="920" y="801"/>
                  </a:lnTo>
                  <a:lnTo>
                    <a:pt x="945" y="785"/>
                  </a:lnTo>
                  <a:lnTo>
                    <a:pt x="955" y="780"/>
                  </a:lnTo>
                  <a:lnTo>
                    <a:pt x="983" y="780"/>
                  </a:lnTo>
                  <a:lnTo>
                    <a:pt x="1018" y="780"/>
                  </a:lnTo>
                  <a:lnTo>
                    <a:pt x="1022" y="775"/>
                  </a:lnTo>
                  <a:lnTo>
                    <a:pt x="1028" y="774"/>
                  </a:lnTo>
                  <a:lnTo>
                    <a:pt x="1038" y="770"/>
                  </a:lnTo>
                  <a:lnTo>
                    <a:pt x="1048" y="760"/>
                  </a:lnTo>
                  <a:lnTo>
                    <a:pt x="1060" y="741"/>
                  </a:lnTo>
                  <a:lnTo>
                    <a:pt x="1081" y="723"/>
                  </a:lnTo>
                  <a:lnTo>
                    <a:pt x="1084" y="730"/>
                  </a:lnTo>
                  <a:lnTo>
                    <a:pt x="1098" y="726"/>
                  </a:lnTo>
                  <a:lnTo>
                    <a:pt x="1104" y="733"/>
                  </a:lnTo>
                  <a:lnTo>
                    <a:pt x="1094" y="764"/>
                  </a:lnTo>
                  <a:lnTo>
                    <a:pt x="1101" y="777"/>
                  </a:lnTo>
                  <a:lnTo>
                    <a:pt x="1124" y="775"/>
                  </a:lnTo>
                  <a:lnTo>
                    <a:pt x="1153" y="774"/>
                  </a:lnTo>
                  <a:lnTo>
                    <a:pt x="1115" y="792"/>
                  </a:lnTo>
                  <a:lnTo>
                    <a:pt x="1110" y="812"/>
                  </a:lnTo>
                  <a:lnTo>
                    <a:pt x="1123" y="814"/>
                  </a:lnTo>
                  <a:lnTo>
                    <a:pt x="1150" y="797"/>
                  </a:lnTo>
                  <a:lnTo>
                    <a:pt x="1171" y="789"/>
                  </a:lnTo>
                  <a:lnTo>
                    <a:pt x="1217" y="775"/>
                  </a:lnTo>
                  <a:lnTo>
                    <a:pt x="1245" y="759"/>
                  </a:lnTo>
                  <a:lnTo>
                    <a:pt x="1235" y="751"/>
                  </a:lnTo>
                  <a:lnTo>
                    <a:pt x="1238" y="734"/>
                  </a:lnTo>
                  <a:lnTo>
                    <a:pt x="1212" y="761"/>
                  </a:lnTo>
                  <a:lnTo>
                    <a:pt x="1180" y="763"/>
                  </a:lnTo>
                  <a:lnTo>
                    <a:pt x="1160" y="751"/>
                  </a:lnTo>
                  <a:lnTo>
                    <a:pt x="1159" y="734"/>
                  </a:lnTo>
                  <a:lnTo>
                    <a:pt x="1162" y="709"/>
                  </a:lnTo>
                  <a:lnTo>
                    <a:pt x="1184" y="693"/>
                  </a:lnTo>
                  <a:lnTo>
                    <a:pt x="1172" y="682"/>
                  </a:lnTo>
                  <a:lnTo>
                    <a:pt x="1143" y="684"/>
                  </a:lnTo>
                  <a:lnTo>
                    <a:pt x="1098" y="704"/>
                  </a:lnTo>
                  <a:lnTo>
                    <a:pt x="1057" y="734"/>
                  </a:lnTo>
                  <a:lnTo>
                    <a:pt x="1040" y="738"/>
                  </a:lnTo>
                  <a:lnTo>
                    <a:pt x="1069" y="717"/>
                  </a:lnTo>
                  <a:lnTo>
                    <a:pt x="1108" y="686"/>
                  </a:lnTo>
                  <a:lnTo>
                    <a:pt x="1134" y="676"/>
                  </a:lnTo>
                  <a:lnTo>
                    <a:pt x="1155" y="660"/>
                  </a:lnTo>
                  <a:lnTo>
                    <a:pt x="1175" y="658"/>
                  </a:lnTo>
                  <a:lnTo>
                    <a:pt x="1202" y="658"/>
                  </a:lnTo>
                  <a:lnTo>
                    <a:pt x="1239" y="663"/>
                  </a:lnTo>
                  <a:lnTo>
                    <a:pt x="1272" y="659"/>
                  </a:lnTo>
                  <a:lnTo>
                    <a:pt x="1301" y="640"/>
                  </a:lnTo>
                  <a:lnTo>
                    <a:pt x="1334" y="632"/>
                  </a:lnTo>
                  <a:lnTo>
                    <a:pt x="1349" y="624"/>
                  </a:lnTo>
                  <a:lnTo>
                    <a:pt x="1364" y="615"/>
                  </a:lnTo>
                  <a:lnTo>
                    <a:pt x="1372" y="590"/>
                  </a:lnTo>
                  <a:lnTo>
                    <a:pt x="1368" y="581"/>
                  </a:lnTo>
                  <a:lnTo>
                    <a:pt x="1355" y="578"/>
                  </a:lnTo>
                  <a:lnTo>
                    <a:pt x="1355" y="559"/>
                  </a:lnTo>
                  <a:lnTo>
                    <a:pt x="1347" y="552"/>
                  </a:lnTo>
                  <a:lnTo>
                    <a:pt x="1321" y="546"/>
                  </a:lnTo>
                  <a:lnTo>
                    <a:pt x="1310" y="534"/>
                  </a:lnTo>
                  <a:lnTo>
                    <a:pt x="1293" y="521"/>
                  </a:lnTo>
                  <a:lnTo>
                    <a:pt x="1306" y="507"/>
                  </a:lnTo>
                  <a:lnTo>
                    <a:pt x="1298" y="480"/>
                  </a:lnTo>
                  <a:lnTo>
                    <a:pt x="1288" y="452"/>
                  </a:lnTo>
                  <a:lnTo>
                    <a:pt x="1284" y="433"/>
                  </a:lnTo>
                  <a:lnTo>
                    <a:pt x="1268" y="443"/>
                  </a:lnTo>
                  <a:lnTo>
                    <a:pt x="1240" y="467"/>
                  </a:lnTo>
                  <a:lnTo>
                    <a:pt x="1210" y="480"/>
                  </a:lnTo>
                  <a:lnTo>
                    <a:pt x="1205" y="466"/>
                  </a:lnTo>
                  <a:lnTo>
                    <a:pt x="1191" y="463"/>
                  </a:lnTo>
                  <a:lnTo>
                    <a:pt x="1199" y="436"/>
                  </a:lnTo>
                  <a:lnTo>
                    <a:pt x="1208" y="417"/>
                  </a:lnTo>
                  <a:lnTo>
                    <a:pt x="1180" y="415"/>
                  </a:lnTo>
                  <a:lnTo>
                    <a:pt x="1180" y="408"/>
                  </a:lnTo>
                  <a:lnTo>
                    <a:pt x="1166" y="395"/>
                  </a:lnTo>
                  <a:lnTo>
                    <a:pt x="1154" y="387"/>
                  </a:lnTo>
                  <a:lnTo>
                    <a:pt x="1138" y="393"/>
                  </a:lnTo>
                  <a:lnTo>
                    <a:pt x="1123" y="391"/>
                  </a:lnTo>
                  <a:lnTo>
                    <a:pt x="1097" y="385"/>
                  </a:lnTo>
                  <a:lnTo>
                    <a:pt x="1083" y="390"/>
                  </a:lnTo>
                  <a:lnTo>
                    <a:pt x="1068" y="424"/>
                  </a:lnTo>
                  <a:lnTo>
                    <a:pt x="1065" y="443"/>
                  </a:lnTo>
                  <a:lnTo>
                    <a:pt x="1032" y="466"/>
                  </a:lnTo>
                  <a:lnTo>
                    <a:pt x="1044" y="483"/>
                  </a:lnTo>
                  <a:lnTo>
                    <a:pt x="1046" y="502"/>
                  </a:lnTo>
                  <a:lnTo>
                    <a:pt x="1040" y="517"/>
                  </a:lnTo>
                  <a:lnTo>
                    <a:pt x="1022" y="532"/>
                  </a:lnTo>
                  <a:lnTo>
                    <a:pt x="994" y="548"/>
                  </a:lnTo>
                  <a:lnTo>
                    <a:pt x="960" y="558"/>
                  </a:lnTo>
                  <a:lnTo>
                    <a:pt x="967" y="570"/>
                  </a:lnTo>
                  <a:lnTo>
                    <a:pt x="958" y="606"/>
                  </a:lnTo>
                  <a:lnTo>
                    <a:pt x="938" y="630"/>
                  </a:lnTo>
                  <a:lnTo>
                    <a:pt x="920" y="636"/>
                  </a:lnTo>
                  <a:lnTo>
                    <a:pt x="904" y="615"/>
                  </a:lnTo>
                  <a:lnTo>
                    <a:pt x="903" y="590"/>
                  </a:lnTo>
                  <a:lnTo>
                    <a:pt x="910" y="567"/>
                  </a:lnTo>
                  <a:lnTo>
                    <a:pt x="923" y="548"/>
                  </a:lnTo>
                  <a:lnTo>
                    <a:pt x="905" y="546"/>
                  </a:lnTo>
                  <a:lnTo>
                    <a:pt x="877" y="544"/>
                  </a:lnTo>
                  <a:lnTo>
                    <a:pt x="864" y="535"/>
                  </a:lnTo>
                  <a:lnTo>
                    <a:pt x="846" y="529"/>
                  </a:lnTo>
                  <a:lnTo>
                    <a:pt x="840" y="518"/>
                  </a:lnTo>
                  <a:lnTo>
                    <a:pt x="828" y="509"/>
                  </a:lnTo>
                  <a:lnTo>
                    <a:pt x="801" y="500"/>
                  </a:lnTo>
                  <a:lnTo>
                    <a:pt x="774" y="505"/>
                  </a:lnTo>
                  <a:lnTo>
                    <a:pt x="777" y="488"/>
                  </a:lnTo>
                  <a:lnTo>
                    <a:pt x="783" y="467"/>
                  </a:lnTo>
                  <a:lnTo>
                    <a:pt x="760" y="464"/>
                  </a:lnTo>
                  <a:lnTo>
                    <a:pt x="779" y="438"/>
                  </a:lnTo>
                  <a:lnTo>
                    <a:pt x="797" y="421"/>
                  </a:lnTo>
                  <a:lnTo>
                    <a:pt x="832" y="396"/>
                  </a:lnTo>
                  <a:lnTo>
                    <a:pt x="864" y="380"/>
                  </a:lnTo>
                  <a:lnTo>
                    <a:pt x="885" y="377"/>
                  </a:lnTo>
                  <a:lnTo>
                    <a:pt x="896" y="363"/>
                  </a:lnTo>
                  <a:lnTo>
                    <a:pt x="915" y="353"/>
                  </a:lnTo>
                  <a:lnTo>
                    <a:pt x="939" y="353"/>
                  </a:lnTo>
                  <a:lnTo>
                    <a:pt x="968" y="339"/>
                  </a:lnTo>
                  <a:lnTo>
                    <a:pt x="979" y="329"/>
                  </a:lnTo>
                  <a:lnTo>
                    <a:pt x="1006" y="311"/>
                  </a:lnTo>
                  <a:lnTo>
                    <a:pt x="1018" y="301"/>
                  </a:lnTo>
                  <a:lnTo>
                    <a:pt x="1030" y="308"/>
                  </a:lnTo>
                  <a:lnTo>
                    <a:pt x="1054" y="304"/>
                  </a:lnTo>
                  <a:lnTo>
                    <a:pt x="1095" y="290"/>
                  </a:lnTo>
                  <a:lnTo>
                    <a:pt x="1103" y="280"/>
                  </a:lnTo>
                  <a:lnTo>
                    <a:pt x="1100" y="269"/>
                  </a:lnTo>
                  <a:lnTo>
                    <a:pt x="1119" y="258"/>
                  </a:lnTo>
                  <a:lnTo>
                    <a:pt x="1125" y="248"/>
                  </a:lnTo>
                  <a:lnTo>
                    <a:pt x="1112" y="239"/>
                  </a:lnTo>
                  <a:lnTo>
                    <a:pt x="1092" y="236"/>
                  </a:lnTo>
                  <a:lnTo>
                    <a:pt x="1071" y="234"/>
                  </a:lnTo>
                  <a:lnTo>
                    <a:pt x="1054" y="256"/>
                  </a:lnTo>
                  <a:lnTo>
                    <a:pt x="1030" y="273"/>
                  </a:lnTo>
                  <a:lnTo>
                    <a:pt x="1003" y="288"/>
                  </a:lnTo>
                  <a:lnTo>
                    <a:pt x="998" y="274"/>
                  </a:lnTo>
                  <a:lnTo>
                    <a:pt x="1014" y="259"/>
                  </a:lnTo>
                  <a:lnTo>
                    <a:pt x="1006" y="246"/>
                  </a:lnTo>
                  <a:lnTo>
                    <a:pt x="973" y="262"/>
                  </a:lnTo>
                  <a:lnTo>
                    <a:pt x="989" y="241"/>
                  </a:lnTo>
                  <a:lnTo>
                    <a:pt x="989" y="241"/>
                  </a:lnTo>
                  <a:close/>
                  <a:moveTo>
                    <a:pt x="707" y="170"/>
                  </a:moveTo>
                  <a:lnTo>
                    <a:pt x="697" y="167"/>
                  </a:lnTo>
                  <a:lnTo>
                    <a:pt x="645" y="179"/>
                  </a:lnTo>
                  <a:lnTo>
                    <a:pt x="625" y="186"/>
                  </a:lnTo>
                  <a:lnTo>
                    <a:pt x="596" y="201"/>
                  </a:lnTo>
                  <a:lnTo>
                    <a:pt x="617" y="206"/>
                  </a:lnTo>
                  <a:lnTo>
                    <a:pt x="639" y="206"/>
                  </a:lnTo>
                  <a:lnTo>
                    <a:pt x="596" y="213"/>
                  </a:lnTo>
                  <a:lnTo>
                    <a:pt x="596" y="221"/>
                  </a:lnTo>
                  <a:lnTo>
                    <a:pt x="617" y="221"/>
                  </a:lnTo>
                  <a:lnTo>
                    <a:pt x="651" y="220"/>
                  </a:lnTo>
                  <a:lnTo>
                    <a:pt x="675" y="225"/>
                  </a:lnTo>
                  <a:lnTo>
                    <a:pt x="652" y="228"/>
                  </a:lnTo>
                  <a:lnTo>
                    <a:pt x="631" y="226"/>
                  </a:lnTo>
                  <a:lnTo>
                    <a:pt x="605" y="230"/>
                  </a:lnTo>
                  <a:lnTo>
                    <a:pt x="592" y="232"/>
                  </a:lnTo>
                  <a:lnTo>
                    <a:pt x="595" y="248"/>
                  </a:lnTo>
                  <a:lnTo>
                    <a:pt x="611" y="246"/>
                  </a:lnTo>
                  <a:lnTo>
                    <a:pt x="626" y="252"/>
                  </a:lnTo>
                  <a:lnTo>
                    <a:pt x="625" y="261"/>
                  </a:lnTo>
                  <a:lnTo>
                    <a:pt x="654" y="259"/>
                  </a:lnTo>
                  <a:lnTo>
                    <a:pt x="696" y="256"/>
                  </a:lnTo>
                  <a:lnTo>
                    <a:pt x="730" y="249"/>
                  </a:lnTo>
                  <a:lnTo>
                    <a:pt x="749" y="248"/>
                  </a:lnTo>
                  <a:lnTo>
                    <a:pt x="771" y="254"/>
                  </a:lnTo>
                  <a:lnTo>
                    <a:pt x="796" y="256"/>
                  </a:lnTo>
                  <a:lnTo>
                    <a:pt x="807" y="249"/>
                  </a:lnTo>
                  <a:lnTo>
                    <a:pt x="805" y="241"/>
                  </a:lnTo>
                  <a:lnTo>
                    <a:pt x="831" y="240"/>
                  </a:lnTo>
                  <a:lnTo>
                    <a:pt x="841" y="231"/>
                  </a:lnTo>
                  <a:lnTo>
                    <a:pt x="822" y="222"/>
                  </a:lnTo>
                  <a:lnTo>
                    <a:pt x="806" y="212"/>
                  </a:lnTo>
                  <a:lnTo>
                    <a:pt x="815" y="198"/>
                  </a:lnTo>
                  <a:lnTo>
                    <a:pt x="826" y="180"/>
                  </a:lnTo>
                  <a:lnTo>
                    <a:pt x="817" y="172"/>
                  </a:lnTo>
                  <a:lnTo>
                    <a:pt x="806" y="169"/>
                  </a:lnTo>
                  <a:lnTo>
                    <a:pt x="790" y="171"/>
                  </a:lnTo>
                  <a:lnTo>
                    <a:pt x="780" y="191"/>
                  </a:lnTo>
                  <a:lnTo>
                    <a:pt x="764" y="199"/>
                  </a:lnTo>
                  <a:lnTo>
                    <a:pt x="772" y="180"/>
                  </a:lnTo>
                  <a:lnTo>
                    <a:pt x="766" y="174"/>
                  </a:lnTo>
                  <a:lnTo>
                    <a:pt x="738" y="184"/>
                  </a:lnTo>
                  <a:lnTo>
                    <a:pt x="729" y="174"/>
                  </a:lnTo>
                  <a:lnTo>
                    <a:pt x="689" y="180"/>
                  </a:lnTo>
                  <a:lnTo>
                    <a:pt x="707" y="170"/>
                  </a:lnTo>
                  <a:lnTo>
                    <a:pt x="707" y="170"/>
                  </a:lnTo>
                  <a:close/>
                  <a:moveTo>
                    <a:pt x="854" y="165"/>
                  </a:moveTo>
                  <a:lnTo>
                    <a:pt x="847" y="161"/>
                  </a:lnTo>
                  <a:lnTo>
                    <a:pt x="827" y="162"/>
                  </a:lnTo>
                  <a:lnTo>
                    <a:pt x="819" y="165"/>
                  </a:lnTo>
                  <a:lnTo>
                    <a:pt x="828" y="178"/>
                  </a:lnTo>
                  <a:lnTo>
                    <a:pt x="854" y="165"/>
                  </a:lnTo>
                  <a:close/>
                  <a:moveTo>
                    <a:pt x="1255" y="171"/>
                  </a:moveTo>
                  <a:lnTo>
                    <a:pt x="1239" y="161"/>
                  </a:lnTo>
                  <a:lnTo>
                    <a:pt x="1208" y="159"/>
                  </a:lnTo>
                  <a:lnTo>
                    <a:pt x="1200" y="160"/>
                  </a:lnTo>
                  <a:lnTo>
                    <a:pt x="1194" y="167"/>
                  </a:lnTo>
                  <a:lnTo>
                    <a:pt x="1201" y="177"/>
                  </a:lnTo>
                  <a:lnTo>
                    <a:pt x="1205" y="178"/>
                  </a:lnTo>
                  <a:lnTo>
                    <a:pt x="1223" y="176"/>
                  </a:lnTo>
                  <a:lnTo>
                    <a:pt x="1237" y="176"/>
                  </a:lnTo>
                  <a:lnTo>
                    <a:pt x="1253" y="176"/>
                  </a:lnTo>
                  <a:lnTo>
                    <a:pt x="1255" y="171"/>
                  </a:lnTo>
                  <a:lnTo>
                    <a:pt x="1255" y="171"/>
                  </a:lnTo>
                  <a:close/>
                  <a:moveTo>
                    <a:pt x="1109" y="170"/>
                  </a:moveTo>
                  <a:lnTo>
                    <a:pt x="1130" y="158"/>
                  </a:lnTo>
                  <a:lnTo>
                    <a:pt x="1088" y="163"/>
                  </a:lnTo>
                  <a:lnTo>
                    <a:pt x="1067" y="170"/>
                  </a:lnTo>
                  <a:lnTo>
                    <a:pt x="1040" y="188"/>
                  </a:lnTo>
                  <a:lnTo>
                    <a:pt x="1027" y="208"/>
                  </a:lnTo>
                  <a:lnTo>
                    <a:pt x="1048" y="208"/>
                  </a:lnTo>
                  <a:lnTo>
                    <a:pt x="1026" y="216"/>
                  </a:lnTo>
                  <a:lnTo>
                    <a:pt x="1032" y="224"/>
                  </a:lnTo>
                  <a:lnTo>
                    <a:pt x="1054" y="226"/>
                  </a:lnTo>
                  <a:lnTo>
                    <a:pt x="1082" y="232"/>
                  </a:lnTo>
                  <a:lnTo>
                    <a:pt x="1133" y="237"/>
                  </a:lnTo>
                  <a:lnTo>
                    <a:pt x="1163" y="234"/>
                  </a:lnTo>
                  <a:lnTo>
                    <a:pt x="1175" y="228"/>
                  </a:lnTo>
                  <a:lnTo>
                    <a:pt x="1182" y="235"/>
                  </a:lnTo>
                  <a:lnTo>
                    <a:pt x="1194" y="236"/>
                  </a:lnTo>
                  <a:lnTo>
                    <a:pt x="1202" y="249"/>
                  </a:lnTo>
                  <a:lnTo>
                    <a:pt x="1189" y="254"/>
                  </a:lnTo>
                  <a:lnTo>
                    <a:pt x="1215" y="260"/>
                  </a:lnTo>
                  <a:lnTo>
                    <a:pt x="1233" y="270"/>
                  </a:lnTo>
                  <a:lnTo>
                    <a:pt x="1235" y="277"/>
                  </a:lnTo>
                  <a:lnTo>
                    <a:pt x="1233" y="286"/>
                  </a:lnTo>
                  <a:lnTo>
                    <a:pt x="1201" y="307"/>
                  </a:lnTo>
                  <a:lnTo>
                    <a:pt x="1189" y="316"/>
                  </a:lnTo>
                  <a:lnTo>
                    <a:pt x="1190" y="324"/>
                  </a:lnTo>
                  <a:lnTo>
                    <a:pt x="1155" y="326"/>
                  </a:lnTo>
                  <a:lnTo>
                    <a:pt x="1125" y="327"/>
                  </a:lnTo>
                  <a:lnTo>
                    <a:pt x="1105" y="342"/>
                  </a:lnTo>
                  <a:lnTo>
                    <a:pt x="1114" y="350"/>
                  </a:lnTo>
                  <a:lnTo>
                    <a:pt x="1163" y="346"/>
                  </a:lnTo>
                  <a:lnTo>
                    <a:pt x="1166" y="340"/>
                  </a:lnTo>
                  <a:lnTo>
                    <a:pt x="1183" y="351"/>
                  </a:lnTo>
                  <a:lnTo>
                    <a:pt x="1201" y="361"/>
                  </a:lnTo>
                  <a:lnTo>
                    <a:pt x="1192" y="367"/>
                  </a:lnTo>
                  <a:lnTo>
                    <a:pt x="1207" y="378"/>
                  </a:lnTo>
                  <a:lnTo>
                    <a:pt x="1235" y="390"/>
                  </a:lnTo>
                  <a:lnTo>
                    <a:pt x="1275" y="398"/>
                  </a:lnTo>
                  <a:lnTo>
                    <a:pt x="1276" y="391"/>
                  </a:lnTo>
                  <a:lnTo>
                    <a:pt x="1265" y="378"/>
                  </a:lnTo>
                  <a:lnTo>
                    <a:pt x="1252" y="360"/>
                  </a:lnTo>
                  <a:lnTo>
                    <a:pt x="1284" y="377"/>
                  </a:lnTo>
                  <a:lnTo>
                    <a:pt x="1302" y="382"/>
                  </a:lnTo>
                  <a:lnTo>
                    <a:pt x="1315" y="367"/>
                  </a:lnTo>
                  <a:lnTo>
                    <a:pt x="1315" y="346"/>
                  </a:lnTo>
                  <a:lnTo>
                    <a:pt x="1311" y="340"/>
                  </a:lnTo>
                  <a:lnTo>
                    <a:pt x="1294" y="331"/>
                  </a:lnTo>
                  <a:lnTo>
                    <a:pt x="1285" y="319"/>
                  </a:lnTo>
                  <a:lnTo>
                    <a:pt x="1293" y="307"/>
                  </a:lnTo>
                  <a:lnTo>
                    <a:pt x="1315" y="305"/>
                  </a:lnTo>
                  <a:lnTo>
                    <a:pt x="1329" y="325"/>
                  </a:lnTo>
                  <a:lnTo>
                    <a:pt x="1344" y="334"/>
                  </a:lnTo>
                  <a:lnTo>
                    <a:pt x="1384" y="310"/>
                  </a:lnTo>
                  <a:lnTo>
                    <a:pt x="1396" y="295"/>
                  </a:lnTo>
                  <a:lnTo>
                    <a:pt x="1373" y="294"/>
                  </a:lnTo>
                  <a:lnTo>
                    <a:pt x="1361" y="275"/>
                  </a:lnTo>
                  <a:lnTo>
                    <a:pt x="1338" y="270"/>
                  </a:lnTo>
                  <a:lnTo>
                    <a:pt x="1309" y="257"/>
                  </a:lnTo>
                  <a:lnTo>
                    <a:pt x="1343" y="248"/>
                  </a:lnTo>
                  <a:lnTo>
                    <a:pt x="1340" y="229"/>
                  </a:lnTo>
                  <a:lnTo>
                    <a:pt x="1332" y="221"/>
                  </a:lnTo>
                  <a:lnTo>
                    <a:pt x="1301" y="213"/>
                  </a:lnTo>
                  <a:lnTo>
                    <a:pt x="1294" y="201"/>
                  </a:lnTo>
                  <a:lnTo>
                    <a:pt x="1264" y="206"/>
                  </a:lnTo>
                  <a:lnTo>
                    <a:pt x="1267" y="197"/>
                  </a:lnTo>
                  <a:lnTo>
                    <a:pt x="1254" y="187"/>
                  </a:lnTo>
                  <a:lnTo>
                    <a:pt x="1229" y="178"/>
                  </a:lnTo>
                  <a:lnTo>
                    <a:pt x="1209" y="185"/>
                  </a:lnTo>
                  <a:lnTo>
                    <a:pt x="1176" y="191"/>
                  </a:lnTo>
                  <a:lnTo>
                    <a:pt x="1188" y="179"/>
                  </a:lnTo>
                  <a:lnTo>
                    <a:pt x="1180" y="159"/>
                  </a:lnTo>
                  <a:lnTo>
                    <a:pt x="1136" y="167"/>
                  </a:lnTo>
                  <a:lnTo>
                    <a:pt x="1110" y="182"/>
                  </a:lnTo>
                  <a:lnTo>
                    <a:pt x="1109" y="170"/>
                  </a:lnTo>
                  <a:lnTo>
                    <a:pt x="1109" y="170"/>
                  </a:lnTo>
                  <a:close/>
                  <a:moveTo>
                    <a:pt x="922" y="157"/>
                  </a:moveTo>
                  <a:lnTo>
                    <a:pt x="895" y="167"/>
                  </a:lnTo>
                  <a:lnTo>
                    <a:pt x="899" y="179"/>
                  </a:lnTo>
                  <a:lnTo>
                    <a:pt x="871" y="176"/>
                  </a:lnTo>
                  <a:lnTo>
                    <a:pt x="865" y="183"/>
                  </a:lnTo>
                  <a:lnTo>
                    <a:pt x="886" y="198"/>
                  </a:lnTo>
                  <a:lnTo>
                    <a:pt x="889" y="205"/>
                  </a:lnTo>
                  <a:lnTo>
                    <a:pt x="902" y="207"/>
                  </a:lnTo>
                  <a:lnTo>
                    <a:pt x="934" y="199"/>
                  </a:lnTo>
                  <a:lnTo>
                    <a:pt x="953" y="182"/>
                  </a:lnTo>
                  <a:lnTo>
                    <a:pt x="939" y="173"/>
                  </a:lnTo>
                  <a:lnTo>
                    <a:pt x="961" y="165"/>
                  </a:lnTo>
                  <a:lnTo>
                    <a:pt x="963" y="159"/>
                  </a:lnTo>
                  <a:lnTo>
                    <a:pt x="935" y="161"/>
                  </a:lnTo>
                  <a:lnTo>
                    <a:pt x="922" y="157"/>
                  </a:lnTo>
                  <a:lnTo>
                    <a:pt x="922" y="157"/>
                  </a:lnTo>
                  <a:close/>
                  <a:moveTo>
                    <a:pt x="1005" y="178"/>
                  </a:moveTo>
                  <a:lnTo>
                    <a:pt x="1026" y="174"/>
                  </a:lnTo>
                  <a:lnTo>
                    <a:pt x="1063" y="157"/>
                  </a:lnTo>
                  <a:lnTo>
                    <a:pt x="1040" y="153"/>
                  </a:lnTo>
                  <a:lnTo>
                    <a:pt x="1011" y="152"/>
                  </a:lnTo>
                  <a:lnTo>
                    <a:pt x="992" y="157"/>
                  </a:lnTo>
                  <a:lnTo>
                    <a:pt x="976" y="165"/>
                  </a:lnTo>
                  <a:lnTo>
                    <a:pt x="967" y="174"/>
                  </a:lnTo>
                  <a:lnTo>
                    <a:pt x="960" y="191"/>
                  </a:lnTo>
                  <a:lnTo>
                    <a:pt x="976" y="192"/>
                  </a:lnTo>
                  <a:lnTo>
                    <a:pt x="1005" y="178"/>
                  </a:lnTo>
                  <a:close/>
                  <a:moveTo>
                    <a:pt x="576" y="204"/>
                  </a:moveTo>
                  <a:lnTo>
                    <a:pt x="587" y="196"/>
                  </a:lnTo>
                  <a:lnTo>
                    <a:pt x="620" y="183"/>
                  </a:lnTo>
                  <a:lnTo>
                    <a:pt x="672" y="169"/>
                  </a:lnTo>
                  <a:lnTo>
                    <a:pt x="696" y="164"/>
                  </a:lnTo>
                  <a:lnTo>
                    <a:pt x="689" y="156"/>
                  </a:lnTo>
                  <a:lnTo>
                    <a:pt x="683" y="151"/>
                  </a:lnTo>
                  <a:lnTo>
                    <a:pt x="647" y="150"/>
                  </a:lnTo>
                  <a:lnTo>
                    <a:pt x="632" y="146"/>
                  </a:lnTo>
                  <a:lnTo>
                    <a:pt x="580" y="149"/>
                  </a:lnTo>
                  <a:lnTo>
                    <a:pt x="579" y="160"/>
                  </a:lnTo>
                  <a:lnTo>
                    <a:pt x="550" y="172"/>
                  </a:lnTo>
                  <a:lnTo>
                    <a:pt x="523" y="187"/>
                  </a:lnTo>
                  <a:lnTo>
                    <a:pt x="506" y="195"/>
                  </a:lnTo>
                  <a:lnTo>
                    <a:pt x="529" y="205"/>
                  </a:lnTo>
                  <a:lnTo>
                    <a:pt x="527" y="213"/>
                  </a:lnTo>
                  <a:lnTo>
                    <a:pt x="576" y="204"/>
                  </a:lnTo>
                  <a:lnTo>
                    <a:pt x="576" y="204"/>
                  </a:lnTo>
                  <a:close/>
                  <a:moveTo>
                    <a:pt x="1040" y="136"/>
                  </a:moveTo>
                  <a:lnTo>
                    <a:pt x="1041" y="130"/>
                  </a:lnTo>
                  <a:lnTo>
                    <a:pt x="1036" y="124"/>
                  </a:lnTo>
                  <a:lnTo>
                    <a:pt x="1011" y="128"/>
                  </a:lnTo>
                  <a:lnTo>
                    <a:pt x="994" y="137"/>
                  </a:lnTo>
                  <a:lnTo>
                    <a:pt x="1006" y="142"/>
                  </a:lnTo>
                  <a:lnTo>
                    <a:pt x="1025" y="143"/>
                  </a:lnTo>
                  <a:lnTo>
                    <a:pt x="1040" y="136"/>
                  </a:lnTo>
                  <a:lnTo>
                    <a:pt x="1040" y="136"/>
                  </a:lnTo>
                  <a:close/>
                  <a:moveTo>
                    <a:pt x="1008" y="104"/>
                  </a:moveTo>
                  <a:lnTo>
                    <a:pt x="1003" y="107"/>
                  </a:lnTo>
                  <a:lnTo>
                    <a:pt x="985" y="105"/>
                  </a:lnTo>
                  <a:lnTo>
                    <a:pt x="957" y="112"/>
                  </a:lnTo>
                  <a:lnTo>
                    <a:pt x="943" y="111"/>
                  </a:lnTo>
                  <a:lnTo>
                    <a:pt x="927" y="126"/>
                  </a:lnTo>
                  <a:lnTo>
                    <a:pt x="952" y="124"/>
                  </a:lnTo>
                  <a:lnTo>
                    <a:pt x="939" y="135"/>
                  </a:lnTo>
                  <a:lnTo>
                    <a:pt x="951" y="138"/>
                  </a:lnTo>
                  <a:lnTo>
                    <a:pt x="976" y="136"/>
                  </a:lnTo>
                  <a:lnTo>
                    <a:pt x="997" y="122"/>
                  </a:lnTo>
                  <a:lnTo>
                    <a:pt x="1009" y="113"/>
                  </a:lnTo>
                  <a:lnTo>
                    <a:pt x="1008" y="104"/>
                  </a:lnTo>
                  <a:close/>
                  <a:moveTo>
                    <a:pt x="861" y="114"/>
                  </a:moveTo>
                  <a:lnTo>
                    <a:pt x="869" y="105"/>
                  </a:lnTo>
                  <a:lnTo>
                    <a:pt x="857" y="103"/>
                  </a:lnTo>
                  <a:lnTo>
                    <a:pt x="835" y="109"/>
                  </a:lnTo>
                  <a:lnTo>
                    <a:pt x="833" y="127"/>
                  </a:lnTo>
                  <a:lnTo>
                    <a:pt x="810" y="126"/>
                  </a:lnTo>
                  <a:lnTo>
                    <a:pt x="800" y="114"/>
                  </a:lnTo>
                  <a:lnTo>
                    <a:pt x="769" y="109"/>
                  </a:lnTo>
                  <a:lnTo>
                    <a:pt x="749" y="114"/>
                  </a:lnTo>
                  <a:lnTo>
                    <a:pt x="705" y="131"/>
                  </a:lnTo>
                  <a:lnTo>
                    <a:pt x="721" y="135"/>
                  </a:lnTo>
                  <a:lnTo>
                    <a:pt x="787" y="133"/>
                  </a:lnTo>
                  <a:lnTo>
                    <a:pt x="747" y="141"/>
                  </a:lnTo>
                  <a:lnTo>
                    <a:pt x="742" y="147"/>
                  </a:lnTo>
                  <a:lnTo>
                    <a:pt x="764" y="146"/>
                  </a:lnTo>
                  <a:lnTo>
                    <a:pt x="810" y="139"/>
                  </a:lnTo>
                  <a:lnTo>
                    <a:pt x="861" y="135"/>
                  </a:lnTo>
                  <a:lnTo>
                    <a:pt x="880" y="127"/>
                  </a:lnTo>
                  <a:lnTo>
                    <a:pt x="889" y="118"/>
                  </a:lnTo>
                  <a:lnTo>
                    <a:pt x="875" y="117"/>
                  </a:lnTo>
                  <a:lnTo>
                    <a:pt x="859" y="120"/>
                  </a:lnTo>
                  <a:lnTo>
                    <a:pt x="861" y="114"/>
                  </a:lnTo>
                  <a:close/>
                  <a:moveTo>
                    <a:pt x="1068" y="98"/>
                  </a:moveTo>
                  <a:lnTo>
                    <a:pt x="1041" y="96"/>
                  </a:lnTo>
                  <a:lnTo>
                    <a:pt x="1027" y="103"/>
                  </a:lnTo>
                  <a:lnTo>
                    <a:pt x="1037" y="109"/>
                  </a:lnTo>
                  <a:lnTo>
                    <a:pt x="1063" y="112"/>
                  </a:lnTo>
                  <a:lnTo>
                    <a:pt x="1068" y="119"/>
                  </a:lnTo>
                  <a:lnTo>
                    <a:pt x="1060" y="128"/>
                  </a:lnTo>
                  <a:lnTo>
                    <a:pt x="1054" y="139"/>
                  </a:lnTo>
                  <a:lnTo>
                    <a:pt x="1086" y="144"/>
                  </a:lnTo>
                  <a:lnTo>
                    <a:pt x="1107" y="147"/>
                  </a:lnTo>
                  <a:lnTo>
                    <a:pt x="1137" y="146"/>
                  </a:lnTo>
                  <a:lnTo>
                    <a:pt x="1180" y="143"/>
                  </a:lnTo>
                  <a:lnTo>
                    <a:pt x="1195" y="146"/>
                  </a:lnTo>
                  <a:lnTo>
                    <a:pt x="1221" y="142"/>
                  </a:lnTo>
                  <a:lnTo>
                    <a:pt x="1234" y="137"/>
                  </a:lnTo>
                  <a:lnTo>
                    <a:pt x="1237" y="129"/>
                  </a:lnTo>
                  <a:lnTo>
                    <a:pt x="1229" y="122"/>
                  </a:lnTo>
                  <a:lnTo>
                    <a:pt x="1208" y="121"/>
                  </a:lnTo>
                  <a:lnTo>
                    <a:pt x="1178" y="123"/>
                  </a:lnTo>
                  <a:lnTo>
                    <a:pt x="1152" y="127"/>
                  </a:lnTo>
                  <a:lnTo>
                    <a:pt x="1132" y="126"/>
                  </a:lnTo>
                  <a:lnTo>
                    <a:pt x="1114" y="124"/>
                  </a:lnTo>
                  <a:lnTo>
                    <a:pt x="1110" y="120"/>
                  </a:lnTo>
                  <a:lnTo>
                    <a:pt x="1098" y="116"/>
                  </a:lnTo>
                  <a:lnTo>
                    <a:pt x="1109" y="109"/>
                  </a:lnTo>
                  <a:lnTo>
                    <a:pt x="1104" y="103"/>
                  </a:lnTo>
                  <a:lnTo>
                    <a:pt x="1076" y="103"/>
                  </a:lnTo>
                  <a:lnTo>
                    <a:pt x="1068" y="98"/>
                  </a:lnTo>
                  <a:lnTo>
                    <a:pt x="1068" y="98"/>
                  </a:lnTo>
                  <a:close/>
                  <a:moveTo>
                    <a:pt x="787" y="87"/>
                  </a:moveTo>
                  <a:lnTo>
                    <a:pt x="765" y="90"/>
                  </a:lnTo>
                  <a:lnTo>
                    <a:pt x="744" y="90"/>
                  </a:lnTo>
                  <a:lnTo>
                    <a:pt x="700" y="101"/>
                  </a:lnTo>
                  <a:lnTo>
                    <a:pt x="656" y="115"/>
                  </a:lnTo>
                  <a:lnTo>
                    <a:pt x="656" y="115"/>
                  </a:lnTo>
                  <a:lnTo>
                    <a:pt x="670" y="119"/>
                  </a:lnTo>
                  <a:lnTo>
                    <a:pt x="696" y="116"/>
                  </a:lnTo>
                  <a:lnTo>
                    <a:pt x="732" y="109"/>
                  </a:lnTo>
                  <a:lnTo>
                    <a:pt x="746" y="107"/>
                  </a:lnTo>
                  <a:lnTo>
                    <a:pt x="766" y="101"/>
                  </a:lnTo>
                  <a:lnTo>
                    <a:pt x="787" y="87"/>
                  </a:lnTo>
                  <a:close/>
                  <a:moveTo>
                    <a:pt x="1088" y="90"/>
                  </a:moveTo>
                  <a:lnTo>
                    <a:pt x="1092" y="88"/>
                  </a:lnTo>
                  <a:lnTo>
                    <a:pt x="1086" y="85"/>
                  </a:lnTo>
                  <a:lnTo>
                    <a:pt x="1059" y="85"/>
                  </a:lnTo>
                  <a:lnTo>
                    <a:pt x="1057" y="89"/>
                  </a:lnTo>
                  <a:lnTo>
                    <a:pt x="1082" y="90"/>
                  </a:lnTo>
                  <a:lnTo>
                    <a:pt x="1088" y="90"/>
                  </a:lnTo>
                  <a:lnTo>
                    <a:pt x="1088" y="90"/>
                  </a:lnTo>
                  <a:close/>
                  <a:moveTo>
                    <a:pt x="871" y="86"/>
                  </a:moveTo>
                  <a:lnTo>
                    <a:pt x="882" y="82"/>
                  </a:lnTo>
                  <a:lnTo>
                    <a:pt x="867" y="79"/>
                  </a:lnTo>
                  <a:lnTo>
                    <a:pt x="844" y="81"/>
                  </a:lnTo>
                  <a:lnTo>
                    <a:pt x="826" y="86"/>
                  </a:lnTo>
                  <a:lnTo>
                    <a:pt x="838" y="92"/>
                  </a:lnTo>
                  <a:lnTo>
                    <a:pt x="871" y="86"/>
                  </a:lnTo>
                  <a:close/>
                  <a:moveTo>
                    <a:pt x="899" y="72"/>
                  </a:moveTo>
                  <a:lnTo>
                    <a:pt x="887" y="68"/>
                  </a:lnTo>
                  <a:lnTo>
                    <a:pt x="881" y="67"/>
                  </a:lnTo>
                  <a:lnTo>
                    <a:pt x="859" y="72"/>
                  </a:lnTo>
                  <a:lnTo>
                    <a:pt x="856" y="74"/>
                  </a:lnTo>
                  <a:lnTo>
                    <a:pt x="878" y="74"/>
                  </a:lnTo>
                  <a:lnTo>
                    <a:pt x="899" y="72"/>
                  </a:lnTo>
                  <a:close/>
                  <a:moveTo>
                    <a:pt x="1072" y="81"/>
                  </a:moveTo>
                  <a:lnTo>
                    <a:pt x="1083" y="74"/>
                  </a:lnTo>
                  <a:lnTo>
                    <a:pt x="1075" y="68"/>
                  </a:lnTo>
                  <a:lnTo>
                    <a:pt x="1068" y="67"/>
                  </a:lnTo>
                  <a:lnTo>
                    <a:pt x="1053" y="67"/>
                  </a:lnTo>
                  <a:lnTo>
                    <a:pt x="1044" y="73"/>
                  </a:lnTo>
                  <a:lnTo>
                    <a:pt x="1042" y="80"/>
                  </a:lnTo>
                  <a:lnTo>
                    <a:pt x="1048" y="85"/>
                  </a:lnTo>
                  <a:lnTo>
                    <a:pt x="1072" y="81"/>
                  </a:lnTo>
                  <a:lnTo>
                    <a:pt x="1072" y="81"/>
                  </a:lnTo>
                  <a:close/>
                  <a:moveTo>
                    <a:pt x="1022" y="76"/>
                  </a:moveTo>
                  <a:lnTo>
                    <a:pt x="1022" y="68"/>
                  </a:lnTo>
                  <a:lnTo>
                    <a:pt x="994" y="61"/>
                  </a:lnTo>
                  <a:lnTo>
                    <a:pt x="971" y="59"/>
                  </a:lnTo>
                  <a:lnTo>
                    <a:pt x="964" y="66"/>
                  </a:lnTo>
                  <a:lnTo>
                    <a:pt x="974" y="70"/>
                  </a:lnTo>
                  <a:lnTo>
                    <a:pt x="955" y="75"/>
                  </a:lnTo>
                  <a:lnTo>
                    <a:pt x="983" y="75"/>
                  </a:lnTo>
                  <a:lnTo>
                    <a:pt x="997" y="81"/>
                  </a:lnTo>
                  <a:lnTo>
                    <a:pt x="1017" y="83"/>
                  </a:lnTo>
                  <a:lnTo>
                    <a:pt x="1022" y="76"/>
                  </a:lnTo>
                  <a:close/>
                  <a:moveTo>
                    <a:pt x="1222" y="53"/>
                  </a:moveTo>
                  <a:lnTo>
                    <a:pt x="1224" y="43"/>
                  </a:lnTo>
                  <a:lnTo>
                    <a:pt x="1207" y="40"/>
                  </a:lnTo>
                  <a:lnTo>
                    <a:pt x="1189" y="36"/>
                  </a:lnTo>
                  <a:lnTo>
                    <a:pt x="1183" y="29"/>
                  </a:lnTo>
                  <a:lnTo>
                    <a:pt x="1152" y="29"/>
                  </a:lnTo>
                  <a:lnTo>
                    <a:pt x="1153" y="32"/>
                  </a:lnTo>
                  <a:lnTo>
                    <a:pt x="1139" y="33"/>
                  </a:lnTo>
                  <a:lnTo>
                    <a:pt x="1124" y="38"/>
                  </a:lnTo>
                  <a:lnTo>
                    <a:pt x="1106" y="45"/>
                  </a:lnTo>
                  <a:lnTo>
                    <a:pt x="1104" y="53"/>
                  </a:lnTo>
                  <a:lnTo>
                    <a:pt x="1111" y="58"/>
                  </a:lnTo>
                  <a:lnTo>
                    <a:pt x="1136" y="58"/>
                  </a:lnTo>
                  <a:lnTo>
                    <a:pt x="1120" y="62"/>
                  </a:lnTo>
                  <a:lnTo>
                    <a:pt x="1112" y="69"/>
                  </a:lnTo>
                  <a:lnTo>
                    <a:pt x="1118" y="75"/>
                  </a:lnTo>
                  <a:lnTo>
                    <a:pt x="1143" y="78"/>
                  </a:lnTo>
                  <a:lnTo>
                    <a:pt x="1168" y="76"/>
                  </a:lnTo>
                  <a:lnTo>
                    <a:pt x="1208" y="64"/>
                  </a:lnTo>
                  <a:lnTo>
                    <a:pt x="1232" y="58"/>
                  </a:lnTo>
                  <a:lnTo>
                    <a:pt x="1222" y="53"/>
                  </a:lnTo>
                  <a:close/>
                  <a:moveTo>
                    <a:pt x="1515" y="1"/>
                  </a:moveTo>
                  <a:lnTo>
                    <a:pt x="1489" y="1"/>
                  </a:lnTo>
                  <a:lnTo>
                    <a:pt x="1463" y="0"/>
                  </a:lnTo>
                  <a:lnTo>
                    <a:pt x="1425" y="2"/>
                  </a:lnTo>
                  <a:lnTo>
                    <a:pt x="1420" y="1"/>
                  </a:lnTo>
                  <a:lnTo>
                    <a:pt x="1381" y="1"/>
                  </a:lnTo>
                  <a:lnTo>
                    <a:pt x="1358" y="2"/>
                  </a:lnTo>
                  <a:lnTo>
                    <a:pt x="1338" y="5"/>
                  </a:lnTo>
                  <a:lnTo>
                    <a:pt x="1320" y="13"/>
                  </a:lnTo>
                  <a:lnTo>
                    <a:pt x="1311" y="9"/>
                  </a:lnTo>
                  <a:lnTo>
                    <a:pt x="1296" y="8"/>
                  </a:lnTo>
                  <a:lnTo>
                    <a:pt x="1272" y="14"/>
                  </a:lnTo>
                  <a:lnTo>
                    <a:pt x="1244" y="15"/>
                  </a:lnTo>
                  <a:lnTo>
                    <a:pt x="1229" y="15"/>
                  </a:lnTo>
                  <a:lnTo>
                    <a:pt x="1207" y="19"/>
                  </a:lnTo>
                  <a:lnTo>
                    <a:pt x="1202" y="24"/>
                  </a:lnTo>
                  <a:lnTo>
                    <a:pt x="1211" y="29"/>
                  </a:lnTo>
                  <a:lnTo>
                    <a:pt x="1214" y="34"/>
                  </a:lnTo>
                  <a:lnTo>
                    <a:pt x="1231" y="40"/>
                  </a:lnTo>
                  <a:lnTo>
                    <a:pt x="1278" y="39"/>
                  </a:lnTo>
                  <a:lnTo>
                    <a:pt x="1304" y="41"/>
                  </a:lnTo>
                  <a:lnTo>
                    <a:pt x="1278" y="46"/>
                  </a:lnTo>
                  <a:lnTo>
                    <a:pt x="1269" y="44"/>
                  </a:lnTo>
                  <a:lnTo>
                    <a:pt x="1235" y="43"/>
                  </a:lnTo>
                  <a:lnTo>
                    <a:pt x="1230" y="52"/>
                  </a:lnTo>
                  <a:lnTo>
                    <a:pt x="1241" y="58"/>
                  </a:lnTo>
                  <a:lnTo>
                    <a:pt x="1231" y="64"/>
                  </a:lnTo>
                  <a:lnTo>
                    <a:pt x="1203" y="69"/>
                  </a:lnTo>
                  <a:lnTo>
                    <a:pt x="1184" y="75"/>
                  </a:lnTo>
                  <a:lnTo>
                    <a:pt x="1203" y="78"/>
                  </a:lnTo>
                  <a:lnTo>
                    <a:pt x="1208" y="89"/>
                  </a:lnTo>
                  <a:lnTo>
                    <a:pt x="1180" y="82"/>
                  </a:lnTo>
                  <a:lnTo>
                    <a:pt x="1171" y="83"/>
                  </a:lnTo>
                  <a:lnTo>
                    <a:pt x="1164" y="96"/>
                  </a:lnTo>
                  <a:lnTo>
                    <a:pt x="1134" y="100"/>
                  </a:lnTo>
                  <a:lnTo>
                    <a:pt x="1126" y="109"/>
                  </a:lnTo>
                  <a:lnTo>
                    <a:pt x="1152" y="110"/>
                  </a:lnTo>
                  <a:lnTo>
                    <a:pt x="1170" y="112"/>
                  </a:lnTo>
                  <a:lnTo>
                    <a:pt x="1214" y="109"/>
                  </a:lnTo>
                  <a:lnTo>
                    <a:pt x="1245" y="114"/>
                  </a:lnTo>
                  <a:lnTo>
                    <a:pt x="1293" y="103"/>
                  </a:lnTo>
                  <a:lnTo>
                    <a:pt x="1296" y="99"/>
                  </a:lnTo>
                  <a:lnTo>
                    <a:pt x="1272" y="100"/>
                  </a:lnTo>
                  <a:lnTo>
                    <a:pt x="1274" y="96"/>
                  </a:lnTo>
                  <a:lnTo>
                    <a:pt x="1298" y="90"/>
                  </a:lnTo>
                  <a:lnTo>
                    <a:pt x="1311" y="83"/>
                  </a:lnTo>
                  <a:lnTo>
                    <a:pt x="1337" y="78"/>
                  </a:lnTo>
                  <a:lnTo>
                    <a:pt x="1356" y="72"/>
                  </a:lnTo>
                  <a:lnTo>
                    <a:pt x="1352" y="64"/>
                  </a:lnTo>
                  <a:lnTo>
                    <a:pt x="1365" y="61"/>
                  </a:lnTo>
                  <a:lnTo>
                    <a:pt x="1349" y="58"/>
                  </a:lnTo>
                  <a:lnTo>
                    <a:pt x="1391" y="58"/>
                  </a:lnTo>
                  <a:lnTo>
                    <a:pt x="1403" y="54"/>
                  </a:lnTo>
                  <a:lnTo>
                    <a:pt x="1432" y="51"/>
                  </a:lnTo>
                  <a:lnTo>
                    <a:pt x="1466" y="38"/>
                  </a:lnTo>
                  <a:lnTo>
                    <a:pt x="1492" y="34"/>
                  </a:lnTo>
                  <a:lnTo>
                    <a:pt x="1531" y="25"/>
                  </a:lnTo>
                  <a:lnTo>
                    <a:pt x="1503" y="25"/>
                  </a:lnTo>
                  <a:lnTo>
                    <a:pt x="1518" y="21"/>
                  </a:lnTo>
                  <a:lnTo>
                    <a:pt x="1551" y="18"/>
                  </a:lnTo>
                  <a:lnTo>
                    <a:pt x="1588" y="12"/>
                  </a:lnTo>
                  <a:lnTo>
                    <a:pt x="1591" y="8"/>
                  </a:lnTo>
                  <a:lnTo>
                    <a:pt x="1572" y="4"/>
                  </a:lnTo>
                  <a:lnTo>
                    <a:pt x="1546" y="2"/>
                  </a:lnTo>
                  <a:lnTo>
                    <a:pt x="1515" y="1"/>
                  </a:lnTo>
                  <a:lnTo>
                    <a:pt x="1515" y="1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0" name="Switzerland">
              <a:extLst>
                <a:ext uri="{FF2B5EF4-FFF2-40B4-BE49-F238E27FC236}">
                  <a16:creationId xmlns:a16="http://schemas.microsoft.com/office/drawing/2014/main" id="{695CB4F7-B069-4467-B889-6BF2D4B4B6B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2994" y="2263548"/>
              <a:ext cx="131762" cy="74613"/>
            </a:xfrm>
            <a:custGeom>
              <a:avLst/>
              <a:gdLst>
                <a:gd name="T0" fmla="*/ 66 w 83"/>
                <a:gd name="T1" fmla="*/ 6 h 47"/>
                <a:gd name="T2" fmla="*/ 46 w 83"/>
                <a:gd name="T3" fmla="*/ 0 h 47"/>
                <a:gd name="T4" fmla="*/ 42 w 83"/>
                <a:gd name="T5" fmla="*/ 4 h 47"/>
                <a:gd name="T6" fmla="*/ 27 w 83"/>
                <a:gd name="T7" fmla="*/ 4 h 47"/>
                <a:gd name="T8" fmla="*/ 22 w 83"/>
                <a:gd name="T9" fmla="*/ 8 h 47"/>
                <a:gd name="T10" fmla="*/ 13 w 83"/>
                <a:gd name="T11" fmla="*/ 6 h 47"/>
                <a:gd name="T12" fmla="*/ 14 w 83"/>
                <a:gd name="T13" fmla="*/ 12 h 47"/>
                <a:gd name="T14" fmla="*/ 0 w 83"/>
                <a:gd name="T15" fmla="*/ 25 h 47"/>
                <a:gd name="T16" fmla="*/ 0 w 83"/>
                <a:gd name="T17" fmla="*/ 36 h 47"/>
                <a:gd name="T18" fmla="*/ 10 w 83"/>
                <a:gd name="T19" fmla="*/ 32 h 47"/>
                <a:gd name="T20" fmla="*/ 16 w 83"/>
                <a:gd name="T21" fmla="*/ 43 h 47"/>
                <a:gd name="T22" fmla="*/ 25 w 83"/>
                <a:gd name="T23" fmla="*/ 47 h 47"/>
                <a:gd name="T24" fmla="*/ 33 w 83"/>
                <a:gd name="T25" fmla="*/ 46 h 47"/>
                <a:gd name="T26" fmla="*/ 43 w 83"/>
                <a:gd name="T27" fmla="*/ 38 h 47"/>
                <a:gd name="T28" fmla="*/ 47 w 83"/>
                <a:gd name="T29" fmla="*/ 42 h 47"/>
                <a:gd name="T30" fmla="*/ 56 w 83"/>
                <a:gd name="T31" fmla="*/ 42 h 47"/>
                <a:gd name="T32" fmla="*/ 59 w 83"/>
                <a:gd name="T33" fmla="*/ 32 h 47"/>
                <a:gd name="T34" fmla="*/ 73 w 83"/>
                <a:gd name="T35" fmla="*/ 35 h 47"/>
                <a:gd name="T36" fmla="*/ 82 w 83"/>
                <a:gd name="T37" fmla="*/ 31 h 47"/>
                <a:gd name="T38" fmla="*/ 83 w 83"/>
                <a:gd name="T39" fmla="*/ 21 h 47"/>
                <a:gd name="T40" fmla="*/ 72 w 83"/>
                <a:gd name="T41" fmla="*/ 21 h 47"/>
                <a:gd name="T42" fmla="*/ 64 w 83"/>
                <a:gd name="T43" fmla="*/ 17 h 47"/>
                <a:gd name="T44" fmla="*/ 67 w 83"/>
                <a:gd name="T45" fmla="*/ 11 h 47"/>
                <a:gd name="T46" fmla="*/ 66 w 83"/>
                <a:gd name="T47" fmla="*/ 6 h 47"/>
                <a:gd name="T48" fmla="*/ 66 w 83"/>
                <a:gd name="T49" fmla="*/ 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3" h="47">
                  <a:moveTo>
                    <a:pt x="66" y="6"/>
                  </a:moveTo>
                  <a:lnTo>
                    <a:pt x="46" y="0"/>
                  </a:lnTo>
                  <a:lnTo>
                    <a:pt x="42" y="4"/>
                  </a:lnTo>
                  <a:lnTo>
                    <a:pt x="27" y="4"/>
                  </a:lnTo>
                  <a:lnTo>
                    <a:pt x="22" y="8"/>
                  </a:lnTo>
                  <a:lnTo>
                    <a:pt x="13" y="6"/>
                  </a:lnTo>
                  <a:lnTo>
                    <a:pt x="14" y="12"/>
                  </a:lnTo>
                  <a:lnTo>
                    <a:pt x="0" y="25"/>
                  </a:lnTo>
                  <a:lnTo>
                    <a:pt x="0" y="36"/>
                  </a:lnTo>
                  <a:lnTo>
                    <a:pt x="10" y="32"/>
                  </a:lnTo>
                  <a:lnTo>
                    <a:pt x="16" y="43"/>
                  </a:lnTo>
                  <a:lnTo>
                    <a:pt x="25" y="47"/>
                  </a:lnTo>
                  <a:lnTo>
                    <a:pt x="33" y="46"/>
                  </a:lnTo>
                  <a:lnTo>
                    <a:pt x="43" y="38"/>
                  </a:lnTo>
                  <a:lnTo>
                    <a:pt x="47" y="42"/>
                  </a:lnTo>
                  <a:lnTo>
                    <a:pt x="56" y="42"/>
                  </a:lnTo>
                  <a:lnTo>
                    <a:pt x="59" y="32"/>
                  </a:lnTo>
                  <a:lnTo>
                    <a:pt x="73" y="35"/>
                  </a:lnTo>
                  <a:lnTo>
                    <a:pt x="82" y="31"/>
                  </a:lnTo>
                  <a:lnTo>
                    <a:pt x="83" y="21"/>
                  </a:lnTo>
                  <a:lnTo>
                    <a:pt x="72" y="21"/>
                  </a:lnTo>
                  <a:lnTo>
                    <a:pt x="64" y="17"/>
                  </a:lnTo>
                  <a:lnTo>
                    <a:pt x="67" y="11"/>
                  </a:lnTo>
                  <a:lnTo>
                    <a:pt x="66" y="6"/>
                  </a:lnTo>
                  <a:lnTo>
                    <a:pt x="66" y="6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1" name="Chile">
              <a:extLst>
                <a:ext uri="{FF2B5EF4-FFF2-40B4-BE49-F238E27FC236}">
                  <a16:creationId xmlns:a16="http://schemas.microsoft.com/office/drawing/2014/main" id="{8DDD9734-B2BC-4A8B-A8A6-3B4B1A7F3D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85381" y="4725760"/>
              <a:ext cx="446087" cy="1416050"/>
            </a:xfrm>
            <a:custGeom>
              <a:avLst/>
              <a:gdLst>
                <a:gd name="T0" fmla="*/ 216 w 281"/>
                <a:gd name="T1" fmla="*/ 823 h 892"/>
                <a:gd name="T2" fmla="*/ 203 w 281"/>
                <a:gd name="T3" fmla="*/ 847 h 892"/>
                <a:gd name="T4" fmla="*/ 173 w 281"/>
                <a:gd name="T5" fmla="*/ 850 h 892"/>
                <a:gd name="T6" fmla="*/ 123 w 281"/>
                <a:gd name="T7" fmla="*/ 831 h 892"/>
                <a:gd name="T8" fmla="*/ 183 w 281"/>
                <a:gd name="T9" fmla="*/ 868 h 892"/>
                <a:gd name="T10" fmla="*/ 231 w 281"/>
                <a:gd name="T11" fmla="*/ 884 h 892"/>
                <a:gd name="T12" fmla="*/ 258 w 281"/>
                <a:gd name="T13" fmla="*/ 892 h 892"/>
                <a:gd name="T14" fmla="*/ 279 w 281"/>
                <a:gd name="T15" fmla="*/ 886 h 892"/>
                <a:gd name="T16" fmla="*/ 270 w 281"/>
                <a:gd name="T17" fmla="*/ 876 h 892"/>
                <a:gd name="T18" fmla="*/ 230 w 281"/>
                <a:gd name="T19" fmla="*/ 826 h 892"/>
                <a:gd name="T20" fmla="*/ 52 w 281"/>
                <a:gd name="T21" fmla="*/ 93 h 892"/>
                <a:gd name="T22" fmla="*/ 43 w 281"/>
                <a:gd name="T23" fmla="*/ 43 h 892"/>
                <a:gd name="T24" fmla="*/ 26 w 281"/>
                <a:gd name="T25" fmla="*/ 16 h 892"/>
                <a:gd name="T26" fmla="*/ 10 w 281"/>
                <a:gd name="T27" fmla="*/ 12 h 892"/>
                <a:gd name="T28" fmla="*/ 8 w 281"/>
                <a:gd name="T29" fmla="*/ 52 h 892"/>
                <a:gd name="T30" fmla="*/ 13 w 281"/>
                <a:gd name="T31" fmla="*/ 143 h 892"/>
                <a:gd name="T32" fmla="*/ 17 w 281"/>
                <a:gd name="T33" fmla="*/ 239 h 892"/>
                <a:gd name="T34" fmla="*/ 18 w 281"/>
                <a:gd name="T35" fmla="*/ 297 h 892"/>
                <a:gd name="T36" fmla="*/ 28 w 281"/>
                <a:gd name="T37" fmla="*/ 353 h 892"/>
                <a:gd name="T38" fmla="*/ 22 w 281"/>
                <a:gd name="T39" fmla="*/ 425 h 892"/>
                <a:gd name="T40" fmla="*/ 13 w 281"/>
                <a:gd name="T41" fmla="*/ 466 h 892"/>
                <a:gd name="T42" fmla="*/ 33 w 281"/>
                <a:gd name="T43" fmla="*/ 517 h 892"/>
                <a:gd name="T44" fmla="*/ 37 w 281"/>
                <a:gd name="T45" fmla="*/ 576 h 892"/>
                <a:gd name="T46" fmla="*/ 56 w 281"/>
                <a:gd name="T47" fmla="*/ 612 h 892"/>
                <a:gd name="T48" fmla="*/ 66 w 281"/>
                <a:gd name="T49" fmla="*/ 590 h 892"/>
                <a:gd name="T50" fmla="*/ 49 w 281"/>
                <a:gd name="T51" fmla="*/ 629 h 892"/>
                <a:gd name="T52" fmla="*/ 47 w 281"/>
                <a:gd name="T53" fmla="*/ 688 h 892"/>
                <a:gd name="T54" fmla="*/ 64 w 281"/>
                <a:gd name="T55" fmla="*/ 712 h 892"/>
                <a:gd name="T56" fmla="*/ 84 w 281"/>
                <a:gd name="T57" fmla="*/ 775 h 892"/>
                <a:gd name="T58" fmla="*/ 101 w 281"/>
                <a:gd name="T59" fmla="*/ 803 h 892"/>
                <a:gd name="T60" fmla="*/ 141 w 281"/>
                <a:gd name="T61" fmla="*/ 831 h 892"/>
                <a:gd name="T62" fmla="*/ 168 w 281"/>
                <a:gd name="T63" fmla="*/ 846 h 892"/>
                <a:gd name="T64" fmla="*/ 199 w 281"/>
                <a:gd name="T65" fmla="*/ 853 h 892"/>
                <a:gd name="T66" fmla="*/ 205 w 281"/>
                <a:gd name="T67" fmla="*/ 823 h 892"/>
                <a:gd name="T68" fmla="*/ 227 w 281"/>
                <a:gd name="T69" fmla="*/ 818 h 892"/>
                <a:gd name="T70" fmla="*/ 164 w 281"/>
                <a:gd name="T71" fmla="*/ 812 h 892"/>
                <a:gd name="T72" fmla="*/ 145 w 281"/>
                <a:gd name="T73" fmla="*/ 781 h 892"/>
                <a:gd name="T74" fmla="*/ 123 w 281"/>
                <a:gd name="T75" fmla="*/ 775 h 892"/>
                <a:gd name="T76" fmla="*/ 121 w 281"/>
                <a:gd name="T77" fmla="*/ 739 h 892"/>
                <a:gd name="T78" fmla="*/ 116 w 281"/>
                <a:gd name="T79" fmla="*/ 713 h 892"/>
                <a:gd name="T80" fmla="*/ 114 w 281"/>
                <a:gd name="T81" fmla="*/ 663 h 892"/>
                <a:gd name="T82" fmla="*/ 114 w 281"/>
                <a:gd name="T83" fmla="*/ 645 h 892"/>
                <a:gd name="T84" fmla="*/ 99 w 281"/>
                <a:gd name="T85" fmla="*/ 631 h 892"/>
                <a:gd name="T86" fmla="*/ 89 w 281"/>
                <a:gd name="T87" fmla="*/ 613 h 892"/>
                <a:gd name="T88" fmla="*/ 82 w 281"/>
                <a:gd name="T89" fmla="*/ 582 h 892"/>
                <a:gd name="T90" fmla="*/ 67 w 281"/>
                <a:gd name="T91" fmla="*/ 530 h 892"/>
                <a:gd name="T92" fmla="*/ 75 w 281"/>
                <a:gd name="T93" fmla="*/ 499 h 892"/>
                <a:gd name="T94" fmla="*/ 58 w 281"/>
                <a:gd name="T95" fmla="*/ 453 h 892"/>
                <a:gd name="T96" fmla="*/ 63 w 281"/>
                <a:gd name="T97" fmla="*/ 418 h 892"/>
                <a:gd name="T98" fmla="*/ 64 w 281"/>
                <a:gd name="T99" fmla="*/ 372 h 892"/>
                <a:gd name="T100" fmla="*/ 40 w 281"/>
                <a:gd name="T101" fmla="*/ 327 h 892"/>
                <a:gd name="T102" fmla="*/ 42 w 281"/>
                <a:gd name="T103" fmla="*/ 280 h 892"/>
                <a:gd name="T104" fmla="*/ 55 w 281"/>
                <a:gd name="T105" fmla="*/ 236 h 892"/>
                <a:gd name="T106" fmla="*/ 60 w 281"/>
                <a:gd name="T107" fmla="*/ 212 h 892"/>
                <a:gd name="T108" fmla="*/ 57 w 281"/>
                <a:gd name="T109" fmla="*/ 165 h 892"/>
                <a:gd name="T110" fmla="*/ 82 w 281"/>
                <a:gd name="T111" fmla="*/ 129 h 892"/>
                <a:gd name="T112" fmla="*/ 64 w 281"/>
                <a:gd name="T113" fmla="*/ 126 h 892"/>
                <a:gd name="T114" fmla="*/ 52 w 281"/>
                <a:gd name="T115" fmla="*/ 93 h 8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1" h="892">
                  <a:moveTo>
                    <a:pt x="230" y="826"/>
                  </a:moveTo>
                  <a:lnTo>
                    <a:pt x="216" y="823"/>
                  </a:lnTo>
                  <a:lnTo>
                    <a:pt x="203" y="832"/>
                  </a:lnTo>
                  <a:lnTo>
                    <a:pt x="203" y="847"/>
                  </a:lnTo>
                  <a:lnTo>
                    <a:pt x="200" y="859"/>
                  </a:lnTo>
                  <a:lnTo>
                    <a:pt x="173" y="850"/>
                  </a:lnTo>
                  <a:lnTo>
                    <a:pt x="140" y="835"/>
                  </a:lnTo>
                  <a:lnTo>
                    <a:pt x="123" y="831"/>
                  </a:lnTo>
                  <a:lnTo>
                    <a:pt x="160" y="856"/>
                  </a:lnTo>
                  <a:lnTo>
                    <a:pt x="183" y="868"/>
                  </a:lnTo>
                  <a:lnTo>
                    <a:pt x="211" y="880"/>
                  </a:lnTo>
                  <a:lnTo>
                    <a:pt x="231" y="884"/>
                  </a:lnTo>
                  <a:lnTo>
                    <a:pt x="247" y="890"/>
                  </a:lnTo>
                  <a:lnTo>
                    <a:pt x="258" y="892"/>
                  </a:lnTo>
                  <a:lnTo>
                    <a:pt x="267" y="892"/>
                  </a:lnTo>
                  <a:lnTo>
                    <a:pt x="279" y="886"/>
                  </a:lnTo>
                  <a:lnTo>
                    <a:pt x="281" y="877"/>
                  </a:lnTo>
                  <a:lnTo>
                    <a:pt x="270" y="876"/>
                  </a:lnTo>
                  <a:lnTo>
                    <a:pt x="251" y="876"/>
                  </a:lnTo>
                  <a:lnTo>
                    <a:pt x="230" y="826"/>
                  </a:lnTo>
                  <a:lnTo>
                    <a:pt x="230" y="826"/>
                  </a:lnTo>
                  <a:close/>
                  <a:moveTo>
                    <a:pt x="52" y="93"/>
                  </a:moveTo>
                  <a:lnTo>
                    <a:pt x="39" y="66"/>
                  </a:lnTo>
                  <a:lnTo>
                    <a:pt x="43" y="43"/>
                  </a:lnTo>
                  <a:lnTo>
                    <a:pt x="31" y="33"/>
                  </a:lnTo>
                  <a:lnTo>
                    <a:pt x="26" y="16"/>
                  </a:lnTo>
                  <a:lnTo>
                    <a:pt x="15" y="0"/>
                  </a:lnTo>
                  <a:lnTo>
                    <a:pt x="10" y="12"/>
                  </a:lnTo>
                  <a:lnTo>
                    <a:pt x="0" y="18"/>
                  </a:lnTo>
                  <a:lnTo>
                    <a:pt x="8" y="52"/>
                  </a:lnTo>
                  <a:lnTo>
                    <a:pt x="14" y="90"/>
                  </a:lnTo>
                  <a:lnTo>
                    <a:pt x="13" y="143"/>
                  </a:lnTo>
                  <a:lnTo>
                    <a:pt x="13" y="193"/>
                  </a:lnTo>
                  <a:lnTo>
                    <a:pt x="17" y="239"/>
                  </a:lnTo>
                  <a:lnTo>
                    <a:pt x="9" y="268"/>
                  </a:lnTo>
                  <a:lnTo>
                    <a:pt x="18" y="297"/>
                  </a:lnTo>
                  <a:lnTo>
                    <a:pt x="16" y="317"/>
                  </a:lnTo>
                  <a:lnTo>
                    <a:pt x="28" y="353"/>
                  </a:lnTo>
                  <a:lnTo>
                    <a:pt x="27" y="388"/>
                  </a:lnTo>
                  <a:lnTo>
                    <a:pt x="22" y="425"/>
                  </a:lnTo>
                  <a:lnTo>
                    <a:pt x="20" y="465"/>
                  </a:lnTo>
                  <a:lnTo>
                    <a:pt x="13" y="466"/>
                  </a:lnTo>
                  <a:lnTo>
                    <a:pt x="21" y="493"/>
                  </a:lnTo>
                  <a:lnTo>
                    <a:pt x="33" y="517"/>
                  </a:lnTo>
                  <a:lnTo>
                    <a:pt x="30" y="533"/>
                  </a:lnTo>
                  <a:lnTo>
                    <a:pt x="37" y="576"/>
                  </a:lnTo>
                  <a:lnTo>
                    <a:pt x="43" y="608"/>
                  </a:lnTo>
                  <a:lnTo>
                    <a:pt x="56" y="612"/>
                  </a:lnTo>
                  <a:lnTo>
                    <a:pt x="51" y="583"/>
                  </a:lnTo>
                  <a:lnTo>
                    <a:pt x="66" y="590"/>
                  </a:lnTo>
                  <a:lnTo>
                    <a:pt x="73" y="636"/>
                  </a:lnTo>
                  <a:lnTo>
                    <a:pt x="49" y="629"/>
                  </a:lnTo>
                  <a:lnTo>
                    <a:pt x="57" y="667"/>
                  </a:lnTo>
                  <a:lnTo>
                    <a:pt x="47" y="688"/>
                  </a:lnTo>
                  <a:lnTo>
                    <a:pt x="77" y="694"/>
                  </a:lnTo>
                  <a:lnTo>
                    <a:pt x="64" y="712"/>
                  </a:lnTo>
                  <a:lnTo>
                    <a:pt x="65" y="734"/>
                  </a:lnTo>
                  <a:lnTo>
                    <a:pt x="84" y="775"/>
                  </a:lnTo>
                  <a:lnTo>
                    <a:pt x="100" y="790"/>
                  </a:lnTo>
                  <a:lnTo>
                    <a:pt x="101" y="803"/>
                  </a:lnTo>
                  <a:lnTo>
                    <a:pt x="113" y="818"/>
                  </a:lnTo>
                  <a:lnTo>
                    <a:pt x="141" y="831"/>
                  </a:lnTo>
                  <a:lnTo>
                    <a:pt x="141" y="831"/>
                  </a:lnTo>
                  <a:lnTo>
                    <a:pt x="168" y="846"/>
                  </a:lnTo>
                  <a:lnTo>
                    <a:pt x="191" y="853"/>
                  </a:lnTo>
                  <a:lnTo>
                    <a:pt x="199" y="853"/>
                  </a:lnTo>
                  <a:lnTo>
                    <a:pt x="192" y="832"/>
                  </a:lnTo>
                  <a:lnTo>
                    <a:pt x="205" y="823"/>
                  </a:lnTo>
                  <a:lnTo>
                    <a:pt x="211" y="818"/>
                  </a:lnTo>
                  <a:lnTo>
                    <a:pt x="227" y="818"/>
                  </a:lnTo>
                  <a:lnTo>
                    <a:pt x="209" y="815"/>
                  </a:lnTo>
                  <a:lnTo>
                    <a:pt x="164" y="812"/>
                  </a:lnTo>
                  <a:lnTo>
                    <a:pt x="151" y="798"/>
                  </a:lnTo>
                  <a:lnTo>
                    <a:pt x="145" y="781"/>
                  </a:lnTo>
                  <a:lnTo>
                    <a:pt x="132" y="782"/>
                  </a:lnTo>
                  <a:lnTo>
                    <a:pt x="123" y="775"/>
                  </a:lnTo>
                  <a:lnTo>
                    <a:pt x="112" y="749"/>
                  </a:lnTo>
                  <a:lnTo>
                    <a:pt x="121" y="739"/>
                  </a:lnTo>
                  <a:lnTo>
                    <a:pt x="122" y="725"/>
                  </a:lnTo>
                  <a:lnTo>
                    <a:pt x="116" y="713"/>
                  </a:lnTo>
                  <a:lnTo>
                    <a:pt x="118" y="693"/>
                  </a:lnTo>
                  <a:lnTo>
                    <a:pt x="114" y="663"/>
                  </a:lnTo>
                  <a:lnTo>
                    <a:pt x="107" y="649"/>
                  </a:lnTo>
                  <a:lnTo>
                    <a:pt x="114" y="645"/>
                  </a:lnTo>
                  <a:lnTo>
                    <a:pt x="109" y="636"/>
                  </a:lnTo>
                  <a:lnTo>
                    <a:pt x="99" y="631"/>
                  </a:lnTo>
                  <a:lnTo>
                    <a:pt x="102" y="621"/>
                  </a:lnTo>
                  <a:lnTo>
                    <a:pt x="89" y="613"/>
                  </a:lnTo>
                  <a:lnTo>
                    <a:pt x="76" y="586"/>
                  </a:lnTo>
                  <a:lnTo>
                    <a:pt x="82" y="582"/>
                  </a:lnTo>
                  <a:lnTo>
                    <a:pt x="70" y="553"/>
                  </a:lnTo>
                  <a:lnTo>
                    <a:pt x="67" y="530"/>
                  </a:lnTo>
                  <a:lnTo>
                    <a:pt x="66" y="509"/>
                  </a:lnTo>
                  <a:lnTo>
                    <a:pt x="75" y="499"/>
                  </a:lnTo>
                  <a:lnTo>
                    <a:pt x="63" y="476"/>
                  </a:lnTo>
                  <a:lnTo>
                    <a:pt x="58" y="453"/>
                  </a:lnTo>
                  <a:lnTo>
                    <a:pt x="69" y="438"/>
                  </a:lnTo>
                  <a:lnTo>
                    <a:pt x="63" y="418"/>
                  </a:lnTo>
                  <a:lnTo>
                    <a:pt x="69" y="395"/>
                  </a:lnTo>
                  <a:lnTo>
                    <a:pt x="64" y="372"/>
                  </a:lnTo>
                  <a:lnTo>
                    <a:pt x="59" y="368"/>
                  </a:lnTo>
                  <a:lnTo>
                    <a:pt x="40" y="327"/>
                  </a:lnTo>
                  <a:lnTo>
                    <a:pt x="48" y="303"/>
                  </a:lnTo>
                  <a:lnTo>
                    <a:pt x="42" y="280"/>
                  </a:lnTo>
                  <a:lnTo>
                    <a:pt x="45" y="258"/>
                  </a:lnTo>
                  <a:lnTo>
                    <a:pt x="55" y="236"/>
                  </a:lnTo>
                  <a:lnTo>
                    <a:pt x="67" y="221"/>
                  </a:lnTo>
                  <a:lnTo>
                    <a:pt x="60" y="212"/>
                  </a:lnTo>
                  <a:lnTo>
                    <a:pt x="62" y="204"/>
                  </a:lnTo>
                  <a:lnTo>
                    <a:pt x="57" y="165"/>
                  </a:lnTo>
                  <a:lnTo>
                    <a:pt x="77" y="153"/>
                  </a:lnTo>
                  <a:lnTo>
                    <a:pt x="82" y="129"/>
                  </a:lnTo>
                  <a:lnTo>
                    <a:pt x="78" y="122"/>
                  </a:lnTo>
                  <a:lnTo>
                    <a:pt x="64" y="126"/>
                  </a:lnTo>
                  <a:lnTo>
                    <a:pt x="52" y="93"/>
                  </a:lnTo>
                  <a:lnTo>
                    <a:pt x="52" y="93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2" name="China">
              <a:extLst>
                <a:ext uri="{FF2B5EF4-FFF2-40B4-BE49-F238E27FC236}">
                  <a16:creationId xmlns:a16="http://schemas.microsoft.com/office/drawing/2014/main" id="{AFB8716E-7DD7-47E5-8791-CEAC97236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63731" y="2057174"/>
              <a:ext cx="1703387" cy="1319213"/>
            </a:xfrm>
            <a:custGeom>
              <a:avLst/>
              <a:gdLst>
                <a:gd name="T0" fmla="*/ 855 w 1073"/>
                <a:gd name="T1" fmla="*/ 786 h 831"/>
                <a:gd name="T2" fmla="*/ 817 w 1073"/>
                <a:gd name="T3" fmla="*/ 824 h 831"/>
                <a:gd name="T4" fmla="*/ 901 w 1073"/>
                <a:gd name="T5" fmla="*/ 85 h 831"/>
                <a:gd name="T6" fmla="*/ 819 w 1073"/>
                <a:gd name="T7" fmla="*/ 16 h 831"/>
                <a:gd name="T8" fmla="*/ 723 w 1073"/>
                <a:gd name="T9" fmla="*/ 6 h 831"/>
                <a:gd name="T10" fmla="*/ 735 w 1073"/>
                <a:gd name="T11" fmla="*/ 42 h 831"/>
                <a:gd name="T12" fmla="*/ 698 w 1073"/>
                <a:gd name="T13" fmla="*/ 82 h 831"/>
                <a:gd name="T14" fmla="*/ 721 w 1073"/>
                <a:gd name="T15" fmla="*/ 129 h 831"/>
                <a:gd name="T16" fmla="*/ 796 w 1073"/>
                <a:gd name="T17" fmla="*/ 148 h 831"/>
                <a:gd name="T18" fmla="*/ 749 w 1073"/>
                <a:gd name="T19" fmla="*/ 163 h 831"/>
                <a:gd name="T20" fmla="*/ 686 w 1073"/>
                <a:gd name="T21" fmla="*/ 195 h 831"/>
                <a:gd name="T22" fmla="*/ 691 w 1073"/>
                <a:gd name="T23" fmla="*/ 224 h 831"/>
                <a:gd name="T24" fmla="*/ 628 w 1073"/>
                <a:gd name="T25" fmla="*/ 253 h 831"/>
                <a:gd name="T26" fmla="*/ 550 w 1073"/>
                <a:gd name="T27" fmla="*/ 267 h 831"/>
                <a:gd name="T28" fmla="*/ 428 w 1073"/>
                <a:gd name="T29" fmla="*/ 247 h 831"/>
                <a:gd name="T30" fmla="*/ 359 w 1073"/>
                <a:gd name="T31" fmla="*/ 210 h 831"/>
                <a:gd name="T32" fmla="*/ 268 w 1073"/>
                <a:gd name="T33" fmla="*/ 179 h 831"/>
                <a:gd name="T34" fmla="*/ 189 w 1073"/>
                <a:gd name="T35" fmla="*/ 112 h 831"/>
                <a:gd name="T36" fmla="*/ 150 w 1073"/>
                <a:gd name="T37" fmla="*/ 116 h 831"/>
                <a:gd name="T38" fmla="*/ 118 w 1073"/>
                <a:gd name="T39" fmla="*/ 183 h 831"/>
                <a:gd name="T40" fmla="*/ 98 w 1073"/>
                <a:gd name="T41" fmla="*/ 243 h 831"/>
                <a:gd name="T42" fmla="*/ 75 w 1073"/>
                <a:gd name="T43" fmla="*/ 283 h 831"/>
                <a:gd name="T44" fmla="*/ 15 w 1073"/>
                <a:gd name="T45" fmla="*/ 303 h 831"/>
                <a:gd name="T46" fmla="*/ 12 w 1073"/>
                <a:gd name="T47" fmla="*/ 346 h 831"/>
                <a:gd name="T48" fmla="*/ 40 w 1073"/>
                <a:gd name="T49" fmla="*/ 373 h 831"/>
                <a:gd name="T50" fmla="*/ 108 w 1073"/>
                <a:gd name="T51" fmla="*/ 419 h 831"/>
                <a:gd name="T52" fmla="*/ 153 w 1073"/>
                <a:gd name="T53" fmla="*/ 491 h 831"/>
                <a:gd name="T54" fmla="*/ 204 w 1073"/>
                <a:gd name="T55" fmla="*/ 545 h 831"/>
                <a:gd name="T56" fmla="*/ 265 w 1073"/>
                <a:gd name="T57" fmla="*/ 566 h 831"/>
                <a:gd name="T58" fmla="*/ 334 w 1073"/>
                <a:gd name="T59" fmla="*/ 599 h 831"/>
                <a:gd name="T60" fmla="*/ 385 w 1073"/>
                <a:gd name="T61" fmla="*/ 597 h 831"/>
                <a:gd name="T62" fmla="*/ 431 w 1073"/>
                <a:gd name="T63" fmla="*/ 603 h 831"/>
                <a:gd name="T64" fmla="*/ 499 w 1073"/>
                <a:gd name="T65" fmla="*/ 573 h 831"/>
                <a:gd name="T66" fmla="*/ 542 w 1073"/>
                <a:gd name="T67" fmla="*/ 591 h 831"/>
                <a:gd name="T68" fmla="*/ 579 w 1073"/>
                <a:gd name="T69" fmla="*/ 627 h 831"/>
                <a:gd name="T70" fmla="*/ 590 w 1073"/>
                <a:gd name="T71" fmla="*/ 691 h 831"/>
                <a:gd name="T72" fmla="*/ 626 w 1073"/>
                <a:gd name="T73" fmla="*/ 746 h 831"/>
                <a:gd name="T74" fmla="*/ 654 w 1073"/>
                <a:gd name="T75" fmla="*/ 759 h 831"/>
                <a:gd name="T76" fmla="*/ 679 w 1073"/>
                <a:gd name="T77" fmla="*/ 724 h 831"/>
                <a:gd name="T78" fmla="*/ 741 w 1073"/>
                <a:gd name="T79" fmla="*/ 717 h 831"/>
                <a:gd name="T80" fmla="*/ 793 w 1073"/>
                <a:gd name="T81" fmla="*/ 751 h 831"/>
                <a:gd name="T82" fmla="*/ 836 w 1073"/>
                <a:gd name="T83" fmla="*/ 781 h 831"/>
                <a:gd name="T84" fmla="*/ 897 w 1073"/>
                <a:gd name="T85" fmla="*/ 740 h 831"/>
                <a:gd name="T86" fmla="*/ 949 w 1073"/>
                <a:gd name="T87" fmla="*/ 722 h 831"/>
                <a:gd name="T88" fmla="*/ 1018 w 1073"/>
                <a:gd name="T89" fmla="*/ 620 h 831"/>
                <a:gd name="T90" fmla="*/ 1033 w 1073"/>
                <a:gd name="T91" fmla="*/ 555 h 831"/>
                <a:gd name="T92" fmla="*/ 1014 w 1073"/>
                <a:gd name="T93" fmla="*/ 510 h 831"/>
                <a:gd name="T94" fmla="*/ 930 w 1073"/>
                <a:gd name="T95" fmla="*/ 433 h 831"/>
                <a:gd name="T96" fmla="*/ 976 w 1073"/>
                <a:gd name="T97" fmla="*/ 385 h 831"/>
                <a:gd name="T98" fmla="*/ 918 w 1073"/>
                <a:gd name="T99" fmla="*/ 379 h 831"/>
                <a:gd name="T100" fmla="*/ 859 w 1073"/>
                <a:gd name="T101" fmla="*/ 341 h 831"/>
                <a:gd name="T102" fmla="*/ 900 w 1073"/>
                <a:gd name="T103" fmla="*/ 297 h 831"/>
                <a:gd name="T104" fmla="*/ 931 w 1073"/>
                <a:gd name="T105" fmla="*/ 326 h 831"/>
                <a:gd name="T106" fmla="*/ 976 w 1073"/>
                <a:gd name="T107" fmla="*/ 313 h 831"/>
                <a:gd name="T108" fmla="*/ 1015 w 1073"/>
                <a:gd name="T109" fmla="*/ 276 h 831"/>
                <a:gd name="T110" fmla="*/ 1046 w 1073"/>
                <a:gd name="T111" fmla="*/ 242 h 831"/>
                <a:gd name="T112" fmla="*/ 1068 w 1073"/>
                <a:gd name="T113" fmla="*/ 243 h 831"/>
                <a:gd name="T114" fmla="*/ 1073 w 1073"/>
                <a:gd name="T115" fmla="*/ 192 h 831"/>
                <a:gd name="T116" fmla="*/ 1057 w 1073"/>
                <a:gd name="T117" fmla="*/ 115 h 831"/>
                <a:gd name="T118" fmla="*/ 971 w 1073"/>
                <a:gd name="T119" fmla="*/ 109 h 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73" h="831">
                  <a:moveTo>
                    <a:pt x="851" y="819"/>
                  </a:moveTo>
                  <a:lnTo>
                    <a:pt x="853" y="806"/>
                  </a:lnTo>
                  <a:lnTo>
                    <a:pt x="861" y="796"/>
                  </a:lnTo>
                  <a:lnTo>
                    <a:pt x="855" y="786"/>
                  </a:lnTo>
                  <a:lnTo>
                    <a:pt x="843" y="785"/>
                  </a:lnTo>
                  <a:lnTo>
                    <a:pt x="822" y="792"/>
                  </a:lnTo>
                  <a:lnTo>
                    <a:pt x="813" y="803"/>
                  </a:lnTo>
                  <a:lnTo>
                    <a:pt x="817" y="824"/>
                  </a:lnTo>
                  <a:lnTo>
                    <a:pt x="836" y="831"/>
                  </a:lnTo>
                  <a:lnTo>
                    <a:pt x="851" y="819"/>
                  </a:lnTo>
                  <a:lnTo>
                    <a:pt x="851" y="819"/>
                  </a:lnTo>
                  <a:close/>
                  <a:moveTo>
                    <a:pt x="901" y="85"/>
                  </a:moveTo>
                  <a:lnTo>
                    <a:pt x="878" y="63"/>
                  </a:lnTo>
                  <a:lnTo>
                    <a:pt x="862" y="49"/>
                  </a:lnTo>
                  <a:lnTo>
                    <a:pt x="847" y="38"/>
                  </a:lnTo>
                  <a:lnTo>
                    <a:pt x="819" y="16"/>
                  </a:lnTo>
                  <a:lnTo>
                    <a:pt x="796" y="8"/>
                  </a:lnTo>
                  <a:lnTo>
                    <a:pt x="765" y="0"/>
                  </a:lnTo>
                  <a:lnTo>
                    <a:pt x="741" y="1"/>
                  </a:lnTo>
                  <a:lnTo>
                    <a:pt x="723" y="6"/>
                  </a:lnTo>
                  <a:lnTo>
                    <a:pt x="716" y="17"/>
                  </a:lnTo>
                  <a:lnTo>
                    <a:pt x="730" y="22"/>
                  </a:lnTo>
                  <a:lnTo>
                    <a:pt x="739" y="35"/>
                  </a:lnTo>
                  <a:lnTo>
                    <a:pt x="735" y="42"/>
                  </a:lnTo>
                  <a:lnTo>
                    <a:pt x="735" y="66"/>
                  </a:lnTo>
                  <a:lnTo>
                    <a:pt x="742" y="77"/>
                  </a:lnTo>
                  <a:lnTo>
                    <a:pt x="725" y="91"/>
                  </a:lnTo>
                  <a:lnTo>
                    <a:pt x="698" y="82"/>
                  </a:lnTo>
                  <a:lnTo>
                    <a:pt x="701" y="99"/>
                  </a:lnTo>
                  <a:lnTo>
                    <a:pt x="702" y="122"/>
                  </a:lnTo>
                  <a:lnTo>
                    <a:pt x="712" y="133"/>
                  </a:lnTo>
                  <a:lnTo>
                    <a:pt x="721" y="129"/>
                  </a:lnTo>
                  <a:lnTo>
                    <a:pt x="741" y="133"/>
                  </a:lnTo>
                  <a:lnTo>
                    <a:pt x="751" y="124"/>
                  </a:lnTo>
                  <a:lnTo>
                    <a:pt x="769" y="132"/>
                  </a:lnTo>
                  <a:lnTo>
                    <a:pt x="796" y="148"/>
                  </a:lnTo>
                  <a:lnTo>
                    <a:pt x="799" y="156"/>
                  </a:lnTo>
                  <a:lnTo>
                    <a:pt x="783" y="153"/>
                  </a:lnTo>
                  <a:lnTo>
                    <a:pt x="757" y="157"/>
                  </a:lnTo>
                  <a:lnTo>
                    <a:pt x="749" y="163"/>
                  </a:lnTo>
                  <a:lnTo>
                    <a:pt x="743" y="178"/>
                  </a:lnTo>
                  <a:lnTo>
                    <a:pt x="720" y="188"/>
                  </a:lnTo>
                  <a:lnTo>
                    <a:pt x="709" y="200"/>
                  </a:lnTo>
                  <a:lnTo>
                    <a:pt x="686" y="195"/>
                  </a:lnTo>
                  <a:lnTo>
                    <a:pt x="674" y="193"/>
                  </a:lnTo>
                  <a:lnTo>
                    <a:pt x="673" y="208"/>
                  </a:lnTo>
                  <a:lnTo>
                    <a:pt x="683" y="217"/>
                  </a:lnTo>
                  <a:lnTo>
                    <a:pt x="691" y="224"/>
                  </a:lnTo>
                  <a:lnTo>
                    <a:pt x="682" y="232"/>
                  </a:lnTo>
                  <a:lnTo>
                    <a:pt x="674" y="245"/>
                  </a:lnTo>
                  <a:lnTo>
                    <a:pt x="656" y="252"/>
                  </a:lnTo>
                  <a:lnTo>
                    <a:pt x="628" y="253"/>
                  </a:lnTo>
                  <a:lnTo>
                    <a:pt x="601" y="261"/>
                  </a:lnTo>
                  <a:lnTo>
                    <a:pt x="584" y="274"/>
                  </a:lnTo>
                  <a:lnTo>
                    <a:pt x="572" y="266"/>
                  </a:lnTo>
                  <a:lnTo>
                    <a:pt x="550" y="267"/>
                  </a:lnTo>
                  <a:lnTo>
                    <a:pt x="514" y="252"/>
                  </a:lnTo>
                  <a:lnTo>
                    <a:pt x="494" y="249"/>
                  </a:lnTo>
                  <a:lnTo>
                    <a:pt x="471" y="252"/>
                  </a:lnTo>
                  <a:lnTo>
                    <a:pt x="428" y="247"/>
                  </a:lnTo>
                  <a:lnTo>
                    <a:pt x="408" y="247"/>
                  </a:lnTo>
                  <a:lnTo>
                    <a:pt x="390" y="234"/>
                  </a:lnTo>
                  <a:lnTo>
                    <a:pt x="372" y="213"/>
                  </a:lnTo>
                  <a:lnTo>
                    <a:pt x="359" y="210"/>
                  </a:lnTo>
                  <a:lnTo>
                    <a:pt x="330" y="196"/>
                  </a:lnTo>
                  <a:lnTo>
                    <a:pt x="303" y="192"/>
                  </a:lnTo>
                  <a:lnTo>
                    <a:pt x="279" y="189"/>
                  </a:lnTo>
                  <a:lnTo>
                    <a:pt x="268" y="179"/>
                  </a:lnTo>
                  <a:lnTo>
                    <a:pt x="263" y="151"/>
                  </a:lnTo>
                  <a:lnTo>
                    <a:pt x="242" y="133"/>
                  </a:lnTo>
                  <a:lnTo>
                    <a:pt x="211" y="124"/>
                  </a:lnTo>
                  <a:lnTo>
                    <a:pt x="189" y="112"/>
                  </a:lnTo>
                  <a:lnTo>
                    <a:pt x="177" y="95"/>
                  </a:lnTo>
                  <a:lnTo>
                    <a:pt x="171" y="97"/>
                  </a:lnTo>
                  <a:lnTo>
                    <a:pt x="164" y="113"/>
                  </a:lnTo>
                  <a:lnTo>
                    <a:pt x="150" y="116"/>
                  </a:lnTo>
                  <a:lnTo>
                    <a:pt x="160" y="138"/>
                  </a:lnTo>
                  <a:lnTo>
                    <a:pt x="154" y="149"/>
                  </a:lnTo>
                  <a:lnTo>
                    <a:pt x="114" y="142"/>
                  </a:lnTo>
                  <a:lnTo>
                    <a:pt x="118" y="183"/>
                  </a:lnTo>
                  <a:lnTo>
                    <a:pt x="110" y="189"/>
                  </a:lnTo>
                  <a:lnTo>
                    <a:pt x="76" y="197"/>
                  </a:lnTo>
                  <a:lnTo>
                    <a:pt x="109" y="237"/>
                  </a:lnTo>
                  <a:lnTo>
                    <a:pt x="98" y="243"/>
                  </a:lnTo>
                  <a:lnTo>
                    <a:pt x="105" y="256"/>
                  </a:lnTo>
                  <a:lnTo>
                    <a:pt x="104" y="261"/>
                  </a:lnTo>
                  <a:lnTo>
                    <a:pt x="78" y="275"/>
                  </a:lnTo>
                  <a:lnTo>
                    <a:pt x="75" y="283"/>
                  </a:lnTo>
                  <a:lnTo>
                    <a:pt x="50" y="286"/>
                  </a:lnTo>
                  <a:lnTo>
                    <a:pt x="48" y="301"/>
                  </a:lnTo>
                  <a:lnTo>
                    <a:pt x="27" y="298"/>
                  </a:lnTo>
                  <a:lnTo>
                    <a:pt x="15" y="303"/>
                  </a:lnTo>
                  <a:lnTo>
                    <a:pt x="0" y="314"/>
                  </a:lnTo>
                  <a:lnTo>
                    <a:pt x="5" y="319"/>
                  </a:lnTo>
                  <a:lnTo>
                    <a:pt x="1" y="325"/>
                  </a:lnTo>
                  <a:lnTo>
                    <a:pt x="12" y="346"/>
                  </a:lnTo>
                  <a:lnTo>
                    <a:pt x="18" y="345"/>
                  </a:lnTo>
                  <a:lnTo>
                    <a:pt x="31" y="349"/>
                  </a:lnTo>
                  <a:lnTo>
                    <a:pt x="33" y="359"/>
                  </a:lnTo>
                  <a:lnTo>
                    <a:pt x="40" y="373"/>
                  </a:lnTo>
                  <a:lnTo>
                    <a:pt x="45" y="380"/>
                  </a:lnTo>
                  <a:lnTo>
                    <a:pt x="62" y="391"/>
                  </a:lnTo>
                  <a:lnTo>
                    <a:pt x="74" y="410"/>
                  </a:lnTo>
                  <a:lnTo>
                    <a:pt x="108" y="419"/>
                  </a:lnTo>
                  <a:lnTo>
                    <a:pt x="137" y="447"/>
                  </a:lnTo>
                  <a:lnTo>
                    <a:pt x="140" y="467"/>
                  </a:lnTo>
                  <a:lnTo>
                    <a:pt x="151" y="479"/>
                  </a:lnTo>
                  <a:lnTo>
                    <a:pt x="153" y="491"/>
                  </a:lnTo>
                  <a:lnTo>
                    <a:pt x="138" y="488"/>
                  </a:lnTo>
                  <a:lnTo>
                    <a:pt x="150" y="514"/>
                  </a:lnTo>
                  <a:lnTo>
                    <a:pt x="173" y="529"/>
                  </a:lnTo>
                  <a:lnTo>
                    <a:pt x="204" y="545"/>
                  </a:lnTo>
                  <a:lnTo>
                    <a:pt x="212" y="540"/>
                  </a:lnTo>
                  <a:lnTo>
                    <a:pt x="230" y="547"/>
                  </a:lnTo>
                  <a:lnTo>
                    <a:pt x="253" y="563"/>
                  </a:lnTo>
                  <a:lnTo>
                    <a:pt x="265" y="566"/>
                  </a:lnTo>
                  <a:lnTo>
                    <a:pt x="274" y="578"/>
                  </a:lnTo>
                  <a:lnTo>
                    <a:pt x="291" y="583"/>
                  </a:lnTo>
                  <a:lnTo>
                    <a:pt x="310" y="593"/>
                  </a:lnTo>
                  <a:lnTo>
                    <a:pt x="334" y="599"/>
                  </a:lnTo>
                  <a:lnTo>
                    <a:pt x="358" y="600"/>
                  </a:lnTo>
                  <a:lnTo>
                    <a:pt x="370" y="596"/>
                  </a:lnTo>
                  <a:lnTo>
                    <a:pt x="375" y="614"/>
                  </a:lnTo>
                  <a:lnTo>
                    <a:pt x="385" y="597"/>
                  </a:lnTo>
                  <a:lnTo>
                    <a:pt x="395" y="590"/>
                  </a:lnTo>
                  <a:lnTo>
                    <a:pt x="410" y="596"/>
                  </a:lnTo>
                  <a:lnTo>
                    <a:pt x="421" y="597"/>
                  </a:lnTo>
                  <a:lnTo>
                    <a:pt x="431" y="603"/>
                  </a:lnTo>
                  <a:lnTo>
                    <a:pt x="447" y="600"/>
                  </a:lnTo>
                  <a:lnTo>
                    <a:pt x="461" y="583"/>
                  </a:lnTo>
                  <a:lnTo>
                    <a:pt x="481" y="568"/>
                  </a:lnTo>
                  <a:lnTo>
                    <a:pt x="499" y="573"/>
                  </a:lnTo>
                  <a:lnTo>
                    <a:pt x="512" y="563"/>
                  </a:lnTo>
                  <a:lnTo>
                    <a:pt x="525" y="578"/>
                  </a:lnTo>
                  <a:lnTo>
                    <a:pt x="520" y="588"/>
                  </a:lnTo>
                  <a:lnTo>
                    <a:pt x="542" y="591"/>
                  </a:lnTo>
                  <a:lnTo>
                    <a:pt x="554" y="590"/>
                  </a:lnTo>
                  <a:lnTo>
                    <a:pt x="564" y="603"/>
                  </a:lnTo>
                  <a:lnTo>
                    <a:pt x="574" y="609"/>
                  </a:lnTo>
                  <a:lnTo>
                    <a:pt x="579" y="627"/>
                  </a:lnTo>
                  <a:lnTo>
                    <a:pt x="582" y="647"/>
                  </a:lnTo>
                  <a:lnTo>
                    <a:pt x="567" y="667"/>
                  </a:lnTo>
                  <a:lnTo>
                    <a:pt x="569" y="695"/>
                  </a:lnTo>
                  <a:lnTo>
                    <a:pt x="590" y="691"/>
                  </a:lnTo>
                  <a:lnTo>
                    <a:pt x="598" y="713"/>
                  </a:lnTo>
                  <a:lnTo>
                    <a:pt x="612" y="718"/>
                  </a:lnTo>
                  <a:lnTo>
                    <a:pt x="610" y="738"/>
                  </a:lnTo>
                  <a:lnTo>
                    <a:pt x="626" y="746"/>
                  </a:lnTo>
                  <a:lnTo>
                    <a:pt x="636" y="751"/>
                  </a:lnTo>
                  <a:lnTo>
                    <a:pt x="650" y="744"/>
                  </a:lnTo>
                  <a:lnTo>
                    <a:pt x="653" y="754"/>
                  </a:lnTo>
                  <a:lnTo>
                    <a:pt x="654" y="759"/>
                  </a:lnTo>
                  <a:lnTo>
                    <a:pt x="666" y="760"/>
                  </a:lnTo>
                  <a:lnTo>
                    <a:pt x="658" y="733"/>
                  </a:lnTo>
                  <a:lnTo>
                    <a:pt x="668" y="729"/>
                  </a:lnTo>
                  <a:lnTo>
                    <a:pt x="679" y="724"/>
                  </a:lnTo>
                  <a:lnTo>
                    <a:pt x="695" y="724"/>
                  </a:lnTo>
                  <a:lnTo>
                    <a:pt x="714" y="721"/>
                  </a:lnTo>
                  <a:lnTo>
                    <a:pt x="730" y="708"/>
                  </a:lnTo>
                  <a:lnTo>
                    <a:pt x="741" y="717"/>
                  </a:lnTo>
                  <a:lnTo>
                    <a:pt x="761" y="721"/>
                  </a:lnTo>
                  <a:lnTo>
                    <a:pt x="760" y="735"/>
                  </a:lnTo>
                  <a:lnTo>
                    <a:pt x="771" y="745"/>
                  </a:lnTo>
                  <a:lnTo>
                    <a:pt x="793" y="751"/>
                  </a:lnTo>
                  <a:lnTo>
                    <a:pt x="802" y="747"/>
                  </a:lnTo>
                  <a:lnTo>
                    <a:pt x="831" y="754"/>
                  </a:lnTo>
                  <a:lnTo>
                    <a:pt x="827" y="764"/>
                  </a:lnTo>
                  <a:lnTo>
                    <a:pt x="836" y="781"/>
                  </a:lnTo>
                  <a:lnTo>
                    <a:pt x="847" y="780"/>
                  </a:lnTo>
                  <a:lnTo>
                    <a:pt x="850" y="754"/>
                  </a:lnTo>
                  <a:lnTo>
                    <a:pt x="871" y="751"/>
                  </a:lnTo>
                  <a:lnTo>
                    <a:pt x="897" y="740"/>
                  </a:lnTo>
                  <a:lnTo>
                    <a:pt x="907" y="727"/>
                  </a:lnTo>
                  <a:lnTo>
                    <a:pt x="916" y="735"/>
                  </a:lnTo>
                  <a:lnTo>
                    <a:pt x="926" y="725"/>
                  </a:lnTo>
                  <a:lnTo>
                    <a:pt x="949" y="722"/>
                  </a:lnTo>
                  <a:lnTo>
                    <a:pt x="974" y="702"/>
                  </a:lnTo>
                  <a:lnTo>
                    <a:pt x="997" y="680"/>
                  </a:lnTo>
                  <a:lnTo>
                    <a:pt x="1009" y="652"/>
                  </a:lnTo>
                  <a:lnTo>
                    <a:pt x="1018" y="620"/>
                  </a:lnTo>
                  <a:lnTo>
                    <a:pt x="1026" y="594"/>
                  </a:lnTo>
                  <a:lnTo>
                    <a:pt x="1036" y="592"/>
                  </a:lnTo>
                  <a:lnTo>
                    <a:pt x="1035" y="573"/>
                  </a:lnTo>
                  <a:lnTo>
                    <a:pt x="1033" y="555"/>
                  </a:lnTo>
                  <a:lnTo>
                    <a:pt x="1019" y="547"/>
                  </a:lnTo>
                  <a:lnTo>
                    <a:pt x="1009" y="534"/>
                  </a:lnTo>
                  <a:lnTo>
                    <a:pt x="1019" y="528"/>
                  </a:lnTo>
                  <a:lnTo>
                    <a:pt x="1014" y="510"/>
                  </a:lnTo>
                  <a:lnTo>
                    <a:pt x="993" y="492"/>
                  </a:lnTo>
                  <a:lnTo>
                    <a:pt x="974" y="471"/>
                  </a:lnTo>
                  <a:lnTo>
                    <a:pt x="956" y="446"/>
                  </a:lnTo>
                  <a:lnTo>
                    <a:pt x="930" y="433"/>
                  </a:lnTo>
                  <a:lnTo>
                    <a:pt x="933" y="416"/>
                  </a:lnTo>
                  <a:lnTo>
                    <a:pt x="948" y="404"/>
                  </a:lnTo>
                  <a:lnTo>
                    <a:pt x="951" y="391"/>
                  </a:lnTo>
                  <a:lnTo>
                    <a:pt x="976" y="385"/>
                  </a:lnTo>
                  <a:lnTo>
                    <a:pt x="967" y="372"/>
                  </a:lnTo>
                  <a:lnTo>
                    <a:pt x="954" y="372"/>
                  </a:lnTo>
                  <a:lnTo>
                    <a:pt x="933" y="362"/>
                  </a:lnTo>
                  <a:lnTo>
                    <a:pt x="918" y="379"/>
                  </a:lnTo>
                  <a:lnTo>
                    <a:pt x="900" y="372"/>
                  </a:lnTo>
                  <a:lnTo>
                    <a:pt x="894" y="361"/>
                  </a:lnTo>
                  <a:lnTo>
                    <a:pt x="877" y="358"/>
                  </a:lnTo>
                  <a:lnTo>
                    <a:pt x="859" y="341"/>
                  </a:lnTo>
                  <a:lnTo>
                    <a:pt x="864" y="330"/>
                  </a:lnTo>
                  <a:lnTo>
                    <a:pt x="882" y="329"/>
                  </a:lnTo>
                  <a:lnTo>
                    <a:pt x="887" y="314"/>
                  </a:lnTo>
                  <a:lnTo>
                    <a:pt x="900" y="297"/>
                  </a:lnTo>
                  <a:lnTo>
                    <a:pt x="913" y="289"/>
                  </a:lnTo>
                  <a:lnTo>
                    <a:pt x="929" y="301"/>
                  </a:lnTo>
                  <a:lnTo>
                    <a:pt x="922" y="317"/>
                  </a:lnTo>
                  <a:lnTo>
                    <a:pt x="931" y="326"/>
                  </a:lnTo>
                  <a:lnTo>
                    <a:pt x="925" y="337"/>
                  </a:lnTo>
                  <a:lnTo>
                    <a:pt x="944" y="331"/>
                  </a:lnTo>
                  <a:lnTo>
                    <a:pt x="952" y="319"/>
                  </a:lnTo>
                  <a:lnTo>
                    <a:pt x="976" y="313"/>
                  </a:lnTo>
                  <a:lnTo>
                    <a:pt x="984" y="298"/>
                  </a:lnTo>
                  <a:lnTo>
                    <a:pt x="998" y="285"/>
                  </a:lnTo>
                  <a:lnTo>
                    <a:pt x="1002" y="269"/>
                  </a:lnTo>
                  <a:lnTo>
                    <a:pt x="1015" y="276"/>
                  </a:lnTo>
                  <a:lnTo>
                    <a:pt x="1033" y="276"/>
                  </a:lnTo>
                  <a:lnTo>
                    <a:pt x="1022" y="264"/>
                  </a:lnTo>
                  <a:lnTo>
                    <a:pt x="1046" y="255"/>
                  </a:lnTo>
                  <a:lnTo>
                    <a:pt x="1046" y="242"/>
                  </a:lnTo>
                  <a:lnTo>
                    <a:pt x="1066" y="255"/>
                  </a:lnTo>
                  <a:lnTo>
                    <a:pt x="1066" y="255"/>
                  </a:lnTo>
                  <a:lnTo>
                    <a:pt x="1059" y="244"/>
                  </a:lnTo>
                  <a:lnTo>
                    <a:pt x="1068" y="243"/>
                  </a:lnTo>
                  <a:lnTo>
                    <a:pt x="1054" y="216"/>
                  </a:lnTo>
                  <a:lnTo>
                    <a:pt x="1036" y="196"/>
                  </a:lnTo>
                  <a:lnTo>
                    <a:pt x="1048" y="188"/>
                  </a:lnTo>
                  <a:lnTo>
                    <a:pt x="1073" y="192"/>
                  </a:lnTo>
                  <a:lnTo>
                    <a:pt x="1071" y="170"/>
                  </a:lnTo>
                  <a:lnTo>
                    <a:pt x="1060" y="144"/>
                  </a:lnTo>
                  <a:lnTo>
                    <a:pt x="1062" y="135"/>
                  </a:lnTo>
                  <a:lnTo>
                    <a:pt x="1057" y="115"/>
                  </a:lnTo>
                  <a:lnTo>
                    <a:pt x="1031" y="121"/>
                  </a:lnTo>
                  <a:lnTo>
                    <a:pt x="1021" y="131"/>
                  </a:lnTo>
                  <a:lnTo>
                    <a:pt x="993" y="131"/>
                  </a:lnTo>
                  <a:lnTo>
                    <a:pt x="971" y="109"/>
                  </a:lnTo>
                  <a:lnTo>
                    <a:pt x="937" y="92"/>
                  </a:lnTo>
                  <a:lnTo>
                    <a:pt x="901" y="85"/>
                  </a:lnTo>
                  <a:lnTo>
                    <a:pt x="901" y="85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3" name="Côte d'Ivoire">
              <a:extLst>
                <a:ext uri="{FF2B5EF4-FFF2-40B4-BE49-F238E27FC236}">
                  <a16:creationId xmlns:a16="http://schemas.microsoft.com/office/drawing/2014/main" id="{823CA8A4-8CAB-40A0-A6D4-19B157A0C0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9444" y="3665311"/>
              <a:ext cx="200025" cy="233363"/>
            </a:xfrm>
            <a:custGeom>
              <a:avLst/>
              <a:gdLst>
                <a:gd name="T0" fmla="*/ 67 w 126"/>
                <a:gd name="T1" fmla="*/ 4 h 147"/>
                <a:gd name="T2" fmla="*/ 59 w 126"/>
                <a:gd name="T3" fmla="*/ 7 h 147"/>
                <a:gd name="T4" fmla="*/ 54 w 126"/>
                <a:gd name="T5" fmla="*/ 10 h 147"/>
                <a:gd name="T6" fmla="*/ 51 w 126"/>
                <a:gd name="T7" fmla="*/ 0 h 147"/>
                <a:gd name="T8" fmla="*/ 45 w 126"/>
                <a:gd name="T9" fmla="*/ 3 h 147"/>
                <a:gd name="T10" fmla="*/ 41 w 126"/>
                <a:gd name="T11" fmla="*/ 2 h 147"/>
                <a:gd name="T12" fmla="*/ 38 w 126"/>
                <a:gd name="T13" fmla="*/ 9 h 147"/>
                <a:gd name="T14" fmla="*/ 21 w 126"/>
                <a:gd name="T15" fmla="*/ 8 h 147"/>
                <a:gd name="T16" fmla="*/ 15 w 126"/>
                <a:gd name="T17" fmla="*/ 5 h 147"/>
                <a:gd name="T18" fmla="*/ 12 w 126"/>
                <a:gd name="T19" fmla="*/ 8 h 147"/>
                <a:gd name="T20" fmla="*/ 9 w 126"/>
                <a:gd name="T21" fmla="*/ 9 h 147"/>
                <a:gd name="T22" fmla="*/ 7 w 126"/>
                <a:gd name="T23" fmla="*/ 18 h 147"/>
                <a:gd name="T24" fmla="*/ 11 w 126"/>
                <a:gd name="T25" fmla="*/ 27 h 147"/>
                <a:gd name="T26" fmla="*/ 16 w 126"/>
                <a:gd name="T27" fmla="*/ 46 h 147"/>
                <a:gd name="T28" fmla="*/ 9 w 126"/>
                <a:gd name="T29" fmla="*/ 50 h 147"/>
                <a:gd name="T30" fmla="*/ 7 w 126"/>
                <a:gd name="T31" fmla="*/ 52 h 147"/>
                <a:gd name="T32" fmla="*/ 8 w 126"/>
                <a:gd name="T33" fmla="*/ 57 h 147"/>
                <a:gd name="T34" fmla="*/ 7 w 126"/>
                <a:gd name="T35" fmla="*/ 67 h 147"/>
                <a:gd name="T36" fmla="*/ 4 w 126"/>
                <a:gd name="T37" fmla="*/ 67 h 147"/>
                <a:gd name="T38" fmla="*/ 2 w 126"/>
                <a:gd name="T39" fmla="*/ 74 h 147"/>
                <a:gd name="T40" fmla="*/ 5 w 126"/>
                <a:gd name="T41" fmla="*/ 86 h 147"/>
                <a:gd name="T42" fmla="*/ 0 w 126"/>
                <a:gd name="T43" fmla="*/ 96 h 147"/>
                <a:gd name="T44" fmla="*/ 6 w 126"/>
                <a:gd name="T45" fmla="*/ 103 h 147"/>
                <a:gd name="T46" fmla="*/ 13 w 126"/>
                <a:gd name="T47" fmla="*/ 105 h 147"/>
                <a:gd name="T48" fmla="*/ 22 w 126"/>
                <a:gd name="T49" fmla="*/ 115 h 147"/>
                <a:gd name="T50" fmla="*/ 23 w 126"/>
                <a:gd name="T51" fmla="*/ 124 h 147"/>
                <a:gd name="T52" fmla="*/ 21 w 126"/>
                <a:gd name="T53" fmla="*/ 127 h 147"/>
                <a:gd name="T54" fmla="*/ 19 w 126"/>
                <a:gd name="T55" fmla="*/ 147 h 147"/>
                <a:gd name="T56" fmla="*/ 23 w 126"/>
                <a:gd name="T57" fmla="*/ 147 h 147"/>
                <a:gd name="T58" fmla="*/ 43 w 126"/>
                <a:gd name="T59" fmla="*/ 138 h 147"/>
                <a:gd name="T60" fmla="*/ 58 w 126"/>
                <a:gd name="T61" fmla="*/ 132 h 147"/>
                <a:gd name="T62" fmla="*/ 82 w 126"/>
                <a:gd name="T63" fmla="*/ 127 h 147"/>
                <a:gd name="T64" fmla="*/ 96 w 126"/>
                <a:gd name="T65" fmla="*/ 127 h 147"/>
                <a:gd name="T66" fmla="*/ 110 w 126"/>
                <a:gd name="T67" fmla="*/ 132 h 147"/>
                <a:gd name="T68" fmla="*/ 121 w 126"/>
                <a:gd name="T69" fmla="*/ 132 h 147"/>
                <a:gd name="T70" fmla="*/ 122 w 126"/>
                <a:gd name="T71" fmla="*/ 122 h 147"/>
                <a:gd name="T72" fmla="*/ 112 w 126"/>
                <a:gd name="T73" fmla="*/ 102 h 147"/>
                <a:gd name="T74" fmla="*/ 118 w 126"/>
                <a:gd name="T75" fmla="*/ 75 h 147"/>
                <a:gd name="T76" fmla="*/ 126 w 126"/>
                <a:gd name="T77" fmla="*/ 55 h 147"/>
                <a:gd name="T78" fmla="*/ 122 w 126"/>
                <a:gd name="T79" fmla="*/ 21 h 147"/>
                <a:gd name="T80" fmla="*/ 107 w 126"/>
                <a:gd name="T81" fmla="*/ 15 h 147"/>
                <a:gd name="T82" fmla="*/ 97 w 126"/>
                <a:gd name="T83" fmla="*/ 16 h 147"/>
                <a:gd name="T84" fmla="*/ 90 w 126"/>
                <a:gd name="T85" fmla="*/ 22 h 147"/>
                <a:gd name="T86" fmla="*/ 81 w 126"/>
                <a:gd name="T87" fmla="*/ 17 h 147"/>
                <a:gd name="T88" fmla="*/ 77 w 126"/>
                <a:gd name="T89" fmla="*/ 8 h 147"/>
                <a:gd name="T90" fmla="*/ 67 w 126"/>
                <a:gd name="T91" fmla="*/ 4 h 147"/>
                <a:gd name="T92" fmla="*/ 67 w 126"/>
                <a:gd name="T93" fmla="*/ 4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6" h="147">
                  <a:moveTo>
                    <a:pt x="67" y="4"/>
                  </a:moveTo>
                  <a:lnTo>
                    <a:pt x="59" y="7"/>
                  </a:lnTo>
                  <a:lnTo>
                    <a:pt x="54" y="10"/>
                  </a:lnTo>
                  <a:lnTo>
                    <a:pt x="51" y="0"/>
                  </a:lnTo>
                  <a:lnTo>
                    <a:pt x="45" y="3"/>
                  </a:lnTo>
                  <a:lnTo>
                    <a:pt x="41" y="2"/>
                  </a:lnTo>
                  <a:lnTo>
                    <a:pt x="38" y="9"/>
                  </a:lnTo>
                  <a:lnTo>
                    <a:pt x="21" y="8"/>
                  </a:lnTo>
                  <a:lnTo>
                    <a:pt x="15" y="5"/>
                  </a:lnTo>
                  <a:lnTo>
                    <a:pt x="12" y="8"/>
                  </a:lnTo>
                  <a:lnTo>
                    <a:pt x="9" y="9"/>
                  </a:lnTo>
                  <a:lnTo>
                    <a:pt x="7" y="18"/>
                  </a:lnTo>
                  <a:lnTo>
                    <a:pt x="11" y="27"/>
                  </a:lnTo>
                  <a:lnTo>
                    <a:pt x="16" y="46"/>
                  </a:lnTo>
                  <a:lnTo>
                    <a:pt x="9" y="50"/>
                  </a:lnTo>
                  <a:lnTo>
                    <a:pt x="7" y="52"/>
                  </a:lnTo>
                  <a:lnTo>
                    <a:pt x="8" y="57"/>
                  </a:lnTo>
                  <a:lnTo>
                    <a:pt x="7" y="67"/>
                  </a:lnTo>
                  <a:lnTo>
                    <a:pt x="4" y="67"/>
                  </a:lnTo>
                  <a:lnTo>
                    <a:pt x="2" y="74"/>
                  </a:lnTo>
                  <a:lnTo>
                    <a:pt x="5" y="86"/>
                  </a:lnTo>
                  <a:lnTo>
                    <a:pt x="0" y="96"/>
                  </a:lnTo>
                  <a:lnTo>
                    <a:pt x="6" y="103"/>
                  </a:lnTo>
                  <a:lnTo>
                    <a:pt x="13" y="105"/>
                  </a:lnTo>
                  <a:lnTo>
                    <a:pt x="22" y="115"/>
                  </a:lnTo>
                  <a:lnTo>
                    <a:pt x="23" y="124"/>
                  </a:lnTo>
                  <a:lnTo>
                    <a:pt x="21" y="127"/>
                  </a:lnTo>
                  <a:lnTo>
                    <a:pt x="19" y="147"/>
                  </a:lnTo>
                  <a:lnTo>
                    <a:pt x="23" y="147"/>
                  </a:lnTo>
                  <a:lnTo>
                    <a:pt x="43" y="138"/>
                  </a:lnTo>
                  <a:lnTo>
                    <a:pt x="58" y="132"/>
                  </a:lnTo>
                  <a:lnTo>
                    <a:pt x="82" y="127"/>
                  </a:lnTo>
                  <a:lnTo>
                    <a:pt x="96" y="127"/>
                  </a:lnTo>
                  <a:lnTo>
                    <a:pt x="110" y="132"/>
                  </a:lnTo>
                  <a:lnTo>
                    <a:pt x="121" y="132"/>
                  </a:lnTo>
                  <a:lnTo>
                    <a:pt x="122" y="122"/>
                  </a:lnTo>
                  <a:lnTo>
                    <a:pt x="112" y="102"/>
                  </a:lnTo>
                  <a:lnTo>
                    <a:pt x="118" y="75"/>
                  </a:lnTo>
                  <a:lnTo>
                    <a:pt x="126" y="55"/>
                  </a:lnTo>
                  <a:lnTo>
                    <a:pt x="122" y="21"/>
                  </a:lnTo>
                  <a:lnTo>
                    <a:pt x="107" y="15"/>
                  </a:lnTo>
                  <a:lnTo>
                    <a:pt x="97" y="16"/>
                  </a:lnTo>
                  <a:lnTo>
                    <a:pt x="90" y="22"/>
                  </a:lnTo>
                  <a:lnTo>
                    <a:pt x="81" y="17"/>
                  </a:lnTo>
                  <a:lnTo>
                    <a:pt x="77" y="8"/>
                  </a:lnTo>
                  <a:lnTo>
                    <a:pt x="67" y="4"/>
                  </a:lnTo>
                  <a:lnTo>
                    <a:pt x="67" y="4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4" name="Cameroon">
              <a:extLst>
                <a:ext uri="{FF2B5EF4-FFF2-40B4-BE49-F238E27FC236}">
                  <a16:creationId xmlns:a16="http://schemas.microsoft.com/office/drawing/2014/main" id="{E73E7BA9-1FFC-4B7D-BF4B-AFBC06F368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9356" y="3576411"/>
              <a:ext cx="250825" cy="420688"/>
            </a:xfrm>
            <a:custGeom>
              <a:avLst/>
              <a:gdLst>
                <a:gd name="T0" fmla="*/ 132 w 158"/>
                <a:gd name="T1" fmla="*/ 48 h 265"/>
                <a:gd name="T2" fmla="*/ 133 w 158"/>
                <a:gd name="T3" fmla="*/ 31 h 265"/>
                <a:gd name="T4" fmla="*/ 131 w 158"/>
                <a:gd name="T5" fmla="*/ 16 h 265"/>
                <a:gd name="T6" fmla="*/ 123 w 158"/>
                <a:gd name="T7" fmla="*/ 0 h 265"/>
                <a:gd name="T8" fmla="*/ 117 w 158"/>
                <a:gd name="T9" fmla="*/ 2 h 265"/>
                <a:gd name="T10" fmla="*/ 116 w 158"/>
                <a:gd name="T11" fmla="*/ 9 h 265"/>
                <a:gd name="T12" fmla="*/ 125 w 158"/>
                <a:gd name="T13" fmla="*/ 19 h 265"/>
                <a:gd name="T14" fmla="*/ 123 w 158"/>
                <a:gd name="T15" fmla="*/ 23 h 265"/>
                <a:gd name="T16" fmla="*/ 122 w 158"/>
                <a:gd name="T17" fmla="*/ 31 h 265"/>
                <a:gd name="T18" fmla="*/ 104 w 158"/>
                <a:gd name="T19" fmla="*/ 50 h 265"/>
                <a:gd name="T20" fmla="*/ 99 w 158"/>
                <a:gd name="T21" fmla="*/ 64 h 265"/>
                <a:gd name="T22" fmla="*/ 97 w 158"/>
                <a:gd name="T23" fmla="*/ 77 h 265"/>
                <a:gd name="T24" fmla="*/ 92 w 158"/>
                <a:gd name="T25" fmla="*/ 82 h 265"/>
                <a:gd name="T26" fmla="*/ 88 w 158"/>
                <a:gd name="T27" fmla="*/ 99 h 265"/>
                <a:gd name="T28" fmla="*/ 76 w 158"/>
                <a:gd name="T29" fmla="*/ 108 h 265"/>
                <a:gd name="T30" fmla="*/ 74 w 158"/>
                <a:gd name="T31" fmla="*/ 120 h 265"/>
                <a:gd name="T32" fmla="*/ 69 w 158"/>
                <a:gd name="T33" fmla="*/ 130 h 265"/>
                <a:gd name="T34" fmla="*/ 67 w 158"/>
                <a:gd name="T35" fmla="*/ 140 h 265"/>
                <a:gd name="T36" fmla="*/ 53 w 158"/>
                <a:gd name="T37" fmla="*/ 149 h 265"/>
                <a:gd name="T38" fmla="*/ 41 w 158"/>
                <a:gd name="T39" fmla="*/ 138 h 265"/>
                <a:gd name="T40" fmla="*/ 33 w 158"/>
                <a:gd name="T41" fmla="*/ 139 h 265"/>
                <a:gd name="T42" fmla="*/ 20 w 158"/>
                <a:gd name="T43" fmla="*/ 152 h 265"/>
                <a:gd name="T44" fmla="*/ 15 w 158"/>
                <a:gd name="T45" fmla="*/ 153 h 265"/>
                <a:gd name="T46" fmla="*/ 4 w 158"/>
                <a:gd name="T47" fmla="*/ 176 h 265"/>
                <a:gd name="T48" fmla="*/ 0 w 158"/>
                <a:gd name="T49" fmla="*/ 192 h 265"/>
                <a:gd name="T50" fmla="*/ 0 w 158"/>
                <a:gd name="T51" fmla="*/ 199 h 265"/>
                <a:gd name="T52" fmla="*/ 4 w 158"/>
                <a:gd name="T53" fmla="*/ 203 h 265"/>
                <a:gd name="T54" fmla="*/ 9 w 158"/>
                <a:gd name="T55" fmla="*/ 213 h 265"/>
                <a:gd name="T56" fmla="*/ 18 w 158"/>
                <a:gd name="T57" fmla="*/ 218 h 265"/>
                <a:gd name="T58" fmla="*/ 27 w 158"/>
                <a:gd name="T59" fmla="*/ 233 h 265"/>
                <a:gd name="T60" fmla="*/ 24 w 158"/>
                <a:gd name="T61" fmla="*/ 251 h 265"/>
                <a:gd name="T62" fmla="*/ 58 w 158"/>
                <a:gd name="T63" fmla="*/ 252 h 265"/>
                <a:gd name="T64" fmla="*/ 68 w 158"/>
                <a:gd name="T65" fmla="*/ 251 h 265"/>
                <a:gd name="T66" fmla="*/ 80 w 158"/>
                <a:gd name="T67" fmla="*/ 254 h 265"/>
                <a:gd name="T68" fmla="*/ 93 w 158"/>
                <a:gd name="T69" fmla="*/ 251 h 265"/>
                <a:gd name="T70" fmla="*/ 96 w 158"/>
                <a:gd name="T71" fmla="*/ 252 h 265"/>
                <a:gd name="T72" fmla="*/ 122 w 158"/>
                <a:gd name="T73" fmla="*/ 253 h 265"/>
                <a:gd name="T74" fmla="*/ 139 w 158"/>
                <a:gd name="T75" fmla="*/ 260 h 265"/>
                <a:gd name="T76" fmla="*/ 156 w 158"/>
                <a:gd name="T77" fmla="*/ 265 h 265"/>
                <a:gd name="T78" fmla="*/ 158 w 158"/>
                <a:gd name="T79" fmla="*/ 252 h 265"/>
                <a:gd name="T80" fmla="*/ 155 w 158"/>
                <a:gd name="T81" fmla="*/ 246 h 265"/>
                <a:gd name="T82" fmla="*/ 154 w 158"/>
                <a:gd name="T83" fmla="*/ 234 h 265"/>
                <a:gd name="T84" fmla="*/ 144 w 158"/>
                <a:gd name="T85" fmla="*/ 227 h 265"/>
                <a:gd name="T86" fmla="*/ 136 w 158"/>
                <a:gd name="T87" fmla="*/ 215 h 265"/>
                <a:gd name="T88" fmla="*/ 134 w 158"/>
                <a:gd name="T89" fmla="*/ 206 h 265"/>
                <a:gd name="T90" fmla="*/ 125 w 158"/>
                <a:gd name="T91" fmla="*/ 193 h 265"/>
                <a:gd name="T92" fmla="*/ 127 w 158"/>
                <a:gd name="T93" fmla="*/ 187 h 265"/>
                <a:gd name="T94" fmla="*/ 124 w 158"/>
                <a:gd name="T95" fmla="*/ 177 h 265"/>
                <a:gd name="T96" fmla="*/ 126 w 158"/>
                <a:gd name="T97" fmla="*/ 158 h 265"/>
                <a:gd name="T98" fmla="*/ 130 w 158"/>
                <a:gd name="T99" fmla="*/ 154 h 265"/>
                <a:gd name="T100" fmla="*/ 141 w 158"/>
                <a:gd name="T101" fmla="*/ 130 h 265"/>
                <a:gd name="T102" fmla="*/ 144 w 158"/>
                <a:gd name="T103" fmla="*/ 123 h 265"/>
                <a:gd name="T104" fmla="*/ 138 w 158"/>
                <a:gd name="T105" fmla="*/ 106 h 265"/>
                <a:gd name="T106" fmla="*/ 134 w 158"/>
                <a:gd name="T107" fmla="*/ 97 h 265"/>
                <a:gd name="T108" fmla="*/ 125 w 158"/>
                <a:gd name="T109" fmla="*/ 92 h 265"/>
                <a:gd name="T110" fmla="*/ 113 w 158"/>
                <a:gd name="T111" fmla="*/ 79 h 265"/>
                <a:gd name="T112" fmla="*/ 117 w 158"/>
                <a:gd name="T113" fmla="*/ 68 h 265"/>
                <a:gd name="T114" fmla="*/ 127 w 158"/>
                <a:gd name="T115" fmla="*/ 70 h 265"/>
                <a:gd name="T116" fmla="*/ 132 w 158"/>
                <a:gd name="T117" fmla="*/ 68 h 265"/>
                <a:gd name="T118" fmla="*/ 144 w 158"/>
                <a:gd name="T119" fmla="*/ 69 h 265"/>
                <a:gd name="T120" fmla="*/ 132 w 158"/>
                <a:gd name="T121" fmla="*/ 48 h 265"/>
                <a:gd name="T122" fmla="*/ 132 w 158"/>
                <a:gd name="T123" fmla="*/ 48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8" h="265">
                  <a:moveTo>
                    <a:pt x="132" y="48"/>
                  </a:moveTo>
                  <a:lnTo>
                    <a:pt x="133" y="31"/>
                  </a:lnTo>
                  <a:lnTo>
                    <a:pt x="131" y="16"/>
                  </a:lnTo>
                  <a:lnTo>
                    <a:pt x="123" y="0"/>
                  </a:lnTo>
                  <a:lnTo>
                    <a:pt x="117" y="2"/>
                  </a:lnTo>
                  <a:lnTo>
                    <a:pt x="116" y="9"/>
                  </a:lnTo>
                  <a:lnTo>
                    <a:pt x="125" y="19"/>
                  </a:lnTo>
                  <a:lnTo>
                    <a:pt x="123" y="23"/>
                  </a:lnTo>
                  <a:lnTo>
                    <a:pt x="122" y="31"/>
                  </a:lnTo>
                  <a:lnTo>
                    <a:pt x="104" y="50"/>
                  </a:lnTo>
                  <a:lnTo>
                    <a:pt x="99" y="64"/>
                  </a:lnTo>
                  <a:lnTo>
                    <a:pt x="97" y="77"/>
                  </a:lnTo>
                  <a:lnTo>
                    <a:pt x="92" y="82"/>
                  </a:lnTo>
                  <a:lnTo>
                    <a:pt x="88" y="99"/>
                  </a:lnTo>
                  <a:lnTo>
                    <a:pt x="76" y="108"/>
                  </a:lnTo>
                  <a:lnTo>
                    <a:pt x="74" y="120"/>
                  </a:lnTo>
                  <a:lnTo>
                    <a:pt x="69" y="130"/>
                  </a:lnTo>
                  <a:lnTo>
                    <a:pt x="67" y="140"/>
                  </a:lnTo>
                  <a:lnTo>
                    <a:pt x="53" y="149"/>
                  </a:lnTo>
                  <a:lnTo>
                    <a:pt x="41" y="138"/>
                  </a:lnTo>
                  <a:lnTo>
                    <a:pt x="33" y="139"/>
                  </a:lnTo>
                  <a:lnTo>
                    <a:pt x="20" y="152"/>
                  </a:lnTo>
                  <a:lnTo>
                    <a:pt x="15" y="153"/>
                  </a:lnTo>
                  <a:lnTo>
                    <a:pt x="4" y="176"/>
                  </a:lnTo>
                  <a:lnTo>
                    <a:pt x="0" y="192"/>
                  </a:lnTo>
                  <a:lnTo>
                    <a:pt x="0" y="199"/>
                  </a:lnTo>
                  <a:lnTo>
                    <a:pt x="4" y="203"/>
                  </a:lnTo>
                  <a:lnTo>
                    <a:pt x="9" y="213"/>
                  </a:lnTo>
                  <a:lnTo>
                    <a:pt x="18" y="218"/>
                  </a:lnTo>
                  <a:lnTo>
                    <a:pt x="27" y="233"/>
                  </a:lnTo>
                  <a:lnTo>
                    <a:pt x="24" y="251"/>
                  </a:lnTo>
                  <a:lnTo>
                    <a:pt x="58" y="252"/>
                  </a:lnTo>
                  <a:lnTo>
                    <a:pt x="68" y="251"/>
                  </a:lnTo>
                  <a:lnTo>
                    <a:pt x="80" y="254"/>
                  </a:lnTo>
                  <a:lnTo>
                    <a:pt x="93" y="251"/>
                  </a:lnTo>
                  <a:lnTo>
                    <a:pt x="96" y="252"/>
                  </a:lnTo>
                  <a:lnTo>
                    <a:pt x="122" y="253"/>
                  </a:lnTo>
                  <a:lnTo>
                    <a:pt x="139" y="260"/>
                  </a:lnTo>
                  <a:lnTo>
                    <a:pt x="156" y="265"/>
                  </a:lnTo>
                  <a:lnTo>
                    <a:pt x="158" y="252"/>
                  </a:lnTo>
                  <a:lnTo>
                    <a:pt x="155" y="246"/>
                  </a:lnTo>
                  <a:lnTo>
                    <a:pt x="154" y="234"/>
                  </a:lnTo>
                  <a:lnTo>
                    <a:pt x="144" y="227"/>
                  </a:lnTo>
                  <a:lnTo>
                    <a:pt x="136" y="215"/>
                  </a:lnTo>
                  <a:lnTo>
                    <a:pt x="134" y="206"/>
                  </a:lnTo>
                  <a:lnTo>
                    <a:pt x="125" y="193"/>
                  </a:lnTo>
                  <a:lnTo>
                    <a:pt x="127" y="187"/>
                  </a:lnTo>
                  <a:lnTo>
                    <a:pt x="124" y="177"/>
                  </a:lnTo>
                  <a:lnTo>
                    <a:pt x="126" y="158"/>
                  </a:lnTo>
                  <a:lnTo>
                    <a:pt x="130" y="154"/>
                  </a:lnTo>
                  <a:lnTo>
                    <a:pt x="141" y="130"/>
                  </a:lnTo>
                  <a:lnTo>
                    <a:pt x="144" y="123"/>
                  </a:lnTo>
                  <a:lnTo>
                    <a:pt x="138" y="106"/>
                  </a:lnTo>
                  <a:lnTo>
                    <a:pt x="134" y="97"/>
                  </a:lnTo>
                  <a:lnTo>
                    <a:pt x="125" y="92"/>
                  </a:lnTo>
                  <a:lnTo>
                    <a:pt x="113" y="79"/>
                  </a:lnTo>
                  <a:lnTo>
                    <a:pt x="117" y="68"/>
                  </a:lnTo>
                  <a:lnTo>
                    <a:pt x="127" y="70"/>
                  </a:lnTo>
                  <a:lnTo>
                    <a:pt x="132" y="68"/>
                  </a:lnTo>
                  <a:lnTo>
                    <a:pt x="144" y="69"/>
                  </a:lnTo>
                  <a:lnTo>
                    <a:pt x="132" y="48"/>
                  </a:lnTo>
                  <a:lnTo>
                    <a:pt x="132" y="48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5" name="Democratic Republic of Congo">
              <a:extLst>
                <a:ext uri="{FF2B5EF4-FFF2-40B4-BE49-F238E27FC236}">
                  <a16:creationId xmlns:a16="http://schemas.microsoft.com/office/drawing/2014/main" id="{8AFCE5A9-4A54-4C49-AE42-E338940CD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0006" y="3863748"/>
              <a:ext cx="635000" cy="698500"/>
            </a:xfrm>
            <a:custGeom>
              <a:avLst/>
              <a:gdLst>
                <a:gd name="T0" fmla="*/ 275 w 400"/>
                <a:gd name="T1" fmla="*/ 2 h 440"/>
                <a:gd name="T2" fmla="*/ 257 w 400"/>
                <a:gd name="T3" fmla="*/ 4 h 440"/>
                <a:gd name="T4" fmla="*/ 221 w 400"/>
                <a:gd name="T5" fmla="*/ 15 h 440"/>
                <a:gd name="T6" fmla="*/ 184 w 400"/>
                <a:gd name="T7" fmla="*/ 23 h 440"/>
                <a:gd name="T8" fmla="*/ 142 w 400"/>
                <a:gd name="T9" fmla="*/ 13 h 440"/>
                <a:gd name="T10" fmla="*/ 131 w 400"/>
                <a:gd name="T11" fmla="*/ 56 h 440"/>
                <a:gd name="T12" fmla="*/ 118 w 400"/>
                <a:gd name="T13" fmla="*/ 105 h 440"/>
                <a:gd name="T14" fmla="*/ 115 w 400"/>
                <a:gd name="T15" fmla="*/ 136 h 440"/>
                <a:gd name="T16" fmla="*/ 90 w 400"/>
                <a:gd name="T17" fmla="*/ 166 h 440"/>
                <a:gd name="T18" fmla="*/ 76 w 400"/>
                <a:gd name="T19" fmla="*/ 217 h 440"/>
                <a:gd name="T20" fmla="*/ 43 w 400"/>
                <a:gd name="T21" fmla="*/ 239 h 440"/>
                <a:gd name="T22" fmla="*/ 23 w 400"/>
                <a:gd name="T23" fmla="*/ 241 h 440"/>
                <a:gd name="T24" fmla="*/ 7 w 400"/>
                <a:gd name="T25" fmla="*/ 249 h 440"/>
                <a:gd name="T26" fmla="*/ 3 w 400"/>
                <a:gd name="T27" fmla="*/ 270 h 440"/>
                <a:gd name="T28" fmla="*/ 26 w 400"/>
                <a:gd name="T29" fmla="*/ 264 h 440"/>
                <a:gd name="T30" fmla="*/ 98 w 400"/>
                <a:gd name="T31" fmla="*/ 296 h 440"/>
                <a:gd name="T32" fmla="*/ 125 w 400"/>
                <a:gd name="T33" fmla="*/ 315 h 440"/>
                <a:gd name="T34" fmla="*/ 146 w 400"/>
                <a:gd name="T35" fmla="*/ 309 h 440"/>
                <a:gd name="T36" fmla="*/ 166 w 400"/>
                <a:gd name="T37" fmla="*/ 290 h 440"/>
                <a:gd name="T38" fmla="*/ 200 w 400"/>
                <a:gd name="T39" fmla="*/ 298 h 440"/>
                <a:gd name="T40" fmla="*/ 201 w 400"/>
                <a:gd name="T41" fmla="*/ 336 h 440"/>
                <a:gd name="T42" fmla="*/ 208 w 400"/>
                <a:gd name="T43" fmla="*/ 389 h 440"/>
                <a:gd name="T44" fmla="*/ 235 w 400"/>
                <a:gd name="T45" fmla="*/ 383 h 440"/>
                <a:gd name="T46" fmla="*/ 252 w 400"/>
                <a:gd name="T47" fmla="*/ 392 h 440"/>
                <a:gd name="T48" fmla="*/ 282 w 400"/>
                <a:gd name="T49" fmla="*/ 404 h 440"/>
                <a:gd name="T50" fmla="*/ 316 w 400"/>
                <a:gd name="T51" fmla="*/ 414 h 440"/>
                <a:gd name="T52" fmla="*/ 348 w 400"/>
                <a:gd name="T53" fmla="*/ 440 h 440"/>
                <a:gd name="T54" fmla="*/ 357 w 400"/>
                <a:gd name="T55" fmla="*/ 418 h 440"/>
                <a:gd name="T56" fmla="*/ 340 w 400"/>
                <a:gd name="T57" fmla="*/ 381 h 440"/>
                <a:gd name="T58" fmla="*/ 346 w 400"/>
                <a:gd name="T59" fmla="*/ 328 h 440"/>
                <a:gd name="T60" fmla="*/ 384 w 400"/>
                <a:gd name="T61" fmla="*/ 322 h 440"/>
                <a:gd name="T62" fmla="*/ 377 w 400"/>
                <a:gd name="T63" fmla="*/ 298 h 440"/>
                <a:gd name="T64" fmla="*/ 361 w 400"/>
                <a:gd name="T65" fmla="*/ 259 h 440"/>
                <a:gd name="T66" fmla="*/ 360 w 400"/>
                <a:gd name="T67" fmla="*/ 207 h 440"/>
                <a:gd name="T68" fmla="*/ 356 w 400"/>
                <a:gd name="T69" fmla="*/ 179 h 440"/>
                <a:gd name="T70" fmla="*/ 366 w 400"/>
                <a:gd name="T71" fmla="*/ 157 h 440"/>
                <a:gd name="T72" fmla="*/ 372 w 400"/>
                <a:gd name="T73" fmla="*/ 111 h 440"/>
                <a:gd name="T74" fmla="*/ 392 w 400"/>
                <a:gd name="T75" fmla="*/ 81 h 440"/>
                <a:gd name="T76" fmla="*/ 392 w 400"/>
                <a:gd name="T77" fmla="*/ 41 h 440"/>
                <a:gd name="T78" fmla="*/ 368 w 400"/>
                <a:gd name="T79" fmla="*/ 16 h 440"/>
                <a:gd name="T80" fmla="*/ 341 w 400"/>
                <a:gd name="T81" fmla="*/ 24 h 440"/>
                <a:gd name="T82" fmla="*/ 312 w 400"/>
                <a:gd name="T83" fmla="*/ 3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00" h="440">
                  <a:moveTo>
                    <a:pt x="299" y="3"/>
                  </a:moveTo>
                  <a:lnTo>
                    <a:pt x="282" y="0"/>
                  </a:lnTo>
                  <a:lnTo>
                    <a:pt x="275" y="2"/>
                  </a:lnTo>
                  <a:lnTo>
                    <a:pt x="272" y="8"/>
                  </a:lnTo>
                  <a:lnTo>
                    <a:pt x="265" y="9"/>
                  </a:lnTo>
                  <a:lnTo>
                    <a:pt x="257" y="4"/>
                  </a:lnTo>
                  <a:lnTo>
                    <a:pt x="234" y="15"/>
                  </a:lnTo>
                  <a:lnTo>
                    <a:pt x="224" y="13"/>
                  </a:lnTo>
                  <a:lnTo>
                    <a:pt x="221" y="15"/>
                  </a:lnTo>
                  <a:lnTo>
                    <a:pt x="215" y="29"/>
                  </a:lnTo>
                  <a:lnTo>
                    <a:pt x="199" y="24"/>
                  </a:lnTo>
                  <a:lnTo>
                    <a:pt x="184" y="23"/>
                  </a:lnTo>
                  <a:lnTo>
                    <a:pt x="170" y="13"/>
                  </a:lnTo>
                  <a:lnTo>
                    <a:pt x="153" y="6"/>
                  </a:lnTo>
                  <a:lnTo>
                    <a:pt x="142" y="13"/>
                  </a:lnTo>
                  <a:lnTo>
                    <a:pt x="134" y="25"/>
                  </a:lnTo>
                  <a:lnTo>
                    <a:pt x="132" y="42"/>
                  </a:lnTo>
                  <a:lnTo>
                    <a:pt x="131" y="56"/>
                  </a:lnTo>
                  <a:lnTo>
                    <a:pt x="125" y="68"/>
                  </a:lnTo>
                  <a:lnTo>
                    <a:pt x="121" y="83"/>
                  </a:lnTo>
                  <a:lnTo>
                    <a:pt x="118" y="105"/>
                  </a:lnTo>
                  <a:lnTo>
                    <a:pt x="120" y="118"/>
                  </a:lnTo>
                  <a:lnTo>
                    <a:pt x="116" y="126"/>
                  </a:lnTo>
                  <a:lnTo>
                    <a:pt x="115" y="136"/>
                  </a:lnTo>
                  <a:lnTo>
                    <a:pt x="113" y="143"/>
                  </a:lnTo>
                  <a:lnTo>
                    <a:pt x="99" y="154"/>
                  </a:lnTo>
                  <a:lnTo>
                    <a:pt x="90" y="166"/>
                  </a:lnTo>
                  <a:lnTo>
                    <a:pt x="81" y="190"/>
                  </a:lnTo>
                  <a:lnTo>
                    <a:pt x="81" y="209"/>
                  </a:lnTo>
                  <a:lnTo>
                    <a:pt x="76" y="217"/>
                  </a:lnTo>
                  <a:lnTo>
                    <a:pt x="64" y="228"/>
                  </a:lnTo>
                  <a:lnTo>
                    <a:pt x="51" y="243"/>
                  </a:lnTo>
                  <a:lnTo>
                    <a:pt x="43" y="239"/>
                  </a:lnTo>
                  <a:lnTo>
                    <a:pt x="41" y="233"/>
                  </a:lnTo>
                  <a:lnTo>
                    <a:pt x="30" y="232"/>
                  </a:lnTo>
                  <a:lnTo>
                    <a:pt x="23" y="241"/>
                  </a:lnTo>
                  <a:lnTo>
                    <a:pt x="17" y="238"/>
                  </a:lnTo>
                  <a:lnTo>
                    <a:pt x="10" y="244"/>
                  </a:lnTo>
                  <a:lnTo>
                    <a:pt x="7" y="249"/>
                  </a:lnTo>
                  <a:lnTo>
                    <a:pt x="6" y="260"/>
                  </a:lnTo>
                  <a:lnTo>
                    <a:pt x="0" y="263"/>
                  </a:lnTo>
                  <a:lnTo>
                    <a:pt x="3" y="270"/>
                  </a:lnTo>
                  <a:lnTo>
                    <a:pt x="12" y="266"/>
                  </a:lnTo>
                  <a:lnTo>
                    <a:pt x="18" y="267"/>
                  </a:lnTo>
                  <a:lnTo>
                    <a:pt x="26" y="264"/>
                  </a:lnTo>
                  <a:lnTo>
                    <a:pt x="87" y="264"/>
                  </a:lnTo>
                  <a:lnTo>
                    <a:pt x="92" y="282"/>
                  </a:lnTo>
                  <a:lnTo>
                    <a:pt x="98" y="296"/>
                  </a:lnTo>
                  <a:lnTo>
                    <a:pt x="103" y="305"/>
                  </a:lnTo>
                  <a:lnTo>
                    <a:pt x="110" y="317"/>
                  </a:lnTo>
                  <a:lnTo>
                    <a:pt x="125" y="315"/>
                  </a:lnTo>
                  <a:lnTo>
                    <a:pt x="132" y="311"/>
                  </a:lnTo>
                  <a:lnTo>
                    <a:pt x="143" y="315"/>
                  </a:lnTo>
                  <a:lnTo>
                    <a:pt x="146" y="309"/>
                  </a:lnTo>
                  <a:lnTo>
                    <a:pt x="152" y="295"/>
                  </a:lnTo>
                  <a:lnTo>
                    <a:pt x="165" y="294"/>
                  </a:lnTo>
                  <a:lnTo>
                    <a:pt x="166" y="290"/>
                  </a:lnTo>
                  <a:lnTo>
                    <a:pt x="177" y="290"/>
                  </a:lnTo>
                  <a:lnTo>
                    <a:pt x="175" y="298"/>
                  </a:lnTo>
                  <a:lnTo>
                    <a:pt x="200" y="298"/>
                  </a:lnTo>
                  <a:lnTo>
                    <a:pt x="200" y="313"/>
                  </a:lnTo>
                  <a:lnTo>
                    <a:pt x="205" y="322"/>
                  </a:lnTo>
                  <a:lnTo>
                    <a:pt x="201" y="336"/>
                  </a:lnTo>
                  <a:lnTo>
                    <a:pt x="202" y="351"/>
                  </a:lnTo>
                  <a:lnTo>
                    <a:pt x="209" y="360"/>
                  </a:lnTo>
                  <a:lnTo>
                    <a:pt x="208" y="389"/>
                  </a:lnTo>
                  <a:lnTo>
                    <a:pt x="213" y="386"/>
                  </a:lnTo>
                  <a:lnTo>
                    <a:pt x="222" y="387"/>
                  </a:lnTo>
                  <a:lnTo>
                    <a:pt x="235" y="383"/>
                  </a:lnTo>
                  <a:lnTo>
                    <a:pt x="245" y="385"/>
                  </a:lnTo>
                  <a:lnTo>
                    <a:pt x="251" y="385"/>
                  </a:lnTo>
                  <a:lnTo>
                    <a:pt x="252" y="392"/>
                  </a:lnTo>
                  <a:lnTo>
                    <a:pt x="263" y="392"/>
                  </a:lnTo>
                  <a:lnTo>
                    <a:pt x="276" y="394"/>
                  </a:lnTo>
                  <a:lnTo>
                    <a:pt x="282" y="404"/>
                  </a:lnTo>
                  <a:lnTo>
                    <a:pt x="299" y="408"/>
                  </a:lnTo>
                  <a:lnTo>
                    <a:pt x="312" y="401"/>
                  </a:lnTo>
                  <a:lnTo>
                    <a:pt x="316" y="414"/>
                  </a:lnTo>
                  <a:lnTo>
                    <a:pt x="333" y="417"/>
                  </a:lnTo>
                  <a:lnTo>
                    <a:pt x="340" y="427"/>
                  </a:lnTo>
                  <a:lnTo>
                    <a:pt x="348" y="440"/>
                  </a:lnTo>
                  <a:lnTo>
                    <a:pt x="364" y="440"/>
                  </a:lnTo>
                  <a:lnTo>
                    <a:pt x="363" y="414"/>
                  </a:lnTo>
                  <a:lnTo>
                    <a:pt x="357" y="418"/>
                  </a:lnTo>
                  <a:lnTo>
                    <a:pt x="342" y="409"/>
                  </a:lnTo>
                  <a:lnTo>
                    <a:pt x="337" y="405"/>
                  </a:lnTo>
                  <a:lnTo>
                    <a:pt x="340" y="381"/>
                  </a:lnTo>
                  <a:lnTo>
                    <a:pt x="345" y="353"/>
                  </a:lnTo>
                  <a:lnTo>
                    <a:pt x="340" y="343"/>
                  </a:lnTo>
                  <a:lnTo>
                    <a:pt x="346" y="328"/>
                  </a:lnTo>
                  <a:lnTo>
                    <a:pt x="352" y="325"/>
                  </a:lnTo>
                  <a:lnTo>
                    <a:pt x="380" y="320"/>
                  </a:lnTo>
                  <a:lnTo>
                    <a:pt x="384" y="322"/>
                  </a:lnTo>
                  <a:lnTo>
                    <a:pt x="385" y="318"/>
                  </a:lnTo>
                  <a:lnTo>
                    <a:pt x="379" y="311"/>
                  </a:lnTo>
                  <a:lnTo>
                    <a:pt x="377" y="298"/>
                  </a:lnTo>
                  <a:lnTo>
                    <a:pt x="364" y="285"/>
                  </a:lnTo>
                  <a:lnTo>
                    <a:pt x="357" y="268"/>
                  </a:lnTo>
                  <a:lnTo>
                    <a:pt x="361" y="259"/>
                  </a:lnTo>
                  <a:lnTo>
                    <a:pt x="355" y="245"/>
                  </a:lnTo>
                  <a:lnTo>
                    <a:pt x="359" y="207"/>
                  </a:lnTo>
                  <a:lnTo>
                    <a:pt x="360" y="207"/>
                  </a:lnTo>
                  <a:lnTo>
                    <a:pt x="359" y="203"/>
                  </a:lnTo>
                  <a:lnTo>
                    <a:pt x="354" y="193"/>
                  </a:lnTo>
                  <a:lnTo>
                    <a:pt x="356" y="179"/>
                  </a:lnTo>
                  <a:lnTo>
                    <a:pt x="359" y="178"/>
                  </a:lnTo>
                  <a:lnTo>
                    <a:pt x="360" y="164"/>
                  </a:lnTo>
                  <a:lnTo>
                    <a:pt x="366" y="157"/>
                  </a:lnTo>
                  <a:lnTo>
                    <a:pt x="366" y="139"/>
                  </a:lnTo>
                  <a:lnTo>
                    <a:pt x="371" y="130"/>
                  </a:lnTo>
                  <a:lnTo>
                    <a:pt x="372" y="111"/>
                  </a:lnTo>
                  <a:lnTo>
                    <a:pt x="377" y="100"/>
                  </a:lnTo>
                  <a:lnTo>
                    <a:pt x="385" y="87"/>
                  </a:lnTo>
                  <a:lnTo>
                    <a:pt x="392" y="81"/>
                  </a:lnTo>
                  <a:lnTo>
                    <a:pt x="400" y="72"/>
                  </a:lnTo>
                  <a:lnTo>
                    <a:pt x="391" y="69"/>
                  </a:lnTo>
                  <a:lnTo>
                    <a:pt x="392" y="41"/>
                  </a:lnTo>
                  <a:lnTo>
                    <a:pt x="392" y="41"/>
                  </a:lnTo>
                  <a:lnTo>
                    <a:pt x="374" y="25"/>
                  </a:lnTo>
                  <a:lnTo>
                    <a:pt x="368" y="16"/>
                  </a:lnTo>
                  <a:lnTo>
                    <a:pt x="357" y="21"/>
                  </a:lnTo>
                  <a:lnTo>
                    <a:pt x="347" y="19"/>
                  </a:lnTo>
                  <a:lnTo>
                    <a:pt x="341" y="24"/>
                  </a:lnTo>
                  <a:lnTo>
                    <a:pt x="332" y="20"/>
                  </a:lnTo>
                  <a:lnTo>
                    <a:pt x="319" y="1"/>
                  </a:lnTo>
                  <a:lnTo>
                    <a:pt x="312" y="3"/>
                  </a:lnTo>
                  <a:lnTo>
                    <a:pt x="299" y="3"/>
                  </a:lnTo>
                  <a:lnTo>
                    <a:pt x="299" y="3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6" name="Congo">
              <a:extLst>
                <a:ext uri="{FF2B5EF4-FFF2-40B4-BE49-F238E27FC236}">
                  <a16:creationId xmlns:a16="http://schemas.microsoft.com/office/drawing/2014/main" id="{0C7E76F4-0640-4F8F-AD62-3BAB96FBFC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5081" y="3922486"/>
              <a:ext cx="244475" cy="330200"/>
            </a:xfrm>
            <a:custGeom>
              <a:avLst/>
              <a:gdLst>
                <a:gd name="T0" fmla="*/ 154 w 154"/>
                <a:gd name="T1" fmla="*/ 5 h 208"/>
                <a:gd name="T2" fmla="*/ 141 w 154"/>
                <a:gd name="T3" fmla="*/ 3 h 208"/>
                <a:gd name="T4" fmla="*/ 127 w 154"/>
                <a:gd name="T5" fmla="*/ 0 h 208"/>
                <a:gd name="T6" fmla="*/ 114 w 154"/>
                <a:gd name="T7" fmla="*/ 12 h 208"/>
                <a:gd name="T8" fmla="*/ 104 w 154"/>
                <a:gd name="T9" fmla="*/ 34 h 208"/>
                <a:gd name="T10" fmla="*/ 102 w 154"/>
                <a:gd name="T11" fmla="*/ 47 h 208"/>
                <a:gd name="T12" fmla="*/ 85 w 154"/>
                <a:gd name="T13" fmla="*/ 42 h 208"/>
                <a:gd name="T14" fmla="*/ 68 w 154"/>
                <a:gd name="T15" fmla="*/ 35 h 208"/>
                <a:gd name="T16" fmla="*/ 42 w 154"/>
                <a:gd name="T17" fmla="*/ 34 h 208"/>
                <a:gd name="T18" fmla="*/ 40 w 154"/>
                <a:gd name="T19" fmla="*/ 44 h 208"/>
                <a:gd name="T20" fmla="*/ 46 w 154"/>
                <a:gd name="T21" fmla="*/ 57 h 208"/>
                <a:gd name="T22" fmla="*/ 62 w 154"/>
                <a:gd name="T23" fmla="*/ 55 h 208"/>
                <a:gd name="T24" fmla="*/ 67 w 154"/>
                <a:gd name="T25" fmla="*/ 59 h 208"/>
                <a:gd name="T26" fmla="*/ 58 w 154"/>
                <a:gd name="T27" fmla="*/ 87 h 208"/>
                <a:gd name="T28" fmla="*/ 68 w 154"/>
                <a:gd name="T29" fmla="*/ 101 h 208"/>
                <a:gd name="T30" fmla="*/ 70 w 154"/>
                <a:gd name="T31" fmla="*/ 119 h 208"/>
                <a:gd name="T32" fmla="*/ 67 w 154"/>
                <a:gd name="T33" fmla="*/ 136 h 208"/>
                <a:gd name="T34" fmla="*/ 61 w 154"/>
                <a:gd name="T35" fmla="*/ 147 h 208"/>
                <a:gd name="T36" fmla="*/ 43 w 154"/>
                <a:gd name="T37" fmla="*/ 145 h 208"/>
                <a:gd name="T38" fmla="*/ 32 w 154"/>
                <a:gd name="T39" fmla="*/ 134 h 208"/>
                <a:gd name="T40" fmla="*/ 30 w 154"/>
                <a:gd name="T41" fmla="*/ 145 h 208"/>
                <a:gd name="T42" fmla="*/ 15 w 154"/>
                <a:gd name="T43" fmla="*/ 148 h 208"/>
                <a:gd name="T44" fmla="*/ 8 w 154"/>
                <a:gd name="T45" fmla="*/ 154 h 208"/>
                <a:gd name="T46" fmla="*/ 16 w 154"/>
                <a:gd name="T47" fmla="*/ 170 h 208"/>
                <a:gd name="T48" fmla="*/ 0 w 154"/>
                <a:gd name="T49" fmla="*/ 183 h 208"/>
                <a:gd name="T50" fmla="*/ 17 w 154"/>
                <a:gd name="T51" fmla="*/ 208 h 208"/>
                <a:gd name="T52" fmla="*/ 25 w 154"/>
                <a:gd name="T53" fmla="*/ 198 h 208"/>
                <a:gd name="T54" fmla="*/ 32 w 154"/>
                <a:gd name="T55" fmla="*/ 194 h 208"/>
                <a:gd name="T56" fmla="*/ 39 w 154"/>
                <a:gd name="T57" fmla="*/ 201 h 208"/>
                <a:gd name="T58" fmla="*/ 45 w 154"/>
                <a:gd name="T59" fmla="*/ 204 h 208"/>
                <a:gd name="T60" fmla="*/ 52 w 154"/>
                <a:gd name="T61" fmla="*/ 195 h 208"/>
                <a:gd name="T62" fmla="*/ 63 w 154"/>
                <a:gd name="T63" fmla="*/ 196 h 208"/>
                <a:gd name="T64" fmla="*/ 65 w 154"/>
                <a:gd name="T65" fmla="*/ 202 h 208"/>
                <a:gd name="T66" fmla="*/ 73 w 154"/>
                <a:gd name="T67" fmla="*/ 206 h 208"/>
                <a:gd name="T68" fmla="*/ 86 w 154"/>
                <a:gd name="T69" fmla="*/ 191 h 208"/>
                <a:gd name="T70" fmla="*/ 98 w 154"/>
                <a:gd name="T71" fmla="*/ 180 h 208"/>
                <a:gd name="T72" fmla="*/ 103 w 154"/>
                <a:gd name="T73" fmla="*/ 172 h 208"/>
                <a:gd name="T74" fmla="*/ 103 w 154"/>
                <a:gd name="T75" fmla="*/ 153 h 208"/>
                <a:gd name="T76" fmla="*/ 112 w 154"/>
                <a:gd name="T77" fmla="*/ 129 h 208"/>
                <a:gd name="T78" fmla="*/ 121 w 154"/>
                <a:gd name="T79" fmla="*/ 117 h 208"/>
                <a:gd name="T80" fmla="*/ 135 w 154"/>
                <a:gd name="T81" fmla="*/ 106 h 208"/>
                <a:gd name="T82" fmla="*/ 137 w 154"/>
                <a:gd name="T83" fmla="*/ 99 h 208"/>
                <a:gd name="T84" fmla="*/ 138 w 154"/>
                <a:gd name="T85" fmla="*/ 89 h 208"/>
                <a:gd name="T86" fmla="*/ 142 w 154"/>
                <a:gd name="T87" fmla="*/ 81 h 208"/>
                <a:gd name="T88" fmla="*/ 140 w 154"/>
                <a:gd name="T89" fmla="*/ 68 h 208"/>
                <a:gd name="T90" fmla="*/ 143 w 154"/>
                <a:gd name="T91" fmla="*/ 46 h 208"/>
                <a:gd name="T92" fmla="*/ 147 w 154"/>
                <a:gd name="T93" fmla="*/ 31 h 208"/>
                <a:gd name="T94" fmla="*/ 153 w 154"/>
                <a:gd name="T95" fmla="*/ 19 h 208"/>
                <a:gd name="T96" fmla="*/ 154 w 154"/>
                <a:gd name="T97" fmla="*/ 5 h 208"/>
                <a:gd name="T98" fmla="*/ 154 w 154"/>
                <a:gd name="T99" fmla="*/ 5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54" h="208">
                  <a:moveTo>
                    <a:pt x="154" y="5"/>
                  </a:moveTo>
                  <a:lnTo>
                    <a:pt x="141" y="3"/>
                  </a:lnTo>
                  <a:lnTo>
                    <a:pt x="127" y="0"/>
                  </a:lnTo>
                  <a:lnTo>
                    <a:pt x="114" y="12"/>
                  </a:lnTo>
                  <a:lnTo>
                    <a:pt x="104" y="34"/>
                  </a:lnTo>
                  <a:lnTo>
                    <a:pt x="102" y="47"/>
                  </a:lnTo>
                  <a:lnTo>
                    <a:pt x="85" y="42"/>
                  </a:lnTo>
                  <a:lnTo>
                    <a:pt x="68" y="35"/>
                  </a:lnTo>
                  <a:lnTo>
                    <a:pt x="42" y="34"/>
                  </a:lnTo>
                  <a:lnTo>
                    <a:pt x="40" y="44"/>
                  </a:lnTo>
                  <a:lnTo>
                    <a:pt x="46" y="57"/>
                  </a:lnTo>
                  <a:lnTo>
                    <a:pt x="62" y="55"/>
                  </a:lnTo>
                  <a:lnTo>
                    <a:pt x="67" y="59"/>
                  </a:lnTo>
                  <a:lnTo>
                    <a:pt x="58" y="87"/>
                  </a:lnTo>
                  <a:lnTo>
                    <a:pt x="68" y="101"/>
                  </a:lnTo>
                  <a:lnTo>
                    <a:pt x="70" y="119"/>
                  </a:lnTo>
                  <a:lnTo>
                    <a:pt x="67" y="136"/>
                  </a:lnTo>
                  <a:lnTo>
                    <a:pt x="61" y="147"/>
                  </a:lnTo>
                  <a:lnTo>
                    <a:pt x="43" y="145"/>
                  </a:lnTo>
                  <a:lnTo>
                    <a:pt x="32" y="134"/>
                  </a:lnTo>
                  <a:lnTo>
                    <a:pt x="30" y="145"/>
                  </a:lnTo>
                  <a:lnTo>
                    <a:pt x="15" y="148"/>
                  </a:lnTo>
                  <a:lnTo>
                    <a:pt x="8" y="154"/>
                  </a:lnTo>
                  <a:lnTo>
                    <a:pt x="16" y="170"/>
                  </a:lnTo>
                  <a:lnTo>
                    <a:pt x="0" y="183"/>
                  </a:lnTo>
                  <a:lnTo>
                    <a:pt x="17" y="208"/>
                  </a:lnTo>
                  <a:lnTo>
                    <a:pt x="25" y="198"/>
                  </a:lnTo>
                  <a:lnTo>
                    <a:pt x="32" y="194"/>
                  </a:lnTo>
                  <a:lnTo>
                    <a:pt x="39" y="201"/>
                  </a:lnTo>
                  <a:lnTo>
                    <a:pt x="45" y="204"/>
                  </a:lnTo>
                  <a:lnTo>
                    <a:pt x="52" y="195"/>
                  </a:lnTo>
                  <a:lnTo>
                    <a:pt x="63" y="196"/>
                  </a:lnTo>
                  <a:lnTo>
                    <a:pt x="65" y="202"/>
                  </a:lnTo>
                  <a:lnTo>
                    <a:pt x="73" y="206"/>
                  </a:lnTo>
                  <a:lnTo>
                    <a:pt x="86" y="191"/>
                  </a:lnTo>
                  <a:lnTo>
                    <a:pt x="98" y="180"/>
                  </a:lnTo>
                  <a:lnTo>
                    <a:pt x="103" y="172"/>
                  </a:lnTo>
                  <a:lnTo>
                    <a:pt x="103" y="153"/>
                  </a:lnTo>
                  <a:lnTo>
                    <a:pt x="112" y="129"/>
                  </a:lnTo>
                  <a:lnTo>
                    <a:pt x="121" y="117"/>
                  </a:lnTo>
                  <a:lnTo>
                    <a:pt x="135" y="106"/>
                  </a:lnTo>
                  <a:lnTo>
                    <a:pt x="137" y="99"/>
                  </a:lnTo>
                  <a:lnTo>
                    <a:pt x="138" y="89"/>
                  </a:lnTo>
                  <a:lnTo>
                    <a:pt x="142" y="81"/>
                  </a:lnTo>
                  <a:lnTo>
                    <a:pt x="140" y="68"/>
                  </a:lnTo>
                  <a:lnTo>
                    <a:pt x="143" y="46"/>
                  </a:lnTo>
                  <a:lnTo>
                    <a:pt x="147" y="31"/>
                  </a:lnTo>
                  <a:lnTo>
                    <a:pt x="153" y="19"/>
                  </a:lnTo>
                  <a:lnTo>
                    <a:pt x="154" y="5"/>
                  </a:lnTo>
                  <a:lnTo>
                    <a:pt x="154" y="5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7" name="Colombia">
              <a:extLst>
                <a:ext uri="{FF2B5EF4-FFF2-40B4-BE49-F238E27FC236}">
                  <a16:creationId xmlns:a16="http://schemas.microsoft.com/office/drawing/2014/main" id="{F3D07107-3DFC-4101-9393-2E5777C9CF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3119" y="3592286"/>
              <a:ext cx="404812" cy="631825"/>
            </a:xfrm>
            <a:custGeom>
              <a:avLst/>
              <a:gdLst>
                <a:gd name="T0" fmla="*/ 175 w 255"/>
                <a:gd name="T1" fmla="*/ 8 h 398"/>
                <a:gd name="T2" fmla="*/ 163 w 255"/>
                <a:gd name="T3" fmla="*/ 0 h 398"/>
                <a:gd name="T4" fmla="*/ 143 w 255"/>
                <a:gd name="T5" fmla="*/ 17 h 398"/>
                <a:gd name="T6" fmla="*/ 109 w 255"/>
                <a:gd name="T7" fmla="*/ 27 h 398"/>
                <a:gd name="T8" fmla="*/ 95 w 255"/>
                <a:gd name="T9" fmla="*/ 32 h 398"/>
                <a:gd name="T10" fmla="*/ 77 w 255"/>
                <a:gd name="T11" fmla="*/ 64 h 398"/>
                <a:gd name="T12" fmla="*/ 67 w 255"/>
                <a:gd name="T13" fmla="*/ 74 h 398"/>
                <a:gd name="T14" fmla="*/ 40 w 255"/>
                <a:gd name="T15" fmla="*/ 90 h 398"/>
                <a:gd name="T16" fmla="*/ 42 w 255"/>
                <a:gd name="T17" fmla="*/ 108 h 398"/>
                <a:gd name="T18" fmla="*/ 31 w 255"/>
                <a:gd name="T19" fmla="*/ 112 h 398"/>
                <a:gd name="T20" fmla="*/ 36 w 255"/>
                <a:gd name="T21" fmla="*/ 137 h 398"/>
                <a:gd name="T22" fmla="*/ 34 w 255"/>
                <a:gd name="T23" fmla="*/ 163 h 398"/>
                <a:gd name="T24" fmla="*/ 33 w 255"/>
                <a:gd name="T25" fmla="*/ 199 h 398"/>
                <a:gd name="T26" fmla="*/ 33 w 255"/>
                <a:gd name="T27" fmla="*/ 217 h 398"/>
                <a:gd name="T28" fmla="*/ 12 w 255"/>
                <a:gd name="T29" fmla="*/ 234 h 398"/>
                <a:gd name="T30" fmla="*/ 9 w 255"/>
                <a:gd name="T31" fmla="*/ 254 h 398"/>
                <a:gd name="T32" fmla="*/ 3 w 255"/>
                <a:gd name="T33" fmla="*/ 264 h 398"/>
                <a:gd name="T34" fmla="*/ 28 w 255"/>
                <a:gd name="T35" fmla="*/ 277 h 398"/>
                <a:gd name="T36" fmla="*/ 51 w 255"/>
                <a:gd name="T37" fmla="*/ 290 h 398"/>
                <a:gd name="T38" fmla="*/ 67 w 255"/>
                <a:gd name="T39" fmla="*/ 293 h 398"/>
                <a:gd name="T40" fmla="*/ 81 w 255"/>
                <a:gd name="T41" fmla="*/ 297 h 398"/>
                <a:gd name="T42" fmla="*/ 102 w 255"/>
                <a:gd name="T43" fmla="*/ 320 h 398"/>
                <a:gd name="T44" fmla="*/ 125 w 255"/>
                <a:gd name="T45" fmla="*/ 351 h 398"/>
                <a:gd name="T46" fmla="*/ 152 w 255"/>
                <a:gd name="T47" fmla="*/ 348 h 398"/>
                <a:gd name="T48" fmla="*/ 172 w 255"/>
                <a:gd name="T49" fmla="*/ 350 h 398"/>
                <a:gd name="T50" fmla="*/ 176 w 255"/>
                <a:gd name="T51" fmla="*/ 385 h 398"/>
                <a:gd name="T52" fmla="*/ 193 w 255"/>
                <a:gd name="T53" fmla="*/ 398 h 398"/>
                <a:gd name="T54" fmla="*/ 201 w 255"/>
                <a:gd name="T55" fmla="*/ 322 h 398"/>
                <a:gd name="T56" fmla="*/ 189 w 255"/>
                <a:gd name="T57" fmla="*/ 300 h 398"/>
                <a:gd name="T58" fmla="*/ 201 w 255"/>
                <a:gd name="T59" fmla="*/ 279 h 398"/>
                <a:gd name="T60" fmla="*/ 206 w 255"/>
                <a:gd name="T61" fmla="*/ 273 h 398"/>
                <a:gd name="T62" fmla="*/ 194 w 255"/>
                <a:gd name="T63" fmla="*/ 255 h 398"/>
                <a:gd name="T64" fmla="*/ 241 w 255"/>
                <a:gd name="T65" fmla="*/ 248 h 398"/>
                <a:gd name="T66" fmla="*/ 250 w 255"/>
                <a:gd name="T67" fmla="*/ 269 h 398"/>
                <a:gd name="T68" fmla="*/ 249 w 255"/>
                <a:gd name="T69" fmla="*/ 242 h 398"/>
                <a:gd name="T70" fmla="*/ 236 w 255"/>
                <a:gd name="T71" fmla="*/ 229 h 398"/>
                <a:gd name="T72" fmla="*/ 246 w 255"/>
                <a:gd name="T73" fmla="*/ 211 h 398"/>
                <a:gd name="T74" fmla="*/ 236 w 255"/>
                <a:gd name="T75" fmla="*/ 189 h 398"/>
                <a:gd name="T76" fmla="*/ 243 w 255"/>
                <a:gd name="T77" fmla="*/ 164 h 398"/>
                <a:gd name="T78" fmla="*/ 240 w 255"/>
                <a:gd name="T79" fmla="*/ 147 h 398"/>
                <a:gd name="T80" fmla="*/ 213 w 255"/>
                <a:gd name="T81" fmla="*/ 149 h 398"/>
                <a:gd name="T82" fmla="*/ 191 w 255"/>
                <a:gd name="T83" fmla="*/ 131 h 398"/>
                <a:gd name="T84" fmla="*/ 152 w 255"/>
                <a:gd name="T85" fmla="*/ 130 h 398"/>
                <a:gd name="T86" fmla="*/ 142 w 255"/>
                <a:gd name="T87" fmla="*/ 120 h 398"/>
                <a:gd name="T88" fmla="*/ 144 w 255"/>
                <a:gd name="T89" fmla="*/ 106 h 398"/>
                <a:gd name="T90" fmla="*/ 138 w 255"/>
                <a:gd name="T91" fmla="*/ 91 h 398"/>
                <a:gd name="T92" fmla="*/ 125 w 255"/>
                <a:gd name="T93" fmla="*/ 79 h 398"/>
                <a:gd name="T94" fmla="*/ 136 w 255"/>
                <a:gd name="T95" fmla="*/ 48 h 398"/>
                <a:gd name="T96" fmla="*/ 151 w 255"/>
                <a:gd name="T97" fmla="*/ 32 h 398"/>
                <a:gd name="T98" fmla="*/ 170 w 255"/>
                <a:gd name="T99" fmla="*/ 16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55" h="398">
                  <a:moveTo>
                    <a:pt x="170" y="16"/>
                  </a:moveTo>
                  <a:lnTo>
                    <a:pt x="175" y="8"/>
                  </a:lnTo>
                  <a:lnTo>
                    <a:pt x="170" y="2"/>
                  </a:lnTo>
                  <a:lnTo>
                    <a:pt x="163" y="0"/>
                  </a:lnTo>
                  <a:lnTo>
                    <a:pt x="152" y="12"/>
                  </a:lnTo>
                  <a:lnTo>
                    <a:pt x="143" y="17"/>
                  </a:lnTo>
                  <a:lnTo>
                    <a:pt x="126" y="29"/>
                  </a:lnTo>
                  <a:lnTo>
                    <a:pt x="109" y="27"/>
                  </a:lnTo>
                  <a:lnTo>
                    <a:pt x="108" y="32"/>
                  </a:lnTo>
                  <a:lnTo>
                    <a:pt x="95" y="32"/>
                  </a:lnTo>
                  <a:lnTo>
                    <a:pt x="82" y="43"/>
                  </a:lnTo>
                  <a:lnTo>
                    <a:pt x="77" y="64"/>
                  </a:lnTo>
                  <a:lnTo>
                    <a:pt x="77" y="71"/>
                  </a:lnTo>
                  <a:lnTo>
                    <a:pt x="67" y="74"/>
                  </a:lnTo>
                  <a:lnTo>
                    <a:pt x="52" y="91"/>
                  </a:lnTo>
                  <a:lnTo>
                    <a:pt x="40" y="90"/>
                  </a:lnTo>
                  <a:lnTo>
                    <a:pt x="38" y="94"/>
                  </a:lnTo>
                  <a:lnTo>
                    <a:pt x="42" y="108"/>
                  </a:lnTo>
                  <a:lnTo>
                    <a:pt x="38" y="114"/>
                  </a:lnTo>
                  <a:lnTo>
                    <a:pt x="31" y="112"/>
                  </a:lnTo>
                  <a:lnTo>
                    <a:pt x="27" y="125"/>
                  </a:lnTo>
                  <a:lnTo>
                    <a:pt x="36" y="137"/>
                  </a:lnTo>
                  <a:lnTo>
                    <a:pt x="39" y="157"/>
                  </a:lnTo>
                  <a:lnTo>
                    <a:pt x="34" y="163"/>
                  </a:lnTo>
                  <a:lnTo>
                    <a:pt x="38" y="185"/>
                  </a:lnTo>
                  <a:lnTo>
                    <a:pt x="33" y="199"/>
                  </a:lnTo>
                  <a:lnTo>
                    <a:pt x="40" y="205"/>
                  </a:lnTo>
                  <a:lnTo>
                    <a:pt x="33" y="217"/>
                  </a:lnTo>
                  <a:lnTo>
                    <a:pt x="24" y="232"/>
                  </a:lnTo>
                  <a:lnTo>
                    <a:pt x="12" y="234"/>
                  </a:lnTo>
                  <a:lnTo>
                    <a:pt x="8" y="242"/>
                  </a:lnTo>
                  <a:lnTo>
                    <a:pt x="9" y="254"/>
                  </a:lnTo>
                  <a:lnTo>
                    <a:pt x="0" y="256"/>
                  </a:lnTo>
                  <a:lnTo>
                    <a:pt x="3" y="264"/>
                  </a:lnTo>
                  <a:lnTo>
                    <a:pt x="25" y="277"/>
                  </a:lnTo>
                  <a:lnTo>
                    <a:pt x="28" y="277"/>
                  </a:lnTo>
                  <a:lnTo>
                    <a:pt x="33" y="286"/>
                  </a:lnTo>
                  <a:lnTo>
                    <a:pt x="51" y="290"/>
                  </a:lnTo>
                  <a:lnTo>
                    <a:pt x="57" y="286"/>
                  </a:lnTo>
                  <a:lnTo>
                    <a:pt x="67" y="293"/>
                  </a:lnTo>
                  <a:lnTo>
                    <a:pt x="76" y="299"/>
                  </a:lnTo>
                  <a:lnTo>
                    <a:pt x="81" y="297"/>
                  </a:lnTo>
                  <a:lnTo>
                    <a:pt x="95" y="308"/>
                  </a:lnTo>
                  <a:lnTo>
                    <a:pt x="102" y="320"/>
                  </a:lnTo>
                  <a:lnTo>
                    <a:pt x="112" y="326"/>
                  </a:lnTo>
                  <a:lnTo>
                    <a:pt x="125" y="351"/>
                  </a:lnTo>
                  <a:lnTo>
                    <a:pt x="141" y="354"/>
                  </a:lnTo>
                  <a:lnTo>
                    <a:pt x="152" y="348"/>
                  </a:lnTo>
                  <a:lnTo>
                    <a:pt x="160" y="351"/>
                  </a:lnTo>
                  <a:lnTo>
                    <a:pt x="172" y="350"/>
                  </a:lnTo>
                  <a:lnTo>
                    <a:pt x="189" y="361"/>
                  </a:lnTo>
                  <a:lnTo>
                    <a:pt x="176" y="385"/>
                  </a:lnTo>
                  <a:lnTo>
                    <a:pt x="182" y="385"/>
                  </a:lnTo>
                  <a:lnTo>
                    <a:pt x="193" y="398"/>
                  </a:lnTo>
                  <a:lnTo>
                    <a:pt x="201" y="333"/>
                  </a:lnTo>
                  <a:lnTo>
                    <a:pt x="201" y="322"/>
                  </a:lnTo>
                  <a:lnTo>
                    <a:pt x="198" y="309"/>
                  </a:lnTo>
                  <a:lnTo>
                    <a:pt x="189" y="300"/>
                  </a:lnTo>
                  <a:lnTo>
                    <a:pt x="189" y="283"/>
                  </a:lnTo>
                  <a:lnTo>
                    <a:pt x="201" y="279"/>
                  </a:lnTo>
                  <a:lnTo>
                    <a:pt x="205" y="281"/>
                  </a:lnTo>
                  <a:lnTo>
                    <a:pt x="206" y="273"/>
                  </a:lnTo>
                  <a:lnTo>
                    <a:pt x="194" y="270"/>
                  </a:lnTo>
                  <a:lnTo>
                    <a:pt x="194" y="255"/>
                  </a:lnTo>
                  <a:lnTo>
                    <a:pt x="234" y="256"/>
                  </a:lnTo>
                  <a:lnTo>
                    <a:pt x="241" y="248"/>
                  </a:lnTo>
                  <a:lnTo>
                    <a:pt x="247" y="255"/>
                  </a:lnTo>
                  <a:lnTo>
                    <a:pt x="250" y="269"/>
                  </a:lnTo>
                  <a:lnTo>
                    <a:pt x="255" y="266"/>
                  </a:lnTo>
                  <a:lnTo>
                    <a:pt x="249" y="242"/>
                  </a:lnTo>
                  <a:lnTo>
                    <a:pt x="243" y="234"/>
                  </a:lnTo>
                  <a:lnTo>
                    <a:pt x="236" y="229"/>
                  </a:lnTo>
                  <a:lnTo>
                    <a:pt x="247" y="217"/>
                  </a:lnTo>
                  <a:lnTo>
                    <a:pt x="246" y="211"/>
                  </a:lnTo>
                  <a:lnTo>
                    <a:pt x="240" y="205"/>
                  </a:lnTo>
                  <a:lnTo>
                    <a:pt x="236" y="189"/>
                  </a:lnTo>
                  <a:lnTo>
                    <a:pt x="238" y="172"/>
                  </a:lnTo>
                  <a:lnTo>
                    <a:pt x="243" y="164"/>
                  </a:lnTo>
                  <a:lnTo>
                    <a:pt x="248" y="152"/>
                  </a:lnTo>
                  <a:lnTo>
                    <a:pt x="240" y="147"/>
                  </a:lnTo>
                  <a:lnTo>
                    <a:pt x="228" y="150"/>
                  </a:lnTo>
                  <a:lnTo>
                    <a:pt x="213" y="149"/>
                  </a:lnTo>
                  <a:lnTo>
                    <a:pt x="205" y="152"/>
                  </a:lnTo>
                  <a:lnTo>
                    <a:pt x="191" y="131"/>
                  </a:lnTo>
                  <a:lnTo>
                    <a:pt x="179" y="127"/>
                  </a:lnTo>
                  <a:lnTo>
                    <a:pt x="152" y="130"/>
                  </a:lnTo>
                  <a:lnTo>
                    <a:pt x="147" y="122"/>
                  </a:lnTo>
                  <a:lnTo>
                    <a:pt x="142" y="120"/>
                  </a:lnTo>
                  <a:lnTo>
                    <a:pt x="141" y="114"/>
                  </a:lnTo>
                  <a:lnTo>
                    <a:pt x="144" y="106"/>
                  </a:lnTo>
                  <a:lnTo>
                    <a:pt x="143" y="96"/>
                  </a:lnTo>
                  <a:lnTo>
                    <a:pt x="138" y="91"/>
                  </a:lnTo>
                  <a:lnTo>
                    <a:pt x="137" y="81"/>
                  </a:lnTo>
                  <a:lnTo>
                    <a:pt x="125" y="79"/>
                  </a:lnTo>
                  <a:lnTo>
                    <a:pt x="132" y="65"/>
                  </a:lnTo>
                  <a:lnTo>
                    <a:pt x="136" y="48"/>
                  </a:lnTo>
                  <a:lnTo>
                    <a:pt x="142" y="39"/>
                  </a:lnTo>
                  <a:lnTo>
                    <a:pt x="151" y="32"/>
                  </a:lnTo>
                  <a:lnTo>
                    <a:pt x="156" y="20"/>
                  </a:lnTo>
                  <a:lnTo>
                    <a:pt x="170" y="16"/>
                  </a:lnTo>
                  <a:lnTo>
                    <a:pt x="170" y="16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8" name="Costa Rica">
              <a:extLst>
                <a:ext uri="{FF2B5EF4-FFF2-40B4-BE49-F238E27FC236}">
                  <a16:creationId xmlns:a16="http://schemas.microsoft.com/office/drawing/2014/main" id="{0B7D15E2-3D84-4589-BE9B-9D740A9F4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7219" y="3638323"/>
              <a:ext cx="109537" cy="112713"/>
            </a:xfrm>
            <a:custGeom>
              <a:avLst/>
              <a:gdLst>
                <a:gd name="T0" fmla="*/ 48 w 69"/>
                <a:gd name="T1" fmla="*/ 7 h 71"/>
                <a:gd name="T2" fmla="*/ 43 w 69"/>
                <a:gd name="T3" fmla="*/ 12 h 71"/>
                <a:gd name="T4" fmla="*/ 36 w 69"/>
                <a:gd name="T5" fmla="*/ 11 h 71"/>
                <a:gd name="T6" fmla="*/ 34 w 69"/>
                <a:gd name="T7" fmla="*/ 6 h 71"/>
                <a:gd name="T8" fmla="*/ 27 w 69"/>
                <a:gd name="T9" fmla="*/ 4 h 71"/>
                <a:gd name="T10" fmla="*/ 21 w 69"/>
                <a:gd name="T11" fmla="*/ 7 h 71"/>
                <a:gd name="T12" fmla="*/ 8 w 69"/>
                <a:gd name="T13" fmla="*/ 0 h 71"/>
                <a:gd name="T14" fmla="*/ 6 w 69"/>
                <a:gd name="T15" fmla="*/ 3 h 71"/>
                <a:gd name="T16" fmla="*/ 0 w 69"/>
                <a:gd name="T17" fmla="*/ 8 h 71"/>
                <a:gd name="T18" fmla="*/ 6 w 69"/>
                <a:gd name="T19" fmla="*/ 11 h 71"/>
                <a:gd name="T20" fmla="*/ 3 w 69"/>
                <a:gd name="T21" fmla="*/ 19 h 71"/>
                <a:gd name="T22" fmla="*/ 2 w 69"/>
                <a:gd name="T23" fmla="*/ 26 h 71"/>
                <a:gd name="T24" fmla="*/ 5 w 69"/>
                <a:gd name="T25" fmla="*/ 31 h 71"/>
                <a:gd name="T26" fmla="*/ 11 w 69"/>
                <a:gd name="T27" fmla="*/ 33 h 71"/>
                <a:gd name="T28" fmla="*/ 16 w 69"/>
                <a:gd name="T29" fmla="*/ 40 h 71"/>
                <a:gd name="T30" fmla="*/ 20 w 69"/>
                <a:gd name="T31" fmla="*/ 34 h 71"/>
                <a:gd name="T32" fmla="*/ 19 w 69"/>
                <a:gd name="T33" fmla="*/ 27 h 71"/>
                <a:gd name="T34" fmla="*/ 24 w 69"/>
                <a:gd name="T35" fmla="*/ 31 h 71"/>
                <a:gd name="T36" fmla="*/ 25 w 69"/>
                <a:gd name="T37" fmla="*/ 39 h 71"/>
                <a:gd name="T38" fmla="*/ 33 w 69"/>
                <a:gd name="T39" fmla="*/ 41 h 71"/>
                <a:gd name="T40" fmla="*/ 40 w 69"/>
                <a:gd name="T41" fmla="*/ 46 h 71"/>
                <a:gd name="T42" fmla="*/ 46 w 69"/>
                <a:gd name="T43" fmla="*/ 52 h 71"/>
                <a:gd name="T44" fmla="*/ 46 w 69"/>
                <a:gd name="T45" fmla="*/ 57 h 71"/>
                <a:gd name="T46" fmla="*/ 44 w 69"/>
                <a:gd name="T47" fmla="*/ 61 h 71"/>
                <a:gd name="T48" fmla="*/ 48 w 69"/>
                <a:gd name="T49" fmla="*/ 67 h 71"/>
                <a:gd name="T50" fmla="*/ 59 w 69"/>
                <a:gd name="T51" fmla="*/ 71 h 71"/>
                <a:gd name="T52" fmla="*/ 60 w 69"/>
                <a:gd name="T53" fmla="*/ 67 h 71"/>
                <a:gd name="T54" fmla="*/ 62 w 69"/>
                <a:gd name="T55" fmla="*/ 62 h 71"/>
                <a:gd name="T56" fmla="*/ 62 w 69"/>
                <a:gd name="T57" fmla="*/ 57 h 71"/>
                <a:gd name="T58" fmla="*/ 64 w 69"/>
                <a:gd name="T59" fmla="*/ 55 h 71"/>
                <a:gd name="T60" fmla="*/ 61 w 69"/>
                <a:gd name="T61" fmla="*/ 52 h 71"/>
                <a:gd name="T62" fmla="*/ 61 w 69"/>
                <a:gd name="T63" fmla="*/ 42 h 71"/>
                <a:gd name="T64" fmla="*/ 69 w 69"/>
                <a:gd name="T65" fmla="*/ 39 h 71"/>
                <a:gd name="T66" fmla="*/ 60 w 69"/>
                <a:gd name="T67" fmla="*/ 29 h 71"/>
                <a:gd name="T68" fmla="*/ 52 w 69"/>
                <a:gd name="T69" fmla="*/ 20 h 71"/>
                <a:gd name="T70" fmla="*/ 48 w 69"/>
                <a:gd name="T71" fmla="*/ 7 h 71"/>
                <a:gd name="T72" fmla="*/ 48 w 69"/>
                <a:gd name="T73" fmla="*/ 7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" h="71">
                  <a:moveTo>
                    <a:pt x="48" y="7"/>
                  </a:moveTo>
                  <a:lnTo>
                    <a:pt x="43" y="12"/>
                  </a:lnTo>
                  <a:lnTo>
                    <a:pt x="36" y="11"/>
                  </a:lnTo>
                  <a:lnTo>
                    <a:pt x="34" y="6"/>
                  </a:lnTo>
                  <a:lnTo>
                    <a:pt x="27" y="4"/>
                  </a:lnTo>
                  <a:lnTo>
                    <a:pt x="21" y="7"/>
                  </a:lnTo>
                  <a:lnTo>
                    <a:pt x="8" y="0"/>
                  </a:lnTo>
                  <a:lnTo>
                    <a:pt x="6" y="3"/>
                  </a:lnTo>
                  <a:lnTo>
                    <a:pt x="0" y="8"/>
                  </a:lnTo>
                  <a:lnTo>
                    <a:pt x="6" y="11"/>
                  </a:lnTo>
                  <a:lnTo>
                    <a:pt x="3" y="19"/>
                  </a:lnTo>
                  <a:lnTo>
                    <a:pt x="2" y="26"/>
                  </a:lnTo>
                  <a:lnTo>
                    <a:pt x="5" y="31"/>
                  </a:lnTo>
                  <a:lnTo>
                    <a:pt x="11" y="33"/>
                  </a:lnTo>
                  <a:lnTo>
                    <a:pt x="16" y="40"/>
                  </a:lnTo>
                  <a:lnTo>
                    <a:pt x="20" y="34"/>
                  </a:lnTo>
                  <a:lnTo>
                    <a:pt x="19" y="27"/>
                  </a:lnTo>
                  <a:lnTo>
                    <a:pt x="24" y="31"/>
                  </a:lnTo>
                  <a:lnTo>
                    <a:pt x="25" y="39"/>
                  </a:lnTo>
                  <a:lnTo>
                    <a:pt x="33" y="41"/>
                  </a:lnTo>
                  <a:lnTo>
                    <a:pt x="40" y="46"/>
                  </a:lnTo>
                  <a:lnTo>
                    <a:pt x="46" y="52"/>
                  </a:lnTo>
                  <a:lnTo>
                    <a:pt x="46" y="57"/>
                  </a:lnTo>
                  <a:lnTo>
                    <a:pt x="44" y="61"/>
                  </a:lnTo>
                  <a:lnTo>
                    <a:pt x="48" y="67"/>
                  </a:lnTo>
                  <a:lnTo>
                    <a:pt x="59" y="71"/>
                  </a:lnTo>
                  <a:lnTo>
                    <a:pt x="60" y="67"/>
                  </a:lnTo>
                  <a:lnTo>
                    <a:pt x="62" y="62"/>
                  </a:lnTo>
                  <a:lnTo>
                    <a:pt x="62" y="57"/>
                  </a:lnTo>
                  <a:lnTo>
                    <a:pt x="64" y="55"/>
                  </a:lnTo>
                  <a:lnTo>
                    <a:pt x="61" y="52"/>
                  </a:lnTo>
                  <a:lnTo>
                    <a:pt x="61" y="42"/>
                  </a:lnTo>
                  <a:lnTo>
                    <a:pt x="69" y="39"/>
                  </a:lnTo>
                  <a:lnTo>
                    <a:pt x="60" y="29"/>
                  </a:lnTo>
                  <a:lnTo>
                    <a:pt x="52" y="20"/>
                  </a:lnTo>
                  <a:lnTo>
                    <a:pt x="48" y="7"/>
                  </a:lnTo>
                  <a:lnTo>
                    <a:pt x="48" y="7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9" name="Cuba">
              <a:extLst>
                <a:ext uri="{FF2B5EF4-FFF2-40B4-BE49-F238E27FC236}">
                  <a16:creationId xmlns:a16="http://schemas.microsoft.com/office/drawing/2014/main" id="{BEA33B82-3914-439B-8E0F-4FEB1C63E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3419" y="3185887"/>
              <a:ext cx="346075" cy="127000"/>
            </a:xfrm>
            <a:custGeom>
              <a:avLst/>
              <a:gdLst>
                <a:gd name="T0" fmla="*/ 112 w 218"/>
                <a:gd name="T1" fmla="*/ 11 h 80"/>
                <a:gd name="T2" fmla="*/ 93 w 218"/>
                <a:gd name="T3" fmla="*/ 3 h 80"/>
                <a:gd name="T4" fmla="*/ 77 w 218"/>
                <a:gd name="T5" fmla="*/ 2 h 80"/>
                <a:gd name="T6" fmla="*/ 59 w 218"/>
                <a:gd name="T7" fmla="*/ 0 h 80"/>
                <a:gd name="T8" fmla="*/ 55 w 218"/>
                <a:gd name="T9" fmla="*/ 3 h 80"/>
                <a:gd name="T10" fmla="*/ 39 w 218"/>
                <a:gd name="T11" fmla="*/ 6 h 80"/>
                <a:gd name="T12" fmla="*/ 28 w 218"/>
                <a:gd name="T13" fmla="*/ 11 h 80"/>
                <a:gd name="T14" fmla="*/ 17 w 218"/>
                <a:gd name="T15" fmla="*/ 15 h 80"/>
                <a:gd name="T16" fmla="*/ 12 w 218"/>
                <a:gd name="T17" fmla="*/ 25 h 80"/>
                <a:gd name="T18" fmla="*/ 0 w 218"/>
                <a:gd name="T19" fmla="*/ 32 h 80"/>
                <a:gd name="T20" fmla="*/ 9 w 218"/>
                <a:gd name="T21" fmla="*/ 34 h 80"/>
                <a:gd name="T22" fmla="*/ 19 w 218"/>
                <a:gd name="T23" fmla="*/ 31 h 80"/>
                <a:gd name="T24" fmla="*/ 23 w 218"/>
                <a:gd name="T25" fmla="*/ 26 h 80"/>
                <a:gd name="T26" fmla="*/ 31 w 218"/>
                <a:gd name="T27" fmla="*/ 25 h 80"/>
                <a:gd name="T28" fmla="*/ 48 w 218"/>
                <a:gd name="T29" fmla="*/ 13 h 80"/>
                <a:gd name="T30" fmla="*/ 68 w 218"/>
                <a:gd name="T31" fmla="*/ 14 h 80"/>
                <a:gd name="T32" fmla="*/ 59 w 218"/>
                <a:gd name="T33" fmla="*/ 20 h 80"/>
                <a:gd name="T34" fmla="*/ 66 w 218"/>
                <a:gd name="T35" fmla="*/ 25 h 80"/>
                <a:gd name="T36" fmla="*/ 92 w 218"/>
                <a:gd name="T37" fmla="*/ 29 h 80"/>
                <a:gd name="T38" fmla="*/ 98 w 218"/>
                <a:gd name="T39" fmla="*/ 33 h 80"/>
                <a:gd name="T40" fmla="*/ 116 w 218"/>
                <a:gd name="T41" fmla="*/ 40 h 80"/>
                <a:gd name="T42" fmla="*/ 128 w 218"/>
                <a:gd name="T43" fmla="*/ 39 h 80"/>
                <a:gd name="T44" fmla="*/ 131 w 218"/>
                <a:gd name="T45" fmla="*/ 53 h 80"/>
                <a:gd name="T46" fmla="*/ 138 w 218"/>
                <a:gd name="T47" fmla="*/ 59 h 80"/>
                <a:gd name="T48" fmla="*/ 151 w 218"/>
                <a:gd name="T49" fmla="*/ 60 h 80"/>
                <a:gd name="T50" fmla="*/ 158 w 218"/>
                <a:gd name="T51" fmla="*/ 67 h 80"/>
                <a:gd name="T52" fmla="*/ 143 w 218"/>
                <a:gd name="T53" fmla="*/ 80 h 80"/>
                <a:gd name="T54" fmla="*/ 172 w 218"/>
                <a:gd name="T55" fmla="*/ 78 h 80"/>
                <a:gd name="T56" fmla="*/ 186 w 218"/>
                <a:gd name="T57" fmla="*/ 80 h 80"/>
                <a:gd name="T58" fmla="*/ 200 w 218"/>
                <a:gd name="T59" fmla="*/ 79 h 80"/>
                <a:gd name="T60" fmla="*/ 214 w 218"/>
                <a:gd name="T61" fmla="*/ 75 h 80"/>
                <a:gd name="T62" fmla="*/ 218 w 218"/>
                <a:gd name="T63" fmla="*/ 70 h 80"/>
                <a:gd name="T64" fmla="*/ 203 w 218"/>
                <a:gd name="T65" fmla="*/ 60 h 80"/>
                <a:gd name="T66" fmla="*/ 188 w 218"/>
                <a:gd name="T67" fmla="*/ 59 h 80"/>
                <a:gd name="T68" fmla="*/ 190 w 218"/>
                <a:gd name="T69" fmla="*/ 53 h 80"/>
                <a:gd name="T70" fmla="*/ 179 w 218"/>
                <a:gd name="T71" fmla="*/ 48 h 80"/>
                <a:gd name="T72" fmla="*/ 171 w 218"/>
                <a:gd name="T73" fmla="*/ 48 h 80"/>
                <a:gd name="T74" fmla="*/ 160 w 218"/>
                <a:gd name="T75" fmla="*/ 38 h 80"/>
                <a:gd name="T76" fmla="*/ 145 w 218"/>
                <a:gd name="T77" fmla="*/ 23 h 80"/>
                <a:gd name="T78" fmla="*/ 138 w 218"/>
                <a:gd name="T79" fmla="*/ 17 h 80"/>
                <a:gd name="T80" fmla="*/ 119 w 218"/>
                <a:gd name="T81" fmla="*/ 20 h 80"/>
                <a:gd name="T82" fmla="*/ 112 w 218"/>
                <a:gd name="T83" fmla="*/ 11 h 80"/>
                <a:gd name="T84" fmla="*/ 112 w 218"/>
                <a:gd name="T85" fmla="*/ 1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18" h="80">
                  <a:moveTo>
                    <a:pt x="112" y="11"/>
                  </a:moveTo>
                  <a:lnTo>
                    <a:pt x="93" y="3"/>
                  </a:lnTo>
                  <a:lnTo>
                    <a:pt x="77" y="2"/>
                  </a:lnTo>
                  <a:lnTo>
                    <a:pt x="59" y="0"/>
                  </a:lnTo>
                  <a:lnTo>
                    <a:pt x="55" y="3"/>
                  </a:lnTo>
                  <a:lnTo>
                    <a:pt x="39" y="6"/>
                  </a:lnTo>
                  <a:lnTo>
                    <a:pt x="28" y="11"/>
                  </a:lnTo>
                  <a:lnTo>
                    <a:pt x="17" y="15"/>
                  </a:lnTo>
                  <a:lnTo>
                    <a:pt x="12" y="25"/>
                  </a:lnTo>
                  <a:lnTo>
                    <a:pt x="0" y="32"/>
                  </a:lnTo>
                  <a:lnTo>
                    <a:pt x="9" y="34"/>
                  </a:lnTo>
                  <a:lnTo>
                    <a:pt x="19" y="31"/>
                  </a:lnTo>
                  <a:lnTo>
                    <a:pt x="23" y="26"/>
                  </a:lnTo>
                  <a:lnTo>
                    <a:pt x="31" y="25"/>
                  </a:lnTo>
                  <a:lnTo>
                    <a:pt x="48" y="13"/>
                  </a:lnTo>
                  <a:lnTo>
                    <a:pt x="68" y="14"/>
                  </a:lnTo>
                  <a:lnTo>
                    <a:pt x="59" y="20"/>
                  </a:lnTo>
                  <a:lnTo>
                    <a:pt x="66" y="25"/>
                  </a:lnTo>
                  <a:lnTo>
                    <a:pt x="92" y="29"/>
                  </a:lnTo>
                  <a:lnTo>
                    <a:pt x="98" y="33"/>
                  </a:lnTo>
                  <a:lnTo>
                    <a:pt x="116" y="40"/>
                  </a:lnTo>
                  <a:lnTo>
                    <a:pt x="128" y="39"/>
                  </a:lnTo>
                  <a:lnTo>
                    <a:pt x="131" y="53"/>
                  </a:lnTo>
                  <a:lnTo>
                    <a:pt x="138" y="59"/>
                  </a:lnTo>
                  <a:lnTo>
                    <a:pt x="151" y="60"/>
                  </a:lnTo>
                  <a:lnTo>
                    <a:pt x="158" y="67"/>
                  </a:lnTo>
                  <a:lnTo>
                    <a:pt x="143" y="80"/>
                  </a:lnTo>
                  <a:lnTo>
                    <a:pt x="172" y="78"/>
                  </a:lnTo>
                  <a:lnTo>
                    <a:pt x="186" y="80"/>
                  </a:lnTo>
                  <a:lnTo>
                    <a:pt x="200" y="79"/>
                  </a:lnTo>
                  <a:lnTo>
                    <a:pt x="214" y="75"/>
                  </a:lnTo>
                  <a:lnTo>
                    <a:pt x="218" y="70"/>
                  </a:lnTo>
                  <a:lnTo>
                    <a:pt x="203" y="60"/>
                  </a:lnTo>
                  <a:lnTo>
                    <a:pt x="188" y="59"/>
                  </a:lnTo>
                  <a:lnTo>
                    <a:pt x="190" y="53"/>
                  </a:lnTo>
                  <a:lnTo>
                    <a:pt x="179" y="48"/>
                  </a:lnTo>
                  <a:lnTo>
                    <a:pt x="171" y="48"/>
                  </a:lnTo>
                  <a:lnTo>
                    <a:pt x="160" y="38"/>
                  </a:lnTo>
                  <a:lnTo>
                    <a:pt x="145" y="23"/>
                  </a:lnTo>
                  <a:lnTo>
                    <a:pt x="138" y="17"/>
                  </a:lnTo>
                  <a:lnTo>
                    <a:pt x="119" y="20"/>
                  </a:lnTo>
                  <a:lnTo>
                    <a:pt x="112" y="11"/>
                  </a:lnTo>
                  <a:lnTo>
                    <a:pt x="112" y="11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0" name="Czech Republic">
              <a:extLst>
                <a:ext uri="{FF2B5EF4-FFF2-40B4-BE49-F238E27FC236}">
                  <a16:creationId xmlns:a16="http://schemas.microsoft.com/office/drawing/2014/main" id="{213A9A72-76BB-46E4-8BB5-2D7376EF78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9206" y="2142898"/>
              <a:ext cx="193675" cy="93663"/>
            </a:xfrm>
            <a:custGeom>
              <a:avLst/>
              <a:gdLst>
                <a:gd name="T0" fmla="*/ 49 w 122"/>
                <a:gd name="T1" fmla="*/ 0 h 59"/>
                <a:gd name="T2" fmla="*/ 41 w 122"/>
                <a:gd name="T3" fmla="*/ 2 h 59"/>
                <a:gd name="T4" fmla="*/ 36 w 122"/>
                <a:gd name="T5" fmla="*/ 0 h 59"/>
                <a:gd name="T6" fmla="*/ 31 w 122"/>
                <a:gd name="T7" fmla="*/ 4 h 59"/>
                <a:gd name="T8" fmla="*/ 19 w 122"/>
                <a:gd name="T9" fmla="*/ 9 h 59"/>
                <a:gd name="T10" fmla="*/ 13 w 122"/>
                <a:gd name="T11" fmla="*/ 14 h 59"/>
                <a:gd name="T12" fmla="*/ 0 w 122"/>
                <a:gd name="T13" fmla="*/ 19 h 59"/>
                <a:gd name="T14" fmla="*/ 3 w 122"/>
                <a:gd name="T15" fmla="*/ 26 h 59"/>
                <a:gd name="T16" fmla="*/ 6 w 122"/>
                <a:gd name="T17" fmla="*/ 36 h 59"/>
                <a:gd name="T18" fmla="*/ 16 w 122"/>
                <a:gd name="T19" fmla="*/ 41 h 59"/>
                <a:gd name="T20" fmla="*/ 27 w 122"/>
                <a:gd name="T21" fmla="*/ 52 h 59"/>
                <a:gd name="T22" fmla="*/ 41 w 122"/>
                <a:gd name="T23" fmla="*/ 59 h 59"/>
                <a:gd name="T24" fmla="*/ 51 w 122"/>
                <a:gd name="T25" fmla="*/ 50 h 59"/>
                <a:gd name="T26" fmla="*/ 57 w 122"/>
                <a:gd name="T27" fmla="*/ 48 h 59"/>
                <a:gd name="T28" fmla="*/ 72 w 122"/>
                <a:gd name="T29" fmla="*/ 54 h 59"/>
                <a:gd name="T30" fmla="*/ 81 w 122"/>
                <a:gd name="T31" fmla="*/ 53 h 59"/>
                <a:gd name="T32" fmla="*/ 89 w 122"/>
                <a:gd name="T33" fmla="*/ 58 h 59"/>
                <a:gd name="T34" fmla="*/ 91 w 122"/>
                <a:gd name="T35" fmla="*/ 52 h 59"/>
                <a:gd name="T36" fmla="*/ 100 w 122"/>
                <a:gd name="T37" fmla="*/ 53 h 59"/>
                <a:gd name="T38" fmla="*/ 105 w 122"/>
                <a:gd name="T39" fmla="*/ 51 h 59"/>
                <a:gd name="T40" fmla="*/ 106 w 122"/>
                <a:gd name="T41" fmla="*/ 49 h 59"/>
                <a:gd name="T42" fmla="*/ 109 w 122"/>
                <a:gd name="T43" fmla="*/ 48 h 59"/>
                <a:gd name="T44" fmla="*/ 110 w 122"/>
                <a:gd name="T45" fmla="*/ 42 h 59"/>
                <a:gd name="T46" fmla="*/ 114 w 122"/>
                <a:gd name="T47" fmla="*/ 41 h 59"/>
                <a:gd name="T48" fmla="*/ 116 w 122"/>
                <a:gd name="T49" fmla="*/ 38 h 59"/>
                <a:gd name="T50" fmla="*/ 122 w 122"/>
                <a:gd name="T51" fmla="*/ 38 h 59"/>
                <a:gd name="T52" fmla="*/ 113 w 122"/>
                <a:gd name="T53" fmla="*/ 25 h 59"/>
                <a:gd name="T54" fmla="*/ 99 w 122"/>
                <a:gd name="T55" fmla="*/ 24 h 59"/>
                <a:gd name="T56" fmla="*/ 96 w 122"/>
                <a:gd name="T57" fmla="*/ 17 h 59"/>
                <a:gd name="T58" fmla="*/ 84 w 122"/>
                <a:gd name="T59" fmla="*/ 15 h 59"/>
                <a:gd name="T60" fmla="*/ 81 w 122"/>
                <a:gd name="T61" fmla="*/ 21 h 59"/>
                <a:gd name="T62" fmla="*/ 72 w 122"/>
                <a:gd name="T63" fmla="*/ 16 h 59"/>
                <a:gd name="T64" fmla="*/ 72 w 122"/>
                <a:gd name="T65" fmla="*/ 10 h 59"/>
                <a:gd name="T66" fmla="*/ 58 w 122"/>
                <a:gd name="T67" fmla="*/ 8 h 59"/>
                <a:gd name="T68" fmla="*/ 49 w 122"/>
                <a:gd name="T69" fmla="*/ 0 h 59"/>
                <a:gd name="T70" fmla="*/ 49 w 122"/>
                <a:gd name="T71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2" h="59">
                  <a:moveTo>
                    <a:pt x="49" y="0"/>
                  </a:moveTo>
                  <a:lnTo>
                    <a:pt x="41" y="2"/>
                  </a:lnTo>
                  <a:lnTo>
                    <a:pt x="36" y="0"/>
                  </a:lnTo>
                  <a:lnTo>
                    <a:pt x="31" y="4"/>
                  </a:lnTo>
                  <a:lnTo>
                    <a:pt x="19" y="9"/>
                  </a:lnTo>
                  <a:lnTo>
                    <a:pt x="13" y="14"/>
                  </a:lnTo>
                  <a:lnTo>
                    <a:pt x="0" y="19"/>
                  </a:lnTo>
                  <a:lnTo>
                    <a:pt x="3" y="26"/>
                  </a:lnTo>
                  <a:lnTo>
                    <a:pt x="6" y="36"/>
                  </a:lnTo>
                  <a:lnTo>
                    <a:pt x="16" y="41"/>
                  </a:lnTo>
                  <a:lnTo>
                    <a:pt x="27" y="52"/>
                  </a:lnTo>
                  <a:lnTo>
                    <a:pt x="41" y="59"/>
                  </a:lnTo>
                  <a:lnTo>
                    <a:pt x="51" y="50"/>
                  </a:lnTo>
                  <a:lnTo>
                    <a:pt x="57" y="48"/>
                  </a:lnTo>
                  <a:lnTo>
                    <a:pt x="72" y="54"/>
                  </a:lnTo>
                  <a:lnTo>
                    <a:pt x="81" y="53"/>
                  </a:lnTo>
                  <a:lnTo>
                    <a:pt x="89" y="58"/>
                  </a:lnTo>
                  <a:lnTo>
                    <a:pt x="91" y="52"/>
                  </a:lnTo>
                  <a:lnTo>
                    <a:pt x="100" y="53"/>
                  </a:lnTo>
                  <a:lnTo>
                    <a:pt x="105" y="51"/>
                  </a:lnTo>
                  <a:lnTo>
                    <a:pt x="106" y="49"/>
                  </a:lnTo>
                  <a:lnTo>
                    <a:pt x="109" y="48"/>
                  </a:lnTo>
                  <a:lnTo>
                    <a:pt x="110" y="42"/>
                  </a:lnTo>
                  <a:lnTo>
                    <a:pt x="114" y="41"/>
                  </a:lnTo>
                  <a:lnTo>
                    <a:pt x="116" y="38"/>
                  </a:lnTo>
                  <a:lnTo>
                    <a:pt x="122" y="38"/>
                  </a:lnTo>
                  <a:lnTo>
                    <a:pt x="113" y="25"/>
                  </a:lnTo>
                  <a:lnTo>
                    <a:pt x="99" y="24"/>
                  </a:lnTo>
                  <a:lnTo>
                    <a:pt x="96" y="17"/>
                  </a:lnTo>
                  <a:lnTo>
                    <a:pt x="84" y="15"/>
                  </a:lnTo>
                  <a:lnTo>
                    <a:pt x="81" y="21"/>
                  </a:lnTo>
                  <a:lnTo>
                    <a:pt x="72" y="16"/>
                  </a:lnTo>
                  <a:lnTo>
                    <a:pt x="72" y="10"/>
                  </a:lnTo>
                  <a:lnTo>
                    <a:pt x="58" y="8"/>
                  </a:lnTo>
                  <a:lnTo>
                    <a:pt x="49" y="0"/>
                  </a:lnTo>
                  <a:lnTo>
                    <a:pt x="49" y="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1" name="Germany">
              <a:extLst>
                <a:ext uri="{FF2B5EF4-FFF2-40B4-BE49-F238E27FC236}">
                  <a16:creationId xmlns:a16="http://schemas.microsoft.com/office/drawing/2014/main" id="{44BB5698-474D-4B3C-BABC-3C2EDB2B07D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6644" y="2003199"/>
              <a:ext cx="260350" cy="279399"/>
            </a:xfrm>
            <a:custGeom>
              <a:avLst/>
              <a:gdLst>
                <a:gd name="T0" fmla="*/ 142 w 164"/>
                <a:gd name="T1" fmla="*/ 27 h 176"/>
                <a:gd name="T2" fmla="*/ 133 w 164"/>
                <a:gd name="T3" fmla="*/ 21 h 176"/>
                <a:gd name="T4" fmla="*/ 113 w 164"/>
                <a:gd name="T5" fmla="*/ 12 h 176"/>
                <a:gd name="T6" fmla="*/ 103 w 164"/>
                <a:gd name="T7" fmla="*/ 18 h 176"/>
                <a:gd name="T8" fmla="*/ 86 w 164"/>
                <a:gd name="T9" fmla="*/ 22 h 176"/>
                <a:gd name="T10" fmla="*/ 86 w 164"/>
                <a:gd name="T11" fmla="*/ 14 h 176"/>
                <a:gd name="T12" fmla="*/ 67 w 164"/>
                <a:gd name="T13" fmla="*/ 9 h 176"/>
                <a:gd name="T14" fmla="*/ 66 w 164"/>
                <a:gd name="T15" fmla="*/ 0 h 176"/>
                <a:gd name="T16" fmla="*/ 55 w 164"/>
                <a:gd name="T17" fmla="*/ 4 h 176"/>
                <a:gd name="T18" fmla="*/ 42 w 164"/>
                <a:gd name="T19" fmla="*/ 0 h 176"/>
                <a:gd name="T20" fmla="*/ 43 w 164"/>
                <a:gd name="T21" fmla="*/ 13 h 176"/>
                <a:gd name="T22" fmla="*/ 47 w 164"/>
                <a:gd name="T23" fmla="*/ 22 h 176"/>
                <a:gd name="T24" fmla="*/ 36 w 164"/>
                <a:gd name="T25" fmla="*/ 33 h 176"/>
                <a:gd name="T26" fmla="*/ 32 w 164"/>
                <a:gd name="T27" fmla="*/ 28 h 176"/>
                <a:gd name="T28" fmla="*/ 18 w 164"/>
                <a:gd name="T29" fmla="*/ 29 h 176"/>
                <a:gd name="T30" fmla="*/ 15 w 164"/>
                <a:gd name="T31" fmla="*/ 34 h 176"/>
                <a:gd name="T32" fmla="*/ 18 w 164"/>
                <a:gd name="T33" fmla="*/ 42 h 176"/>
                <a:gd name="T34" fmla="*/ 15 w 164"/>
                <a:gd name="T35" fmla="*/ 62 h 176"/>
                <a:gd name="T36" fmla="*/ 11 w 164"/>
                <a:gd name="T37" fmla="*/ 71 h 176"/>
                <a:gd name="T38" fmla="*/ 0 w 164"/>
                <a:gd name="T39" fmla="*/ 71 h 176"/>
                <a:gd name="T40" fmla="*/ 4 w 164"/>
                <a:gd name="T41" fmla="*/ 95 h 176"/>
                <a:gd name="T42" fmla="*/ 3 w 164"/>
                <a:gd name="T43" fmla="*/ 111 h 176"/>
                <a:gd name="T44" fmla="*/ 6 w 164"/>
                <a:gd name="T45" fmla="*/ 116 h 176"/>
                <a:gd name="T46" fmla="*/ 5 w 164"/>
                <a:gd name="T47" fmla="*/ 126 h 176"/>
                <a:gd name="T48" fmla="*/ 15 w 164"/>
                <a:gd name="T49" fmla="*/ 132 h 176"/>
                <a:gd name="T50" fmla="*/ 41 w 164"/>
                <a:gd name="T51" fmla="*/ 137 h 176"/>
                <a:gd name="T52" fmla="*/ 32 w 164"/>
                <a:gd name="T53" fmla="*/ 152 h 176"/>
                <a:gd name="T54" fmla="*/ 31 w 164"/>
                <a:gd name="T55" fmla="*/ 168 h 176"/>
                <a:gd name="T56" fmla="*/ 46 w 164"/>
                <a:gd name="T57" fmla="*/ 168 h 176"/>
                <a:gd name="T58" fmla="*/ 50 w 164"/>
                <a:gd name="T59" fmla="*/ 164 h 176"/>
                <a:gd name="T60" fmla="*/ 70 w 164"/>
                <a:gd name="T61" fmla="*/ 170 h 176"/>
                <a:gd name="T62" fmla="*/ 75 w 164"/>
                <a:gd name="T63" fmla="*/ 169 h 176"/>
                <a:gd name="T64" fmla="*/ 86 w 164"/>
                <a:gd name="T65" fmla="*/ 176 h 176"/>
                <a:gd name="T66" fmla="*/ 88 w 164"/>
                <a:gd name="T67" fmla="*/ 170 h 176"/>
                <a:gd name="T68" fmla="*/ 104 w 164"/>
                <a:gd name="T69" fmla="*/ 171 h 176"/>
                <a:gd name="T70" fmla="*/ 117 w 164"/>
                <a:gd name="T71" fmla="*/ 167 h 176"/>
                <a:gd name="T72" fmla="*/ 126 w 164"/>
                <a:gd name="T73" fmla="*/ 168 h 176"/>
                <a:gd name="T74" fmla="*/ 132 w 164"/>
                <a:gd name="T75" fmla="*/ 172 h 176"/>
                <a:gd name="T76" fmla="*/ 133 w 164"/>
                <a:gd name="T77" fmla="*/ 168 h 176"/>
                <a:gd name="T78" fmla="*/ 130 w 164"/>
                <a:gd name="T79" fmla="*/ 154 h 176"/>
                <a:gd name="T80" fmla="*/ 136 w 164"/>
                <a:gd name="T81" fmla="*/ 150 h 176"/>
                <a:gd name="T82" fmla="*/ 142 w 164"/>
                <a:gd name="T83" fmla="*/ 140 h 176"/>
                <a:gd name="T84" fmla="*/ 131 w 164"/>
                <a:gd name="T85" fmla="*/ 129 h 176"/>
                <a:gd name="T86" fmla="*/ 121 w 164"/>
                <a:gd name="T87" fmla="*/ 124 h 176"/>
                <a:gd name="T88" fmla="*/ 118 w 164"/>
                <a:gd name="T89" fmla="*/ 114 h 176"/>
                <a:gd name="T90" fmla="*/ 115 w 164"/>
                <a:gd name="T91" fmla="*/ 107 h 176"/>
                <a:gd name="T92" fmla="*/ 128 w 164"/>
                <a:gd name="T93" fmla="*/ 102 h 176"/>
                <a:gd name="T94" fmla="*/ 134 w 164"/>
                <a:gd name="T95" fmla="*/ 97 h 176"/>
                <a:gd name="T96" fmla="*/ 146 w 164"/>
                <a:gd name="T97" fmla="*/ 92 h 176"/>
                <a:gd name="T98" fmla="*/ 151 w 164"/>
                <a:gd name="T99" fmla="*/ 88 h 176"/>
                <a:gd name="T100" fmla="*/ 156 w 164"/>
                <a:gd name="T101" fmla="*/ 90 h 176"/>
                <a:gd name="T102" fmla="*/ 164 w 164"/>
                <a:gd name="T103" fmla="*/ 88 h 176"/>
                <a:gd name="T104" fmla="*/ 155 w 164"/>
                <a:gd name="T105" fmla="*/ 73 h 176"/>
                <a:gd name="T106" fmla="*/ 156 w 164"/>
                <a:gd name="T107" fmla="*/ 66 h 176"/>
                <a:gd name="T108" fmla="*/ 150 w 164"/>
                <a:gd name="T109" fmla="*/ 54 h 176"/>
                <a:gd name="T110" fmla="*/ 143 w 164"/>
                <a:gd name="T111" fmla="*/ 45 h 176"/>
                <a:gd name="T112" fmla="*/ 147 w 164"/>
                <a:gd name="T113" fmla="*/ 40 h 176"/>
                <a:gd name="T114" fmla="*/ 142 w 164"/>
                <a:gd name="T115" fmla="*/ 27 h 176"/>
                <a:gd name="T116" fmla="*/ 142 w 164"/>
                <a:gd name="T117" fmla="*/ 27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4" h="176">
                  <a:moveTo>
                    <a:pt x="142" y="27"/>
                  </a:moveTo>
                  <a:lnTo>
                    <a:pt x="133" y="21"/>
                  </a:lnTo>
                  <a:lnTo>
                    <a:pt x="113" y="12"/>
                  </a:lnTo>
                  <a:lnTo>
                    <a:pt x="103" y="18"/>
                  </a:lnTo>
                  <a:lnTo>
                    <a:pt x="86" y="22"/>
                  </a:lnTo>
                  <a:lnTo>
                    <a:pt x="86" y="14"/>
                  </a:lnTo>
                  <a:lnTo>
                    <a:pt x="67" y="9"/>
                  </a:lnTo>
                  <a:lnTo>
                    <a:pt x="66" y="0"/>
                  </a:lnTo>
                  <a:lnTo>
                    <a:pt x="55" y="4"/>
                  </a:lnTo>
                  <a:lnTo>
                    <a:pt x="42" y="0"/>
                  </a:lnTo>
                  <a:lnTo>
                    <a:pt x="43" y="13"/>
                  </a:lnTo>
                  <a:lnTo>
                    <a:pt x="47" y="22"/>
                  </a:lnTo>
                  <a:lnTo>
                    <a:pt x="36" y="33"/>
                  </a:lnTo>
                  <a:lnTo>
                    <a:pt x="32" y="28"/>
                  </a:lnTo>
                  <a:lnTo>
                    <a:pt x="18" y="29"/>
                  </a:lnTo>
                  <a:lnTo>
                    <a:pt x="15" y="34"/>
                  </a:lnTo>
                  <a:lnTo>
                    <a:pt x="18" y="42"/>
                  </a:lnTo>
                  <a:lnTo>
                    <a:pt x="15" y="62"/>
                  </a:lnTo>
                  <a:lnTo>
                    <a:pt x="11" y="71"/>
                  </a:lnTo>
                  <a:lnTo>
                    <a:pt x="0" y="71"/>
                  </a:lnTo>
                  <a:lnTo>
                    <a:pt x="4" y="95"/>
                  </a:lnTo>
                  <a:lnTo>
                    <a:pt x="3" y="111"/>
                  </a:lnTo>
                  <a:lnTo>
                    <a:pt x="6" y="116"/>
                  </a:lnTo>
                  <a:lnTo>
                    <a:pt x="5" y="126"/>
                  </a:lnTo>
                  <a:lnTo>
                    <a:pt x="15" y="132"/>
                  </a:lnTo>
                  <a:lnTo>
                    <a:pt x="41" y="137"/>
                  </a:lnTo>
                  <a:lnTo>
                    <a:pt x="32" y="152"/>
                  </a:lnTo>
                  <a:lnTo>
                    <a:pt x="31" y="168"/>
                  </a:lnTo>
                  <a:lnTo>
                    <a:pt x="46" y="168"/>
                  </a:lnTo>
                  <a:lnTo>
                    <a:pt x="50" y="164"/>
                  </a:lnTo>
                  <a:lnTo>
                    <a:pt x="70" y="170"/>
                  </a:lnTo>
                  <a:lnTo>
                    <a:pt x="75" y="169"/>
                  </a:lnTo>
                  <a:lnTo>
                    <a:pt x="86" y="176"/>
                  </a:lnTo>
                  <a:lnTo>
                    <a:pt x="88" y="170"/>
                  </a:lnTo>
                  <a:lnTo>
                    <a:pt x="104" y="171"/>
                  </a:lnTo>
                  <a:lnTo>
                    <a:pt x="117" y="167"/>
                  </a:lnTo>
                  <a:lnTo>
                    <a:pt x="126" y="168"/>
                  </a:lnTo>
                  <a:lnTo>
                    <a:pt x="132" y="172"/>
                  </a:lnTo>
                  <a:lnTo>
                    <a:pt x="133" y="168"/>
                  </a:lnTo>
                  <a:lnTo>
                    <a:pt x="130" y="154"/>
                  </a:lnTo>
                  <a:lnTo>
                    <a:pt x="136" y="150"/>
                  </a:lnTo>
                  <a:lnTo>
                    <a:pt x="142" y="140"/>
                  </a:lnTo>
                  <a:lnTo>
                    <a:pt x="131" y="129"/>
                  </a:lnTo>
                  <a:lnTo>
                    <a:pt x="121" y="124"/>
                  </a:lnTo>
                  <a:lnTo>
                    <a:pt x="118" y="114"/>
                  </a:lnTo>
                  <a:lnTo>
                    <a:pt x="115" y="107"/>
                  </a:lnTo>
                  <a:lnTo>
                    <a:pt x="128" y="102"/>
                  </a:lnTo>
                  <a:lnTo>
                    <a:pt x="134" y="97"/>
                  </a:lnTo>
                  <a:lnTo>
                    <a:pt x="146" y="92"/>
                  </a:lnTo>
                  <a:lnTo>
                    <a:pt x="151" y="88"/>
                  </a:lnTo>
                  <a:lnTo>
                    <a:pt x="156" y="90"/>
                  </a:lnTo>
                  <a:lnTo>
                    <a:pt x="164" y="88"/>
                  </a:lnTo>
                  <a:lnTo>
                    <a:pt x="155" y="73"/>
                  </a:lnTo>
                  <a:lnTo>
                    <a:pt x="156" y="66"/>
                  </a:lnTo>
                  <a:lnTo>
                    <a:pt x="150" y="54"/>
                  </a:lnTo>
                  <a:lnTo>
                    <a:pt x="143" y="45"/>
                  </a:lnTo>
                  <a:lnTo>
                    <a:pt x="147" y="40"/>
                  </a:lnTo>
                  <a:lnTo>
                    <a:pt x="142" y="27"/>
                  </a:lnTo>
                  <a:lnTo>
                    <a:pt x="142" y="27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2" name="Djibouti">
              <a:extLst>
                <a:ext uri="{FF2B5EF4-FFF2-40B4-BE49-F238E27FC236}">
                  <a16:creationId xmlns:a16="http://schemas.microsoft.com/office/drawing/2014/main" id="{D04CDB33-A346-4609-B2A7-28DD13AC13D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6319" y="3584348"/>
              <a:ext cx="52387" cy="65088"/>
            </a:xfrm>
            <a:custGeom>
              <a:avLst/>
              <a:gdLst>
                <a:gd name="T0" fmla="*/ 30 w 33"/>
                <a:gd name="T1" fmla="*/ 29 h 41"/>
                <a:gd name="T2" fmla="*/ 21 w 33"/>
                <a:gd name="T3" fmla="*/ 22 h 41"/>
                <a:gd name="T4" fmla="*/ 33 w 33"/>
                <a:gd name="T5" fmla="*/ 17 h 41"/>
                <a:gd name="T6" fmla="*/ 33 w 33"/>
                <a:gd name="T7" fmla="*/ 6 h 41"/>
                <a:gd name="T8" fmla="*/ 28 w 33"/>
                <a:gd name="T9" fmla="*/ 0 h 41"/>
                <a:gd name="T10" fmla="*/ 22 w 33"/>
                <a:gd name="T11" fmla="*/ 5 h 41"/>
                <a:gd name="T12" fmla="*/ 13 w 33"/>
                <a:gd name="T13" fmla="*/ 3 h 41"/>
                <a:gd name="T14" fmla="*/ 6 w 33"/>
                <a:gd name="T15" fmla="*/ 14 h 41"/>
                <a:gd name="T16" fmla="*/ 0 w 33"/>
                <a:gd name="T17" fmla="*/ 25 h 41"/>
                <a:gd name="T18" fmla="*/ 2 w 33"/>
                <a:gd name="T19" fmla="*/ 31 h 41"/>
                <a:gd name="T20" fmla="*/ 2 w 33"/>
                <a:gd name="T21" fmla="*/ 39 h 41"/>
                <a:gd name="T22" fmla="*/ 14 w 33"/>
                <a:gd name="T23" fmla="*/ 39 h 41"/>
                <a:gd name="T24" fmla="*/ 18 w 33"/>
                <a:gd name="T25" fmla="*/ 37 h 41"/>
                <a:gd name="T26" fmla="*/ 23 w 33"/>
                <a:gd name="T27" fmla="*/ 41 h 41"/>
                <a:gd name="T28" fmla="*/ 30 w 33"/>
                <a:gd name="T29" fmla="*/ 29 h 41"/>
                <a:gd name="T30" fmla="*/ 30 w 33"/>
                <a:gd name="T31" fmla="*/ 2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41">
                  <a:moveTo>
                    <a:pt x="30" y="29"/>
                  </a:moveTo>
                  <a:lnTo>
                    <a:pt x="21" y="22"/>
                  </a:lnTo>
                  <a:lnTo>
                    <a:pt x="33" y="17"/>
                  </a:lnTo>
                  <a:lnTo>
                    <a:pt x="33" y="6"/>
                  </a:lnTo>
                  <a:lnTo>
                    <a:pt x="28" y="0"/>
                  </a:lnTo>
                  <a:lnTo>
                    <a:pt x="22" y="5"/>
                  </a:lnTo>
                  <a:lnTo>
                    <a:pt x="13" y="3"/>
                  </a:lnTo>
                  <a:lnTo>
                    <a:pt x="6" y="14"/>
                  </a:lnTo>
                  <a:lnTo>
                    <a:pt x="0" y="25"/>
                  </a:lnTo>
                  <a:lnTo>
                    <a:pt x="2" y="31"/>
                  </a:lnTo>
                  <a:lnTo>
                    <a:pt x="2" y="39"/>
                  </a:lnTo>
                  <a:lnTo>
                    <a:pt x="14" y="39"/>
                  </a:lnTo>
                  <a:lnTo>
                    <a:pt x="18" y="37"/>
                  </a:lnTo>
                  <a:lnTo>
                    <a:pt x="23" y="41"/>
                  </a:lnTo>
                  <a:lnTo>
                    <a:pt x="30" y="29"/>
                  </a:lnTo>
                  <a:lnTo>
                    <a:pt x="30" y="29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3" name="Denmark">
              <a:extLst>
                <a:ext uri="{FF2B5EF4-FFF2-40B4-BE49-F238E27FC236}">
                  <a16:creationId xmlns:a16="http://schemas.microsoft.com/office/drawing/2014/main" id="{AB0048B6-AC16-4D31-8F6D-AAD8919C4E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17444" y="1906362"/>
              <a:ext cx="130175" cy="103188"/>
            </a:xfrm>
            <a:custGeom>
              <a:avLst/>
              <a:gdLst>
                <a:gd name="T0" fmla="*/ 82 w 82"/>
                <a:gd name="T1" fmla="*/ 47 h 65"/>
                <a:gd name="T2" fmla="*/ 75 w 82"/>
                <a:gd name="T3" fmla="*/ 36 h 65"/>
                <a:gd name="T4" fmla="*/ 50 w 82"/>
                <a:gd name="T5" fmla="*/ 44 h 65"/>
                <a:gd name="T6" fmla="*/ 54 w 82"/>
                <a:gd name="T7" fmla="*/ 53 h 65"/>
                <a:gd name="T8" fmla="*/ 72 w 82"/>
                <a:gd name="T9" fmla="*/ 65 h 65"/>
                <a:gd name="T10" fmla="*/ 82 w 82"/>
                <a:gd name="T11" fmla="*/ 47 h 65"/>
                <a:gd name="T12" fmla="*/ 82 w 82"/>
                <a:gd name="T13" fmla="*/ 47 h 65"/>
                <a:gd name="T14" fmla="*/ 49 w 82"/>
                <a:gd name="T15" fmla="*/ 28 h 65"/>
                <a:gd name="T16" fmla="*/ 40 w 82"/>
                <a:gd name="T17" fmla="*/ 25 h 65"/>
                <a:gd name="T18" fmla="*/ 37 w 82"/>
                <a:gd name="T19" fmla="*/ 18 h 65"/>
                <a:gd name="T20" fmla="*/ 42 w 82"/>
                <a:gd name="T21" fmla="*/ 11 h 65"/>
                <a:gd name="T22" fmla="*/ 42 w 82"/>
                <a:gd name="T23" fmla="*/ 0 h 65"/>
                <a:gd name="T24" fmla="*/ 28 w 82"/>
                <a:gd name="T25" fmla="*/ 6 h 65"/>
                <a:gd name="T26" fmla="*/ 22 w 82"/>
                <a:gd name="T27" fmla="*/ 13 h 65"/>
                <a:gd name="T28" fmla="*/ 7 w 82"/>
                <a:gd name="T29" fmla="*/ 14 h 65"/>
                <a:gd name="T30" fmla="*/ 3 w 82"/>
                <a:gd name="T31" fmla="*/ 20 h 65"/>
                <a:gd name="T32" fmla="*/ 0 w 82"/>
                <a:gd name="T33" fmla="*/ 26 h 65"/>
                <a:gd name="T34" fmla="*/ 1 w 82"/>
                <a:gd name="T35" fmla="*/ 49 h 65"/>
                <a:gd name="T36" fmla="*/ 10 w 82"/>
                <a:gd name="T37" fmla="*/ 61 h 65"/>
                <a:gd name="T38" fmla="*/ 23 w 82"/>
                <a:gd name="T39" fmla="*/ 65 h 65"/>
                <a:gd name="T40" fmla="*/ 34 w 82"/>
                <a:gd name="T41" fmla="*/ 61 h 65"/>
                <a:gd name="T42" fmla="*/ 28 w 82"/>
                <a:gd name="T43" fmla="*/ 50 h 65"/>
                <a:gd name="T44" fmla="*/ 41 w 82"/>
                <a:gd name="T45" fmla="*/ 34 h 65"/>
                <a:gd name="T46" fmla="*/ 45 w 82"/>
                <a:gd name="T47" fmla="*/ 37 h 65"/>
                <a:gd name="T48" fmla="*/ 49 w 82"/>
                <a:gd name="T49" fmla="*/ 28 h 65"/>
                <a:gd name="T50" fmla="*/ 49 w 82"/>
                <a:gd name="T51" fmla="*/ 28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2" h="65">
                  <a:moveTo>
                    <a:pt x="82" y="47"/>
                  </a:moveTo>
                  <a:lnTo>
                    <a:pt x="75" y="36"/>
                  </a:lnTo>
                  <a:lnTo>
                    <a:pt x="50" y="44"/>
                  </a:lnTo>
                  <a:lnTo>
                    <a:pt x="54" y="53"/>
                  </a:lnTo>
                  <a:lnTo>
                    <a:pt x="72" y="65"/>
                  </a:lnTo>
                  <a:lnTo>
                    <a:pt x="82" y="47"/>
                  </a:lnTo>
                  <a:lnTo>
                    <a:pt x="82" y="47"/>
                  </a:lnTo>
                  <a:close/>
                  <a:moveTo>
                    <a:pt x="49" y="28"/>
                  </a:moveTo>
                  <a:lnTo>
                    <a:pt x="40" y="25"/>
                  </a:lnTo>
                  <a:lnTo>
                    <a:pt x="37" y="18"/>
                  </a:lnTo>
                  <a:lnTo>
                    <a:pt x="42" y="11"/>
                  </a:lnTo>
                  <a:lnTo>
                    <a:pt x="42" y="0"/>
                  </a:lnTo>
                  <a:lnTo>
                    <a:pt x="28" y="6"/>
                  </a:lnTo>
                  <a:lnTo>
                    <a:pt x="22" y="13"/>
                  </a:lnTo>
                  <a:lnTo>
                    <a:pt x="7" y="14"/>
                  </a:lnTo>
                  <a:lnTo>
                    <a:pt x="3" y="20"/>
                  </a:lnTo>
                  <a:lnTo>
                    <a:pt x="0" y="26"/>
                  </a:lnTo>
                  <a:lnTo>
                    <a:pt x="1" y="49"/>
                  </a:lnTo>
                  <a:lnTo>
                    <a:pt x="10" y="61"/>
                  </a:lnTo>
                  <a:lnTo>
                    <a:pt x="23" y="65"/>
                  </a:lnTo>
                  <a:lnTo>
                    <a:pt x="34" y="61"/>
                  </a:lnTo>
                  <a:lnTo>
                    <a:pt x="28" y="50"/>
                  </a:lnTo>
                  <a:lnTo>
                    <a:pt x="41" y="34"/>
                  </a:lnTo>
                  <a:lnTo>
                    <a:pt x="45" y="37"/>
                  </a:lnTo>
                  <a:lnTo>
                    <a:pt x="49" y="28"/>
                  </a:lnTo>
                  <a:lnTo>
                    <a:pt x="49" y="28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4" name="Dominican Republic">
              <a:extLst>
                <a:ext uri="{FF2B5EF4-FFF2-40B4-BE49-F238E27FC236}">
                  <a16:creationId xmlns:a16="http://schemas.microsoft.com/office/drawing/2014/main" id="{D5142429-BE70-47E2-B40D-B51FA2A284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4581" y="3311298"/>
              <a:ext cx="120650" cy="87313"/>
            </a:xfrm>
            <a:custGeom>
              <a:avLst/>
              <a:gdLst>
                <a:gd name="T0" fmla="*/ 4 w 76"/>
                <a:gd name="T1" fmla="*/ 45 h 55"/>
                <a:gd name="T2" fmla="*/ 4 w 76"/>
                <a:gd name="T3" fmla="*/ 51 h 55"/>
                <a:gd name="T4" fmla="*/ 9 w 76"/>
                <a:gd name="T5" fmla="*/ 55 h 55"/>
                <a:gd name="T6" fmla="*/ 19 w 76"/>
                <a:gd name="T7" fmla="*/ 38 h 55"/>
                <a:gd name="T8" fmla="*/ 26 w 76"/>
                <a:gd name="T9" fmla="*/ 35 h 55"/>
                <a:gd name="T10" fmla="*/ 29 w 76"/>
                <a:gd name="T11" fmla="*/ 41 h 55"/>
                <a:gd name="T12" fmla="*/ 37 w 76"/>
                <a:gd name="T13" fmla="*/ 39 h 55"/>
                <a:gd name="T14" fmla="*/ 41 w 76"/>
                <a:gd name="T15" fmla="*/ 35 h 55"/>
                <a:gd name="T16" fmla="*/ 48 w 76"/>
                <a:gd name="T17" fmla="*/ 36 h 55"/>
                <a:gd name="T18" fmla="*/ 58 w 76"/>
                <a:gd name="T19" fmla="*/ 35 h 55"/>
                <a:gd name="T20" fmla="*/ 67 w 76"/>
                <a:gd name="T21" fmla="*/ 40 h 55"/>
                <a:gd name="T22" fmla="*/ 76 w 76"/>
                <a:gd name="T23" fmla="*/ 31 h 55"/>
                <a:gd name="T24" fmla="*/ 66 w 76"/>
                <a:gd name="T25" fmla="*/ 22 h 55"/>
                <a:gd name="T26" fmla="*/ 57 w 76"/>
                <a:gd name="T27" fmla="*/ 21 h 55"/>
                <a:gd name="T28" fmla="*/ 58 w 76"/>
                <a:gd name="T29" fmla="*/ 14 h 55"/>
                <a:gd name="T30" fmla="*/ 47 w 76"/>
                <a:gd name="T31" fmla="*/ 15 h 55"/>
                <a:gd name="T32" fmla="*/ 44 w 76"/>
                <a:gd name="T33" fmla="*/ 6 h 55"/>
                <a:gd name="T34" fmla="*/ 39 w 76"/>
                <a:gd name="T35" fmla="*/ 6 h 55"/>
                <a:gd name="T36" fmla="*/ 27 w 76"/>
                <a:gd name="T37" fmla="*/ 1 h 55"/>
                <a:gd name="T38" fmla="*/ 11 w 76"/>
                <a:gd name="T39" fmla="*/ 0 h 55"/>
                <a:gd name="T40" fmla="*/ 8 w 76"/>
                <a:gd name="T41" fmla="*/ 5 h 55"/>
                <a:gd name="T42" fmla="*/ 9 w 76"/>
                <a:gd name="T43" fmla="*/ 18 h 55"/>
                <a:gd name="T44" fmla="*/ 6 w 76"/>
                <a:gd name="T45" fmla="*/ 26 h 55"/>
                <a:gd name="T46" fmla="*/ 0 w 76"/>
                <a:gd name="T47" fmla="*/ 31 h 55"/>
                <a:gd name="T48" fmla="*/ 5 w 76"/>
                <a:gd name="T49" fmla="*/ 37 h 55"/>
                <a:gd name="T50" fmla="*/ 4 w 76"/>
                <a:gd name="T51" fmla="*/ 45 h 55"/>
                <a:gd name="T52" fmla="*/ 4 w 76"/>
                <a:gd name="T53" fmla="*/ 4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6" h="55">
                  <a:moveTo>
                    <a:pt x="4" y="45"/>
                  </a:moveTo>
                  <a:lnTo>
                    <a:pt x="4" y="51"/>
                  </a:lnTo>
                  <a:lnTo>
                    <a:pt x="9" y="55"/>
                  </a:lnTo>
                  <a:lnTo>
                    <a:pt x="19" y="38"/>
                  </a:lnTo>
                  <a:lnTo>
                    <a:pt x="26" y="35"/>
                  </a:lnTo>
                  <a:lnTo>
                    <a:pt x="29" y="41"/>
                  </a:lnTo>
                  <a:lnTo>
                    <a:pt x="37" y="39"/>
                  </a:lnTo>
                  <a:lnTo>
                    <a:pt x="41" y="35"/>
                  </a:lnTo>
                  <a:lnTo>
                    <a:pt x="48" y="36"/>
                  </a:lnTo>
                  <a:lnTo>
                    <a:pt x="58" y="35"/>
                  </a:lnTo>
                  <a:lnTo>
                    <a:pt x="67" y="40"/>
                  </a:lnTo>
                  <a:lnTo>
                    <a:pt x="76" y="31"/>
                  </a:lnTo>
                  <a:lnTo>
                    <a:pt x="66" y="22"/>
                  </a:lnTo>
                  <a:lnTo>
                    <a:pt x="57" y="21"/>
                  </a:lnTo>
                  <a:lnTo>
                    <a:pt x="58" y="14"/>
                  </a:lnTo>
                  <a:lnTo>
                    <a:pt x="47" y="15"/>
                  </a:lnTo>
                  <a:lnTo>
                    <a:pt x="44" y="6"/>
                  </a:lnTo>
                  <a:lnTo>
                    <a:pt x="39" y="6"/>
                  </a:lnTo>
                  <a:lnTo>
                    <a:pt x="27" y="1"/>
                  </a:lnTo>
                  <a:lnTo>
                    <a:pt x="11" y="0"/>
                  </a:lnTo>
                  <a:lnTo>
                    <a:pt x="8" y="5"/>
                  </a:lnTo>
                  <a:lnTo>
                    <a:pt x="9" y="18"/>
                  </a:lnTo>
                  <a:lnTo>
                    <a:pt x="6" y="26"/>
                  </a:lnTo>
                  <a:lnTo>
                    <a:pt x="0" y="31"/>
                  </a:lnTo>
                  <a:lnTo>
                    <a:pt x="5" y="37"/>
                  </a:lnTo>
                  <a:lnTo>
                    <a:pt x="4" y="45"/>
                  </a:lnTo>
                  <a:lnTo>
                    <a:pt x="4" y="45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5" name="Algeria">
              <a:extLst>
                <a:ext uri="{FF2B5EF4-FFF2-40B4-BE49-F238E27FC236}">
                  <a16:creationId xmlns:a16="http://schemas.microsoft.com/office/drawing/2014/main" id="{72F616C3-74E6-4CC6-854B-C896CBF4B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5794" y="2660424"/>
              <a:ext cx="669925" cy="682625"/>
            </a:xfrm>
            <a:custGeom>
              <a:avLst/>
              <a:gdLst>
                <a:gd name="T0" fmla="*/ 342 w 422"/>
                <a:gd name="T1" fmla="*/ 5 h 430"/>
                <a:gd name="T2" fmla="*/ 329 w 422"/>
                <a:gd name="T3" fmla="*/ 6 h 430"/>
                <a:gd name="T4" fmla="*/ 320 w 422"/>
                <a:gd name="T5" fmla="*/ 0 h 430"/>
                <a:gd name="T6" fmla="*/ 299 w 422"/>
                <a:gd name="T7" fmla="*/ 0 h 430"/>
                <a:gd name="T8" fmla="*/ 281 w 422"/>
                <a:gd name="T9" fmla="*/ 10 h 430"/>
                <a:gd name="T10" fmla="*/ 271 w 422"/>
                <a:gd name="T11" fmla="*/ 7 h 430"/>
                <a:gd name="T12" fmla="*/ 238 w 422"/>
                <a:gd name="T13" fmla="*/ 8 h 430"/>
                <a:gd name="T14" fmla="*/ 205 w 422"/>
                <a:gd name="T15" fmla="*/ 12 h 430"/>
                <a:gd name="T16" fmla="*/ 187 w 422"/>
                <a:gd name="T17" fmla="*/ 20 h 430"/>
                <a:gd name="T18" fmla="*/ 174 w 422"/>
                <a:gd name="T19" fmla="*/ 30 h 430"/>
                <a:gd name="T20" fmla="*/ 152 w 422"/>
                <a:gd name="T21" fmla="*/ 35 h 430"/>
                <a:gd name="T22" fmla="*/ 133 w 422"/>
                <a:gd name="T23" fmla="*/ 48 h 430"/>
                <a:gd name="T24" fmla="*/ 141 w 422"/>
                <a:gd name="T25" fmla="*/ 63 h 430"/>
                <a:gd name="T26" fmla="*/ 142 w 422"/>
                <a:gd name="T27" fmla="*/ 78 h 430"/>
                <a:gd name="T28" fmla="*/ 148 w 422"/>
                <a:gd name="T29" fmla="*/ 102 h 430"/>
                <a:gd name="T30" fmla="*/ 154 w 422"/>
                <a:gd name="T31" fmla="*/ 107 h 430"/>
                <a:gd name="T32" fmla="*/ 150 w 422"/>
                <a:gd name="T33" fmla="*/ 117 h 430"/>
                <a:gd name="T34" fmla="*/ 124 w 422"/>
                <a:gd name="T35" fmla="*/ 120 h 430"/>
                <a:gd name="T36" fmla="*/ 115 w 422"/>
                <a:gd name="T37" fmla="*/ 130 h 430"/>
                <a:gd name="T38" fmla="*/ 103 w 422"/>
                <a:gd name="T39" fmla="*/ 132 h 430"/>
                <a:gd name="T40" fmla="*/ 102 w 422"/>
                <a:gd name="T41" fmla="*/ 148 h 430"/>
                <a:gd name="T42" fmla="*/ 78 w 422"/>
                <a:gd name="T43" fmla="*/ 158 h 430"/>
                <a:gd name="T44" fmla="*/ 71 w 422"/>
                <a:gd name="T45" fmla="*/ 170 h 430"/>
                <a:gd name="T46" fmla="*/ 54 w 422"/>
                <a:gd name="T47" fmla="*/ 177 h 430"/>
                <a:gd name="T48" fmla="*/ 34 w 422"/>
                <a:gd name="T49" fmla="*/ 180 h 430"/>
                <a:gd name="T50" fmla="*/ 1 w 422"/>
                <a:gd name="T51" fmla="*/ 198 h 430"/>
                <a:gd name="T52" fmla="*/ 0 w 422"/>
                <a:gd name="T53" fmla="*/ 226 h 430"/>
                <a:gd name="T54" fmla="*/ 0 w 422"/>
                <a:gd name="T55" fmla="*/ 227 h 430"/>
                <a:gd name="T56" fmla="*/ 0 w 422"/>
                <a:gd name="T57" fmla="*/ 232 h 430"/>
                <a:gd name="T58" fmla="*/ 76 w 422"/>
                <a:gd name="T59" fmla="*/ 289 h 430"/>
                <a:gd name="T60" fmla="*/ 145 w 422"/>
                <a:gd name="T61" fmla="*/ 342 h 430"/>
                <a:gd name="T62" fmla="*/ 214 w 422"/>
                <a:gd name="T63" fmla="*/ 393 h 430"/>
                <a:gd name="T64" fmla="*/ 218 w 422"/>
                <a:gd name="T65" fmla="*/ 404 h 430"/>
                <a:gd name="T66" fmla="*/ 232 w 422"/>
                <a:gd name="T67" fmla="*/ 411 h 430"/>
                <a:gd name="T68" fmla="*/ 241 w 422"/>
                <a:gd name="T69" fmla="*/ 416 h 430"/>
                <a:gd name="T70" fmla="*/ 242 w 422"/>
                <a:gd name="T71" fmla="*/ 430 h 430"/>
                <a:gd name="T72" fmla="*/ 264 w 422"/>
                <a:gd name="T73" fmla="*/ 428 h 430"/>
                <a:gd name="T74" fmla="*/ 293 w 422"/>
                <a:gd name="T75" fmla="*/ 417 h 430"/>
                <a:gd name="T76" fmla="*/ 353 w 422"/>
                <a:gd name="T77" fmla="*/ 371 h 430"/>
                <a:gd name="T78" fmla="*/ 422 w 422"/>
                <a:gd name="T79" fmla="*/ 325 h 430"/>
                <a:gd name="T80" fmla="*/ 413 w 422"/>
                <a:gd name="T81" fmla="*/ 310 h 430"/>
                <a:gd name="T82" fmla="*/ 397 w 422"/>
                <a:gd name="T83" fmla="*/ 300 h 430"/>
                <a:gd name="T84" fmla="*/ 387 w 422"/>
                <a:gd name="T85" fmla="*/ 303 h 430"/>
                <a:gd name="T86" fmla="*/ 379 w 422"/>
                <a:gd name="T87" fmla="*/ 290 h 430"/>
                <a:gd name="T88" fmla="*/ 379 w 422"/>
                <a:gd name="T89" fmla="*/ 280 h 430"/>
                <a:gd name="T90" fmla="*/ 366 w 422"/>
                <a:gd name="T91" fmla="*/ 262 h 430"/>
                <a:gd name="T92" fmla="*/ 373 w 422"/>
                <a:gd name="T93" fmla="*/ 253 h 430"/>
                <a:gd name="T94" fmla="*/ 372 w 422"/>
                <a:gd name="T95" fmla="*/ 238 h 430"/>
                <a:gd name="T96" fmla="*/ 374 w 422"/>
                <a:gd name="T97" fmla="*/ 225 h 430"/>
                <a:gd name="T98" fmla="*/ 373 w 422"/>
                <a:gd name="T99" fmla="*/ 214 h 430"/>
                <a:gd name="T100" fmla="*/ 375 w 422"/>
                <a:gd name="T101" fmla="*/ 195 h 430"/>
                <a:gd name="T102" fmla="*/ 374 w 422"/>
                <a:gd name="T103" fmla="*/ 184 h 430"/>
                <a:gd name="T104" fmla="*/ 367 w 422"/>
                <a:gd name="T105" fmla="*/ 162 h 430"/>
                <a:gd name="T106" fmla="*/ 358 w 422"/>
                <a:gd name="T107" fmla="*/ 120 h 430"/>
                <a:gd name="T108" fmla="*/ 344 w 422"/>
                <a:gd name="T109" fmla="*/ 111 h 430"/>
                <a:gd name="T110" fmla="*/ 344 w 422"/>
                <a:gd name="T111" fmla="*/ 106 h 430"/>
                <a:gd name="T112" fmla="*/ 328 w 422"/>
                <a:gd name="T113" fmla="*/ 91 h 430"/>
                <a:gd name="T114" fmla="*/ 326 w 422"/>
                <a:gd name="T115" fmla="*/ 73 h 430"/>
                <a:gd name="T116" fmla="*/ 338 w 422"/>
                <a:gd name="T117" fmla="*/ 60 h 430"/>
                <a:gd name="T118" fmla="*/ 342 w 422"/>
                <a:gd name="T119" fmla="*/ 40 h 430"/>
                <a:gd name="T120" fmla="*/ 338 w 422"/>
                <a:gd name="T121" fmla="*/ 17 h 430"/>
                <a:gd name="T122" fmla="*/ 342 w 422"/>
                <a:gd name="T123" fmla="*/ 5 h 430"/>
                <a:gd name="T124" fmla="*/ 342 w 422"/>
                <a:gd name="T125" fmla="*/ 5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2" h="430">
                  <a:moveTo>
                    <a:pt x="342" y="5"/>
                  </a:moveTo>
                  <a:lnTo>
                    <a:pt x="329" y="6"/>
                  </a:lnTo>
                  <a:lnTo>
                    <a:pt x="320" y="0"/>
                  </a:lnTo>
                  <a:lnTo>
                    <a:pt x="299" y="0"/>
                  </a:lnTo>
                  <a:lnTo>
                    <a:pt x="281" y="10"/>
                  </a:lnTo>
                  <a:lnTo>
                    <a:pt x="271" y="7"/>
                  </a:lnTo>
                  <a:lnTo>
                    <a:pt x="238" y="8"/>
                  </a:lnTo>
                  <a:lnTo>
                    <a:pt x="205" y="12"/>
                  </a:lnTo>
                  <a:lnTo>
                    <a:pt x="187" y="20"/>
                  </a:lnTo>
                  <a:lnTo>
                    <a:pt x="174" y="30"/>
                  </a:lnTo>
                  <a:lnTo>
                    <a:pt x="152" y="35"/>
                  </a:lnTo>
                  <a:lnTo>
                    <a:pt x="133" y="48"/>
                  </a:lnTo>
                  <a:lnTo>
                    <a:pt x="141" y="63"/>
                  </a:lnTo>
                  <a:lnTo>
                    <a:pt x="142" y="78"/>
                  </a:lnTo>
                  <a:lnTo>
                    <a:pt x="148" y="102"/>
                  </a:lnTo>
                  <a:lnTo>
                    <a:pt x="154" y="107"/>
                  </a:lnTo>
                  <a:lnTo>
                    <a:pt x="150" y="117"/>
                  </a:lnTo>
                  <a:lnTo>
                    <a:pt x="124" y="120"/>
                  </a:lnTo>
                  <a:lnTo>
                    <a:pt x="115" y="130"/>
                  </a:lnTo>
                  <a:lnTo>
                    <a:pt x="103" y="132"/>
                  </a:lnTo>
                  <a:lnTo>
                    <a:pt x="102" y="148"/>
                  </a:lnTo>
                  <a:lnTo>
                    <a:pt x="78" y="158"/>
                  </a:lnTo>
                  <a:lnTo>
                    <a:pt x="71" y="170"/>
                  </a:lnTo>
                  <a:lnTo>
                    <a:pt x="54" y="177"/>
                  </a:lnTo>
                  <a:lnTo>
                    <a:pt x="34" y="180"/>
                  </a:lnTo>
                  <a:lnTo>
                    <a:pt x="1" y="198"/>
                  </a:lnTo>
                  <a:lnTo>
                    <a:pt x="0" y="226"/>
                  </a:lnTo>
                  <a:lnTo>
                    <a:pt x="0" y="227"/>
                  </a:lnTo>
                  <a:lnTo>
                    <a:pt x="0" y="232"/>
                  </a:lnTo>
                  <a:lnTo>
                    <a:pt x="76" y="289"/>
                  </a:lnTo>
                  <a:lnTo>
                    <a:pt x="145" y="342"/>
                  </a:lnTo>
                  <a:lnTo>
                    <a:pt x="214" y="393"/>
                  </a:lnTo>
                  <a:lnTo>
                    <a:pt x="218" y="404"/>
                  </a:lnTo>
                  <a:lnTo>
                    <a:pt x="232" y="411"/>
                  </a:lnTo>
                  <a:lnTo>
                    <a:pt x="241" y="416"/>
                  </a:lnTo>
                  <a:lnTo>
                    <a:pt x="242" y="430"/>
                  </a:lnTo>
                  <a:lnTo>
                    <a:pt x="264" y="428"/>
                  </a:lnTo>
                  <a:lnTo>
                    <a:pt x="293" y="417"/>
                  </a:lnTo>
                  <a:lnTo>
                    <a:pt x="353" y="371"/>
                  </a:lnTo>
                  <a:lnTo>
                    <a:pt x="422" y="325"/>
                  </a:lnTo>
                  <a:lnTo>
                    <a:pt x="413" y="310"/>
                  </a:lnTo>
                  <a:lnTo>
                    <a:pt x="397" y="300"/>
                  </a:lnTo>
                  <a:lnTo>
                    <a:pt x="387" y="303"/>
                  </a:lnTo>
                  <a:lnTo>
                    <a:pt x="379" y="290"/>
                  </a:lnTo>
                  <a:lnTo>
                    <a:pt x="379" y="280"/>
                  </a:lnTo>
                  <a:lnTo>
                    <a:pt x="366" y="262"/>
                  </a:lnTo>
                  <a:lnTo>
                    <a:pt x="373" y="253"/>
                  </a:lnTo>
                  <a:lnTo>
                    <a:pt x="372" y="238"/>
                  </a:lnTo>
                  <a:lnTo>
                    <a:pt x="374" y="225"/>
                  </a:lnTo>
                  <a:lnTo>
                    <a:pt x="373" y="214"/>
                  </a:lnTo>
                  <a:lnTo>
                    <a:pt x="375" y="195"/>
                  </a:lnTo>
                  <a:lnTo>
                    <a:pt x="374" y="184"/>
                  </a:lnTo>
                  <a:lnTo>
                    <a:pt x="367" y="162"/>
                  </a:lnTo>
                  <a:lnTo>
                    <a:pt x="358" y="120"/>
                  </a:lnTo>
                  <a:lnTo>
                    <a:pt x="344" y="111"/>
                  </a:lnTo>
                  <a:lnTo>
                    <a:pt x="344" y="106"/>
                  </a:lnTo>
                  <a:lnTo>
                    <a:pt x="328" y="91"/>
                  </a:lnTo>
                  <a:lnTo>
                    <a:pt x="326" y="73"/>
                  </a:lnTo>
                  <a:lnTo>
                    <a:pt x="338" y="60"/>
                  </a:lnTo>
                  <a:lnTo>
                    <a:pt x="342" y="40"/>
                  </a:lnTo>
                  <a:lnTo>
                    <a:pt x="338" y="17"/>
                  </a:lnTo>
                  <a:lnTo>
                    <a:pt x="342" y="5"/>
                  </a:lnTo>
                  <a:lnTo>
                    <a:pt x="342" y="5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6" name="Ecuador">
              <a:extLst>
                <a:ext uri="{FF2B5EF4-FFF2-40B4-BE49-F238E27FC236}">
                  <a16:creationId xmlns:a16="http://schemas.microsoft.com/office/drawing/2014/main" id="{74C4CC8B-4C3B-4497-AC91-DCCD7A68A8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8031" y="4011386"/>
              <a:ext cx="192087" cy="238125"/>
            </a:xfrm>
            <a:custGeom>
              <a:avLst/>
              <a:gdLst>
                <a:gd name="T0" fmla="*/ 117 w 121"/>
                <a:gd name="T1" fmla="*/ 35 h 150"/>
                <a:gd name="T2" fmla="*/ 108 w 121"/>
                <a:gd name="T3" fmla="*/ 29 h 150"/>
                <a:gd name="T4" fmla="*/ 98 w 121"/>
                <a:gd name="T5" fmla="*/ 22 h 150"/>
                <a:gd name="T6" fmla="*/ 92 w 121"/>
                <a:gd name="T7" fmla="*/ 26 h 150"/>
                <a:gd name="T8" fmla="*/ 74 w 121"/>
                <a:gd name="T9" fmla="*/ 22 h 150"/>
                <a:gd name="T10" fmla="*/ 69 w 121"/>
                <a:gd name="T11" fmla="*/ 13 h 150"/>
                <a:gd name="T12" fmla="*/ 66 w 121"/>
                <a:gd name="T13" fmla="*/ 13 h 150"/>
                <a:gd name="T14" fmla="*/ 44 w 121"/>
                <a:gd name="T15" fmla="*/ 0 h 150"/>
                <a:gd name="T16" fmla="*/ 30 w 121"/>
                <a:gd name="T17" fmla="*/ 9 h 150"/>
                <a:gd name="T18" fmla="*/ 18 w 121"/>
                <a:gd name="T19" fmla="*/ 14 h 150"/>
                <a:gd name="T20" fmla="*/ 20 w 121"/>
                <a:gd name="T21" fmla="*/ 24 h 150"/>
                <a:gd name="T22" fmla="*/ 11 w 121"/>
                <a:gd name="T23" fmla="*/ 39 h 150"/>
                <a:gd name="T24" fmla="*/ 8 w 121"/>
                <a:gd name="T25" fmla="*/ 54 h 150"/>
                <a:gd name="T26" fmla="*/ 1 w 121"/>
                <a:gd name="T27" fmla="*/ 58 h 150"/>
                <a:gd name="T28" fmla="*/ 5 w 121"/>
                <a:gd name="T29" fmla="*/ 79 h 150"/>
                <a:gd name="T30" fmla="*/ 0 w 121"/>
                <a:gd name="T31" fmla="*/ 86 h 150"/>
                <a:gd name="T32" fmla="*/ 13 w 121"/>
                <a:gd name="T33" fmla="*/ 96 h 150"/>
                <a:gd name="T34" fmla="*/ 21 w 121"/>
                <a:gd name="T35" fmla="*/ 85 h 150"/>
                <a:gd name="T36" fmla="*/ 25 w 121"/>
                <a:gd name="T37" fmla="*/ 95 h 150"/>
                <a:gd name="T38" fmla="*/ 15 w 121"/>
                <a:gd name="T39" fmla="*/ 113 h 150"/>
                <a:gd name="T40" fmla="*/ 18 w 121"/>
                <a:gd name="T41" fmla="*/ 123 h 150"/>
                <a:gd name="T42" fmla="*/ 12 w 121"/>
                <a:gd name="T43" fmla="*/ 128 h 150"/>
                <a:gd name="T44" fmla="*/ 12 w 121"/>
                <a:gd name="T45" fmla="*/ 137 h 150"/>
                <a:gd name="T46" fmla="*/ 22 w 121"/>
                <a:gd name="T47" fmla="*/ 135 h 150"/>
                <a:gd name="T48" fmla="*/ 30 w 121"/>
                <a:gd name="T49" fmla="*/ 138 h 150"/>
                <a:gd name="T50" fmla="*/ 39 w 121"/>
                <a:gd name="T51" fmla="*/ 150 h 150"/>
                <a:gd name="T52" fmla="*/ 51 w 121"/>
                <a:gd name="T53" fmla="*/ 140 h 150"/>
                <a:gd name="T54" fmla="*/ 54 w 121"/>
                <a:gd name="T55" fmla="*/ 124 h 150"/>
                <a:gd name="T56" fmla="*/ 66 w 121"/>
                <a:gd name="T57" fmla="*/ 103 h 150"/>
                <a:gd name="T58" fmla="*/ 92 w 121"/>
                <a:gd name="T59" fmla="*/ 94 h 150"/>
                <a:gd name="T60" fmla="*/ 114 w 121"/>
                <a:gd name="T61" fmla="*/ 69 h 150"/>
                <a:gd name="T62" fmla="*/ 121 w 121"/>
                <a:gd name="T63" fmla="*/ 54 h 150"/>
                <a:gd name="T64" fmla="*/ 117 w 121"/>
                <a:gd name="T65" fmla="*/ 3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1" h="150">
                  <a:moveTo>
                    <a:pt x="117" y="35"/>
                  </a:moveTo>
                  <a:lnTo>
                    <a:pt x="108" y="29"/>
                  </a:lnTo>
                  <a:lnTo>
                    <a:pt x="98" y="22"/>
                  </a:lnTo>
                  <a:lnTo>
                    <a:pt x="92" y="26"/>
                  </a:lnTo>
                  <a:lnTo>
                    <a:pt x="74" y="22"/>
                  </a:lnTo>
                  <a:lnTo>
                    <a:pt x="69" y="13"/>
                  </a:lnTo>
                  <a:lnTo>
                    <a:pt x="66" y="13"/>
                  </a:lnTo>
                  <a:lnTo>
                    <a:pt x="44" y="0"/>
                  </a:lnTo>
                  <a:lnTo>
                    <a:pt x="30" y="9"/>
                  </a:lnTo>
                  <a:lnTo>
                    <a:pt x="18" y="14"/>
                  </a:lnTo>
                  <a:lnTo>
                    <a:pt x="20" y="24"/>
                  </a:lnTo>
                  <a:lnTo>
                    <a:pt x="11" y="39"/>
                  </a:lnTo>
                  <a:lnTo>
                    <a:pt x="8" y="54"/>
                  </a:lnTo>
                  <a:lnTo>
                    <a:pt x="1" y="58"/>
                  </a:lnTo>
                  <a:lnTo>
                    <a:pt x="5" y="79"/>
                  </a:lnTo>
                  <a:lnTo>
                    <a:pt x="0" y="86"/>
                  </a:lnTo>
                  <a:lnTo>
                    <a:pt x="13" y="96"/>
                  </a:lnTo>
                  <a:lnTo>
                    <a:pt x="21" y="85"/>
                  </a:lnTo>
                  <a:lnTo>
                    <a:pt x="25" y="95"/>
                  </a:lnTo>
                  <a:lnTo>
                    <a:pt x="15" y="113"/>
                  </a:lnTo>
                  <a:lnTo>
                    <a:pt x="18" y="123"/>
                  </a:lnTo>
                  <a:lnTo>
                    <a:pt x="12" y="128"/>
                  </a:lnTo>
                  <a:lnTo>
                    <a:pt x="12" y="137"/>
                  </a:lnTo>
                  <a:lnTo>
                    <a:pt x="22" y="135"/>
                  </a:lnTo>
                  <a:lnTo>
                    <a:pt x="30" y="138"/>
                  </a:lnTo>
                  <a:lnTo>
                    <a:pt x="39" y="150"/>
                  </a:lnTo>
                  <a:lnTo>
                    <a:pt x="51" y="140"/>
                  </a:lnTo>
                  <a:lnTo>
                    <a:pt x="54" y="124"/>
                  </a:lnTo>
                  <a:lnTo>
                    <a:pt x="66" y="103"/>
                  </a:lnTo>
                  <a:lnTo>
                    <a:pt x="92" y="94"/>
                  </a:lnTo>
                  <a:lnTo>
                    <a:pt x="114" y="69"/>
                  </a:lnTo>
                  <a:lnTo>
                    <a:pt x="121" y="54"/>
                  </a:lnTo>
                  <a:lnTo>
                    <a:pt x="117" y="35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7" name="Egypt">
              <a:extLst>
                <a:ext uri="{FF2B5EF4-FFF2-40B4-BE49-F238E27FC236}">
                  <a16:creationId xmlns:a16="http://schemas.microsoft.com/office/drawing/2014/main" id="{7B9F6D12-E6C7-4F83-9D7F-E1A88B60D1F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5769" y="2871562"/>
              <a:ext cx="412750" cy="360363"/>
            </a:xfrm>
            <a:custGeom>
              <a:avLst/>
              <a:gdLst>
                <a:gd name="T0" fmla="*/ 74 w 260"/>
                <a:gd name="T1" fmla="*/ 13 h 227"/>
                <a:gd name="T2" fmla="*/ 53 w 260"/>
                <a:gd name="T3" fmla="*/ 6 h 227"/>
                <a:gd name="T4" fmla="*/ 34 w 260"/>
                <a:gd name="T5" fmla="*/ 0 h 227"/>
                <a:gd name="T6" fmla="*/ 7 w 260"/>
                <a:gd name="T7" fmla="*/ 1 h 227"/>
                <a:gd name="T8" fmla="*/ 0 w 260"/>
                <a:gd name="T9" fmla="*/ 12 h 227"/>
                <a:gd name="T10" fmla="*/ 4 w 260"/>
                <a:gd name="T11" fmla="*/ 21 h 227"/>
                <a:gd name="T12" fmla="*/ 0 w 260"/>
                <a:gd name="T13" fmla="*/ 36 h 227"/>
                <a:gd name="T14" fmla="*/ 8 w 260"/>
                <a:gd name="T15" fmla="*/ 55 h 227"/>
                <a:gd name="T16" fmla="*/ 12 w 260"/>
                <a:gd name="T17" fmla="*/ 140 h 227"/>
                <a:gd name="T18" fmla="*/ 16 w 260"/>
                <a:gd name="T19" fmla="*/ 227 h 227"/>
                <a:gd name="T20" fmla="*/ 98 w 260"/>
                <a:gd name="T21" fmla="*/ 227 h 227"/>
                <a:gd name="T22" fmla="*/ 178 w 260"/>
                <a:gd name="T23" fmla="*/ 227 h 227"/>
                <a:gd name="T24" fmla="*/ 260 w 260"/>
                <a:gd name="T25" fmla="*/ 227 h 227"/>
                <a:gd name="T26" fmla="*/ 256 w 260"/>
                <a:gd name="T27" fmla="*/ 223 h 227"/>
                <a:gd name="T28" fmla="*/ 231 w 260"/>
                <a:gd name="T29" fmla="*/ 201 h 227"/>
                <a:gd name="T30" fmla="*/ 229 w 260"/>
                <a:gd name="T31" fmla="*/ 185 h 227"/>
                <a:gd name="T32" fmla="*/ 233 w 260"/>
                <a:gd name="T33" fmla="*/ 182 h 227"/>
                <a:gd name="T34" fmla="*/ 213 w 260"/>
                <a:gd name="T35" fmla="*/ 156 h 227"/>
                <a:gd name="T36" fmla="*/ 205 w 260"/>
                <a:gd name="T37" fmla="*/ 142 h 227"/>
                <a:gd name="T38" fmla="*/ 197 w 260"/>
                <a:gd name="T39" fmla="*/ 128 h 227"/>
                <a:gd name="T40" fmla="*/ 179 w 260"/>
                <a:gd name="T41" fmla="*/ 92 h 227"/>
                <a:gd name="T42" fmla="*/ 164 w 260"/>
                <a:gd name="T43" fmla="*/ 68 h 227"/>
                <a:gd name="T44" fmla="*/ 154 w 260"/>
                <a:gd name="T45" fmla="*/ 43 h 227"/>
                <a:gd name="T46" fmla="*/ 156 w 260"/>
                <a:gd name="T47" fmla="*/ 41 h 227"/>
                <a:gd name="T48" fmla="*/ 173 w 260"/>
                <a:gd name="T49" fmla="*/ 74 h 227"/>
                <a:gd name="T50" fmla="*/ 183 w 260"/>
                <a:gd name="T51" fmla="*/ 86 h 227"/>
                <a:gd name="T52" fmla="*/ 191 w 260"/>
                <a:gd name="T53" fmla="*/ 93 h 227"/>
                <a:gd name="T54" fmla="*/ 195 w 260"/>
                <a:gd name="T55" fmla="*/ 88 h 227"/>
                <a:gd name="T56" fmla="*/ 200 w 260"/>
                <a:gd name="T57" fmla="*/ 76 h 227"/>
                <a:gd name="T58" fmla="*/ 202 w 260"/>
                <a:gd name="T59" fmla="*/ 58 h 227"/>
                <a:gd name="T60" fmla="*/ 207 w 260"/>
                <a:gd name="T61" fmla="*/ 49 h 227"/>
                <a:gd name="T62" fmla="*/ 205 w 260"/>
                <a:gd name="T63" fmla="*/ 43 h 227"/>
                <a:gd name="T64" fmla="*/ 190 w 260"/>
                <a:gd name="T65" fmla="*/ 8 h 227"/>
                <a:gd name="T66" fmla="*/ 190 w 260"/>
                <a:gd name="T67" fmla="*/ 8 h 227"/>
                <a:gd name="T68" fmla="*/ 180 w 260"/>
                <a:gd name="T69" fmla="*/ 15 h 227"/>
                <a:gd name="T70" fmla="*/ 164 w 260"/>
                <a:gd name="T71" fmla="*/ 13 h 227"/>
                <a:gd name="T72" fmla="*/ 149 w 260"/>
                <a:gd name="T73" fmla="*/ 7 h 227"/>
                <a:gd name="T74" fmla="*/ 144 w 260"/>
                <a:gd name="T75" fmla="*/ 15 h 227"/>
                <a:gd name="T76" fmla="*/ 138 w 260"/>
                <a:gd name="T77" fmla="*/ 3 h 227"/>
                <a:gd name="T78" fmla="*/ 123 w 260"/>
                <a:gd name="T79" fmla="*/ 1 h 227"/>
                <a:gd name="T80" fmla="*/ 106 w 260"/>
                <a:gd name="T81" fmla="*/ 2 h 227"/>
                <a:gd name="T82" fmla="*/ 98 w 260"/>
                <a:gd name="T83" fmla="*/ 9 h 227"/>
                <a:gd name="T84" fmla="*/ 83 w 260"/>
                <a:gd name="T85" fmla="*/ 16 h 227"/>
                <a:gd name="T86" fmla="*/ 74 w 260"/>
                <a:gd name="T87" fmla="*/ 13 h 227"/>
                <a:gd name="T88" fmla="*/ 74 w 260"/>
                <a:gd name="T89" fmla="*/ 1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60" h="227">
                  <a:moveTo>
                    <a:pt x="74" y="13"/>
                  </a:moveTo>
                  <a:lnTo>
                    <a:pt x="53" y="6"/>
                  </a:lnTo>
                  <a:lnTo>
                    <a:pt x="34" y="0"/>
                  </a:lnTo>
                  <a:lnTo>
                    <a:pt x="7" y="1"/>
                  </a:lnTo>
                  <a:lnTo>
                    <a:pt x="0" y="12"/>
                  </a:lnTo>
                  <a:lnTo>
                    <a:pt x="4" y="21"/>
                  </a:lnTo>
                  <a:lnTo>
                    <a:pt x="0" y="36"/>
                  </a:lnTo>
                  <a:lnTo>
                    <a:pt x="8" y="55"/>
                  </a:lnTo>
                  <a:lnTo>
                    <a:pt x="12" y="140"/>
                  </a:lnTo>
                  <a:lnTo>
                    <a:pt x="16" y="227"/>
                  </a:lnTo>
                  <a:lnTo>
                    <a:pt x="98" y="227"/>
                  </a:lnTo>
                  <a:lnTo>
                    <a:pt x="178" y="227"/>
                  </a:lnTo>
                  <a:lnTo>
                    <a:pt x="260" y="227"/>
                  </a:lnTo>
                  <a:lnTo>
                    <a:pt x="256" y="223"/>
                  </a:lnTo>
                  <a:lnTo>
                    <a:pt x="231" y="201"/>
                  </a:lnTo>
                  <a:lnTo>
                    <a:pt x="229" y="185"/>
                  </a:lnTo>
                  <a:lnTo>
                    <a:pt x="233" y="182"/>
                  </a:lnTo>
                  <a:lnTo>
                    <a:pt x="213" y="156"/>
                  </a:lnTo>
                  <a:lnTo>
                    <a:pt x="205" y="142"/>
                  </a:lnTo>
                  <a:lnTo>
                    <a:pt x="197" y="128"/>
                  </a:lnTo>
                  <a:lnTo>
                    <a:pt x="179" y="92"/>
                  </a:lnTo>
                  <a:lnTo>
                    <a:pt x="164" y="68"/>
                  </a:lnTo>
                  <a:lnTo>
                    <a:pt x="154" y="43"/>
                  </a:lnTo>
                  <a:lnTo>
                    <a:pt x="156" y="41"/>
                  </a:lnTo>
                  <a:lnTo>
                    <a:pt x="173" y="74"/>
                  </a:lnTo>
                  <a:lnTo>
                    <a:pt x="183" y="86"/>
                  </a:lnTo>
                  <a:lnTo>
                    <a:pt x="191" y="93"/>
                  </a:lnTo>
                  <a:lnTo>
                    <a:pt x="195" y="88"/>
                  </a:lnTo>
                  <a:lnTo>
                    <a:pt x="200" y="76"/>
                  </a:lnTo>
                  <a:lnTo>
                    <a:pt x="202" y="58"/>
                  </a:lnTo>
                  <a:lnTo>
                    <a:pt x="207" y="49"/>
                  </a:lnTo>
                  <a:lnTo>
                    <a:pt x="205" y="43"/>
                  </a:lnTo>
                  <a:lnTo>
                    <a:pt x="190" y="8"/>
                  </a:lnTo>
                  <a:lnTo>
                    <a:pt x="190" y="8"/>
                  </a:lnTo>
                  <a:lnTo>
                    <a:pt x="180" y="15"/>
                  </a:lnTo>
                  <a:lnTo>
                    <a:pt x="164" y="13"/>
                  </a:lnTo>
                  <a:lnTo>
                    <a:pt x="149" y="7"/>
                  </a:lnTo>
                  <a:lnTo>
                    <a:pt x="144" y="15"/>
                  </a:lnTo>
                  <a:lnTo>
                    <a:pt x="138" y="3"/>
                  </a:lnTo>
                  <a:lnTo>
                    <a:pt x="123" y="1"/>
                  </a:lnTo>
                  <a:lnTo>
                    <a:pt x="106" y="2"/>
                  </a:lnTo>
                  <a:lnTo>
                    <a:pt x="98" y="9"/>
                  </a:lnTo>
                  <a:lnTo>
                    <a:pt x="83" y="16"/>
                  </a:lnTo>
                  <a:lnTo>
                    <a:pt x="74" y="13"/>
                  </a:lnTo>
                  <a:lnTo>
                    <a:pt x="74" y="13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8" name="Eritrea">
              <a:extLst>
                <a:ext uri="{FF2B5EF4-FFF2-40B4-BE49-F238E27FC236}">
                  <a16:creationId xmlns:a16="http://schemas.microsoft.com/office/drawing/2014/main" id="{90E9626A-5AE4-4F8C-BE84-AF1D948BF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95344" y="3384323"/>
              <a:ext cx="225425" cy="207963"/>
            </a:xfrm>
            <a:custGeom>
              <a:avLst/>
              <a:gdLst>
                <a:gd name="T0" fmla="*/ 71 w 142"/>
                <a:gd name="T1" fmla="*/ 60 h 131"/>
                <a:gd name="T2" fmla="*/ 60 w 142"/>
                <a:gd name="T3" fmla="*/ 49 h 131"/>
                <a:gd name="T4" fmla="*/ 52 w 142"/>
                <a:gd name="T5" fmla="*/ 27 h 131"/>
                <a:gd name="T6" fmla="*/ 39 w 142"/>
                <a:gd name="T7" fmla="*/ 0 h 131"/>
                <a:gd name="T8" fmla="*/ 29 w 142"/>
                <a:gd name="T9" fmla="*/ 13 h 131"/>
                <a:gd name="T10" fmla="*/ 14 w 142"/>
                <a:gd name="T11" fmla="*/ 16 h 131"/>
                <a:gd name="T12" fmla="*/ 8 w 142"/>
                <a:gd name="T13" fmla="*/ 24 h 131"/>
                <a:gd name="T14" fmla="*/ 6 w 142"/>
                <a:gd name="T15" fmla="*/ 40 h 131"/>
                <a:gd name="T16" fmla="*/ 0 w 142"/>
                <a:gd name="T17" fmla="*/ 75 h 131"/>
                <a:gd name="T18" fmla="*/ 2 w 142"/>
                <a:gd name="T19" fmla="*/ 85 h 131"/>
                <a:gd name="T20" fmla="*/ 26 w 142"/>
                <a:gd name="T21" fmla="*/ 89 h 131"/>
                <a:gd name="T22" fmla="*/ 32 w 142"/>
                <a:gd name="T23" fmla="*/ 72 h 131"/>
                <a:gd name="T24" fmla="*/ 45 w 142"/>
                <a:gd name="T25" fmla="*/ 83 h 131"/>
                <a:gd name="T26" fmla="*/ 57 w 142"/>
                <a:gd name="T27" fmla="*/ 77 h 131"/>
                <a:gd name="T28" fmla="*/ 62 w 142"/>
                <a:gd name="T29" fmla="*/ 82 h 131"/>
                <a:gd name="T30" fmla="*/ 76 w 142"/>
                <a:gd name="T31" fmla="*/ 82 h 131"/>
                <a:gd name="T32" fmla="*/ 95 w 142"/>
                <a:gd name="T33" fmla="*/ 91 h 131"/>
                <a:gd name="T34" fmla="*/ 101 w 142"/>
                <a:gd name="T35" fmla="*/ 100 h 131"/>
                <a:gd name="T36" fmla="*/ 110 w 142"/>
                <a:gd name="T37" fmla="*/ 107 h 131"/>
                <a:gd name="T38" fmla="*/ 119 w 142"/>
                <a:gd name="T39" fmla="*/ 121 h 131"/>
                <a:gd name="T40" fmla="*/ 127 w 142"/>
                <a:gd name="T41" fmla="*/ 129 h 131"/>
                <a:gd name="T42" fmla="*/ 136 w 142"/>
                <a:gd name="T43" fmla="*/ 131 h 131"/>
                <a:gd name="T44" fmla="*/ 142 w 142"/>
                <a:gd name="T45" fmla="*/ 126 h 131"/>
                <a:gd name="T46" fmla="*/ 131 w 142"/>
                <a:gd name="T47" fmla="*/ 118 h 131"/>
                <a:gd name="T48" fmla="*/ 125 w 142"/>
                <a:gd name="T49" fmla="*/ 110 h 131"/>
                <a:gd name="T50" fmla="*/ 113 w 142"/>
                <a:gd name="T51" fmla="*/ 96 h 131"/>
                <a:gd name="T52" fmla="*/ 101 w 142"/>
                <a:gd name="T53" fmla="*/ 83 h 131"/>
                <a:gd name="T54" fmla="*/ 71 w 142"/>
                <a:gd name="T55" fmla="*/ 6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2" h="131">
                  <a:moveTo>
                    <a:pt x="71" y="60"/>
                  </a:moveTo>
                  <a:lnTo>
                    <a:pt x="60" y="49"/>
                  </a:lnTo>
                  <a:lnTo>
                    <a:pt x="52" y="27"/>
                  </a:lnTo>
                  <a:lnTo>
                    <a:pt x="39" y="0"/>
                  </a:lnTo>
                  <a:lnTo>
                    <a:pt x="29" y="13"/>
                  </a:lnTo>
                  <a:lnTo>
                    <a:pt x="14" y="16"/>
                  </a:lnTo>
                  <a:lnTo>
                    <a:pt x="8" y="24"/>
                  </a:lnTo>
                  <a:lnTo>
                    <a:pt x="6" y="40"/>
                  </a:lnTo>
                  <a:lnTo>
                    <a:pt x="0" y="75"/>
                  </a:lnTo>
                  <a:lnTo>
                    <a:pt x="2" y="85"/>
                  </a:lnTo>
                  <a:lnTo>
                    <a:pt x="26" y="89"/>
                  </a:lnTo>
                  <a:lnTo>
                    <a:pt x="32" y="72"/>
                  </a:lnTo>
                  <a:lnTo>
                    <a:pt x="45" y="83"/>
                  </a:lnTo>
                  <a:lnTo>
                    <a:pt x="57" y="77"/>
                  </a:lnTo>
                  <a:lnTo>
                    <a:pt x="62" y="82"/>
                  </a:lnTo>
                  <a:lnTo>
                    <a:pt x="76" y="82"/>
                  </a:lnTo>
                  <a:lnTo>
                    <a:pt x="95" y="91"/>
                  </a:lnTo>
                  <a:lnTo>
                    <a:pt x="101" y="100"/>
                  </a:lnTo>
                  <a:lnTo>
                    <a:pt x="110" y="107"/>
                  </a:lnTo>
                  <a:lnTo>
                    <a:pt x="119" y="121"/>
                  </a:lnTo>
                  <a:lnTo>
                    <a:pt x="127" y="129"/>
                  </a:lnTo>
                  <a:lnTo>
                    <a:pt x="136" y="131"/>
                  </a:lnTo>
                  <a:lnTo>
                    <a:pt x="142" y="126"/>
                  </a:lnTo>
                  <a:lnTo>
                    <a:pt x="131" y="118"/>
                  </a:lnTo>
                  <a:lnTo>
                    <a:pt x="125" y="110"/>
                  </a:lnTo>
                  <a:lnTo>
                    <a:pt x="113" y="96"/>
                  </a:lnTo>
                  <a:lnTo>
                    <a:pt x="101" y="83"/>
                  </a:lnTo>
                  <a:lnTo>
                    <a:pt x="71" y="6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9" name="Estonia">
              <a:extLst>
                <a:ext uri="{FF2B5EF4-FFF2-40B4-BE49-F238E27FC236}">
                  <a16:creationId xmlns:a16="http://schemas.microsoft.com/office/drawing/2014/main" id="{C1B9BB05-BF49-4919-A56A-755B0083BCB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0669" y="1841274"/>
              <a:ext cx="128587" cy="73025"/>
            </a:xfrm>
            <a:custGeom>
              <a:avLst/>
              <a:gdLst>
                <a:gd name="T0" fmla="*/ 42 w 81"/>
                <a:gd name="T1" fmla="*/ 0 h 46"/>
                <a:gd name="T2" fmla="*/ 21 w 81"/>
                <a:gd name="T3" fmla="*/ 3 h 46"/>
                <a:gd name="T4" fmla="*/ 0 w 81"/>
                <a:gd name="T5" fmla="*/ 9 h 46"/>
                <a:gd name="T6" fmla="*/ 4 w 81"/>
                <a:gd name="T7" fmla="*/ 22 h 46"/>
                <a:gd name="T8" fmla="*/ 16 w 81"/>
                <a:gd name="T9" fmla="*/ 30 h 46"/>
                <a:gd name="T10" fmla="*/ 22 w 81"/>
                <a:gd name="T11" fmla="*/ 27 h 46"/>
                <a:gd name="T12" fmla="*/ 22 w 81"/>
                <a:gd name="T13" fmla="*/ 40 h 46"/>
                <a:gd name="T14" fmla="*/ 36 w 81"/>
                <a:gd name="T15" fmla="*/ 36 h 46"/>
                <a:gd name="T16" fmla="*/ 44 w 81"/>
                <a:gd name="T17" fmla="*/ 39 h 46"/>
                <a:gd name="T18" fmla="*/ 60 w 81"/>
                <a:gd name="T19" fmla="*/ 46 h 46"/>
                <a:gd name="T20" fmla="*/ 74 w 81"/>
                <a:gd name="T21" fmla="*/ 46 h 46"/>
                <a:gd name="T22" fmla="*/ 81 w 81"/>
                <a:gd name="T23" fmla="*/ 40 h 46"/>
                <a:gd name="T24" fmla="*/ 71 w 81"/>
                <a:gd name="T25" fmla="*/ 19 h 46"/>
                <a:gd name="T26" fmla="*/ 81 w 81"/>
                <a:gd name="T27" fmla="*/ 6 h 46"/>
                <a:gd name="T28" fmla="*/ 78 w 81"/>
                <a:gd name="T29" fmla="*/ 3 h 46"/>
                <a:gd name="T30" fmla="*/ 78 w 81"/>
                <a:gd name="T31" fmla="*/ 3 h 46"/>
                <a:gd name="T32" fmla="*/ 60 w 81"/>
                <a:gd name="T33" fmla="*/ 3 h 46"/>
                <a:gd name="T34" fmla="*/ 42 w 81"/>
                <a:gd name="T35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1" h="46">
                  <a:moveTo>
                    <a:pt x="42" y="0"/>
                  </a:moveTo>
                  <a:lnTo>
                    <a:pt x="21" y="3"/>
                  </a:lnTo>
                  <a:lnTo>
                    <a:pt x="0" y="9"/>
                  </a:lnTo>
                  <a:lnTo>
                    <a:pt x="4" y="22"/>
                  </a:lnTo>
                  <a:lnTo>
                    <a:pt x="16" y="30"/>
                  </a:lnTo>
                  <a:lnTo>
                    <a:pt x="22" y="27"/>
                  </a:lnTo>
                  <a:lnTo>
                    <a:pt x="22" y="40"/>
                  </a:lnTo>
                  <a:lnTo>
                    <a:pt x="36" y="36"/>
                  </a:lnTo>
                  <a:lnTo>
                    <a:pt x="44" y="39"/>
                  </a:lnTo>
                  <a:lnTo>
                    <a:pt x="60" y="46"/>
                  </a:lnTo>
                  <a:lnTo>
                    <a:pt x="74" y="46"/>
                  </a:lnTo>
                  <a:lnTo>
                    <a:pt x="81" y="40"/>
                  </a:lnTo>
                  <a:lnTo>
                    <a:pt x="71" y="19"/>
                  </a:lnTo>
                  <a:lnTo>
                    <a:pt x="81" y="6"/>
                  </a:lnTo>
                  <a:lnTo>
                    <a:pt x="78" y="3"/>
                  </a:lnTo>
                  <a:lnTo>
                    <a:pt x="78" y="3"/>
                  </a:lnTo>
                  <a:lnTo>
                    <a:pt x="60" y="3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0" name="Ethipia">
              <a:extLst>
                <a:ext uri="{FF2B5EF4-FFF2-40B4-BE49-F238E27FC236}">
                  <a16:creationId xmlns:a16="http://schemas.microsoft.com/office/drawing/2014/main" id="{02B3343C-9A4A-445B-9940-74CA048508B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0569" y="3498623"/>
              <a:ext cx="492125" cy="434975"/>
            </a:xfrm>
            <a:custGeom>
              <a:avLst/>
              <a:gdLst>
                <a:gd name="T0" fmla="*/ 98 w 310"/>
                <a:gd name="T1" fmla="*/ 0 h 274"/>
                <a:gd name="T2" fmla="*/ 92 w 310"/>
                <a:gd name="T3" fmla="*/ 17 h 274"/>
                <a:gd name="T4" fmla="*/ 68 w 310"/>
                <a:gd name="T5" fmla="*/ 13 h 274"/>
                <a:gd name="T6" fmla="*/ 66 w 310"/>
                <a:gd name="T7" fmla="*/ 33 h 274"/>
                <a:gd name="T8" fmla="*/ 57 w 310"/>
                <a:gd name="T9" fmla="*/ 56 h 274"/>
                <a:gd name="T10" fmla="*/ 45 w 310"/>
                <a:gd name="T11" fmla="*/ 68 h 274"/>
                <a:gd name="T12" fmla="*/ 37 w 310"/>
                <a:gd name="T13" fmla="*/ 85 h 274"/>
                <a:gd name="T14" fmla="*/ 35 w 310"/>
                <a:gd name="T15" fmla="*/ 96 h 274"/>
                <a:gd name="T16" fmla="*/ 26 w 310"/>
                <a:gd name="T17" fmla="*/ 102 h 274"/>
                <a:gd name="T18" fmla="*/ 20 w 310"/>
                <a:gd name="T19" fmla="*/ 127 h 274"/>
                <a:gd name="T20" fmla="*/ 20 w 310"/>
                <a:gd name="T21" fmla="*/ 130 h 274"/>
                <a:gd name="T22" fmla="*/ 21 w 310"/>
                <a:gd name="T23" fmla="*/ 149 h 274"/>
                <a:gd name="T24" fmla="*/ 18 w 310"/>
                <a:gd name="T25" fmla="*/ 156 h 274"/>
                <a:gd name="T26" fmla="*/ 7 w 310"/>
                <a:gd name="T27" fmla="*/ 156 h 274"/>
                <a:gd name="T28" fmla="*/ 0 w 310"/>
                <a:gd name="T29" fmla="*/ 169 h 274"/>
                <a:gd name="T30" fmla="*/ 13 w 310"/>
                <a:gd name="T31" fmla="*/ 171 h 274"/>
                <a:gd name="T32" fmla="*/ 24 w 310"/>
                <a:gd name="T33" fmla="*/ 184 h 274"/>
                <a:gd name="T34" fmla="*/ 27 w 310"/>
                <a:gd name="T35" fmla="*/ 193 h 274"/>
                <a:gd name="T36" fmla="*/ 37 w 310"/>
                <a:gd name="T37" fmla="*/ 198 h 274"/>
                <a:gd name="T38" fmla="*/ 50 w 310"/>
                <a:gd name="T39" fmla="*/ 224 h 274"/>
                <a:gd name="T40" fmla="*/ 61 w 310"/>
                <a:gd name="T41" fmla="*/ 228 h 274"/>
                <a:gd name="T42" fmla="*/ 61 w 310"/>
                <a:gd name="T43" fmla="*/ 241 h 274"/>
                <a:gd name="T44" fmla="*/ 69 w 310"/>
                <a:gd name="T45" fmla="*/ 250 h 274"/>
                <a:gd name="T46" fmla="*/ 83 w 310"/>
                <a:gd name="T47" fmla="*/ 250 h 274"/>
                <a:gd name="T48" fmla="*/ 110 w 310"/>
                <a:gd name="T49" fmla="*/ 269 h 274"/>
                <a:gd name="T50" fmla="*/ 116 w 310"/>
                <a:gd name="T51" fmla="*/ 269 h 274"/>
                <a:gd name="T52" fmla="*/ 122 w 310"/>
                <a:gd name="T53" fmla="*/ 269 h 274"/>
                <a:gd name="T54" fmla="*/ 126 w 310"/>
                <a:gd name="T55" fmla="*/ 272 h 274"/>
                <a:gd name="T56" fmla="*/ 140 w 310"/>
                <a:gd name="T57" fmla="*/ 274 h 274"/>
                <a:gd name="T58" fmla="*/ 146 w 310"/>
                <a:gd name="T59" fmla="*/ 264 h 274"/>
                <a:gd name="T60" fmla="*/ 165 w 310"/>
                <a:gd name="T61" fmla="*/ 254 h 274"/>
                <a:gd name="T62" fmla="*/ 174 w 310"/>
                <a:gd name="T63" fmla="*/ 262 h 274"/>
                <a:gd name="T64" fmla="*/ 188 w 310"/>
                <a:gd name="T65" fmla="*/ 262 h 274"/>
                <a:gd name="T66" fmla="*/ 194 w 310"/>
                <a:gd name="T67" fmla="*/ 254 h 274"/>
                <a:gd name="T68" fmla="*/ 207 w 310"/>
                <a:gd name="T69" fmla="*/ 254 h 274"/>
                <a:gd name="T70" fmla="*/ 225 w 310"/>
                <a:gd name="T71" fmla="*/ 237 h 274"/>
                <a:gd name="T72" fmla="*/ 253 w 310"/>
                <a:gd name="T73" fmla="*/ 236 h 274"/>
                <a:gd name="T74" fmla="*/ 310 w 310"/>
                <a:gd name="T75" fmla="*/ 165 h 274"/>
                <a:gd name="T76" fmla="*/ 293 w 310"/>
                <a:gd name="T77" fmla="*/ 165 h 274"/>
                <a:gd name="T78" fmla="*/ 224 w 310"/>
                <a:gd name="T79" fmla="*/ 137 h 274"/>
                <a:gd name="T80" fmla="*/ 215 w 310"/>
                <a:gd name="T81" fmla="*/ 128 h 274"/>
                <a:gd name="T82" fmla="*/ 208 w 310"/>
                <a:gd name="T83" fmla="*/ 117 h 274"/>
                <a:gd name="T84" fmla="*/ 199 w 310"/>
                <a:gd name="T85" fmla="*/ 104 h 274"/>
                <a:gd name="T86" fmla="*/ 203 w 310"/>
                <a:gd name="T87" fmla="*/ 95 h 274"/>
                <a:gd name="T88" fmla="*/ 198 w 310"/>
                <a:gd name="T89" fmla="*/ 91 h 274"/>
                <a:gd name="T90" fmla="*/ 194 w 310"/>
                <a:gd name="T91" fmla="*/ 93 h 274"/>
                <a:gd name="T92" fmla="*/ 182 w 310"/>
                <a:gd name="T93" fmla="*/ 93 h 274"/>
                <a:gd name="T94" fmla="*/ 182 w 310"/>
                <a:gd name="T95" fmla="*/ 85 h 274"/>
                <a:gd name="T96" fmla="*/ 180 w 310"/>
                <a:gd name="T97" fmla="*/ 79 h 274"/>
                <a:gd name="T98" fmla="*/ 186 w 310"/>
                <a:gd name="T99" fmla="*/ 68 h 274"/>
                <a:gd name="T100" fmla="*/ 193 w 310"/>
                <a:gd name="T101" fmla="*/ 57 h 274"/>
                <a:gd name="T102" fmla="*/ 185 w 310"/>
                <a:gd name="T103" fmla="*/ 49 h 274"/>
                <a:gd name="T104" fmla="*/ 176 w 310"/>
                <a:gd name="T105" fmla="*/ 35 h 274"/>
                <a:gd name="T106" fmla="*/ 167 w 310"/>
                <a:gd name="T107" fmla="*/ 28 h 274"/>
                <a:gd name="T108" fmla="*/ 161 w 310"/>
                <a:gd name="T109" fmla="*/ 19 h 274"/>
                <a:gd name="T110" fmla="*/ 142 w 310"/>
                <a:gd name="T111" fmla="*/ 10 h 274"/>
                <a:gd name="T112" fmla="*/ 128 w 310"/>
                <a:gd name="T113" fmla="*/ 10 h 274"/>
                <a:gd name="T114" fmla="*/ 123 w 310"/>
                <a:gd name="T115" fmla="*/ 5 h 274"/>
                <a:gd name="T116" fmla="*/ 111 w 310"/>
                <a:gd name="T117" fmla="*/ 11 h 274"/>
                <a:gd name="T118" fmla="*/ 98 w 310"/>
                <a:gd name="T119" fmla="*/ 0 h 274"/>
                <a:gd name="T120" fmla="*/ 98 w 310"/>
                <a:gd name="T121" fmla="*/ 0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10" h="274">
                  <a:moveTo>
                    <a:pt x="98" y="0"/>
                  </a:moveTo>
                  <a:lnTo>
                    <a:pt x="92" y="17"/>
                  </a:lnTo>
                  <a:lnTo>
                    <a:pt x="68" y="13"/>
                  </a:lnTo>
                  <a:lnTo>
                    <a:pt x="66" y="33"/>
                  </a:lnTo>
                  <a:lnTo>
                    <a:pt x="57" y="56"/>
                  </a:lnTo>
                  <a:lnTo>
                    <a:pt x="45" y="68"/>
                  </a:lnTo>
                  <a:lnTo>
                    <a:pt x="37" y="85"/>
                  </a:lnTo>
                  <a:lnTo>
                    <a:pt x="35" y="96"/>
                  </a:lnTo>
                  <a:lnTo>
                    <a:pt x="26" y="102"/>
                  </a:lnTo>
                  <a:lnTo>
                    <a:pt x="20" y="127"/>
                  </a:lnTo>
                  <a:lnTo>
                    <a:pt x="20" y="130"/>
                  </a:lnTo>
                  <a:lnTo>
                    <a:pt x="21" y="149"/>
                  </a:lnTo>
                  <a:lnTo>
                    <a:pt x="18" y="156"/>
                  </a:lnTo>
                  <a:lnTo>
                    <a:pt x="7" y="156"/>
                  </a:lnTo>
                  <a:lnTo>
                    <a:pt x="0" y="169"/>
                  </a:lnTo>
                  <a:lnTo>
                    <a:pt x="13" y="171"/>
                  </a:lnTo>
                  <a:lnTo>
                    <a:pt x="24" y="184"/>
                  </a:lnTo>
                  <a:lnTo>
                    <a:pt x="27" y="193"/>
                  </a:lnTo>
                  <a:lnTo>
                    <a:pt x="37" y="198"/>
                  </a:lnTo>
                  <a:lnTo>
                    <a:pt x="50" y="224"/>
                  </a:lnTo>
                  <a:lnTo>
                    <a:pt x="61" y="228"/>
                  </a:lnTo>
                  <a:lnTo>
                    <a:pt x="61" y="241"/>
                  </a:lnTo>
                  <a:lnTo>
                    <a:pt x="69" y="250"/>
                  </a:lnTo>
                  <a:lnTo>
                    <a:pt x="83" y="250"/>
                  </a:lnTo>
                  <a:lnTo>
                    <a:pt x="110" y="269"/>
                  </a:lnTo>
                  <a:lnTo>
                    <a:pt x="116" y="269"/>
                  </a:lnTo>
                  <a:lnTo>
                    <a:pt x="122" y="269"/>
                  </a:lnTo>
                  <a:lnTo>
                    <a:pt x="126" y="272"/>
                  </a:lnTo>
                  <a:lnTo>
                    <a:pt x="140" y="274"/>
                  </a:lnTo>
                  <a:lnTo>
                    <a:pt x="146" y="264"/>
                  </a:lnTo>
                  <a:lnTo>
                    <a:pt x="165" y="254"/>
                  </a:lnTo>
                  <a:lnTo>
                    <a:pt x="174" y="262"/>
                  </a:lnTo>
                  <a:lnTo>
                    <a:pt x="188" y="262"/>
                  </a:lnTo>
                  <a:lnTo>
                    <a:pt x="194" y="254"/>
                  </a:lnTo>
                  <a:lnTo>
                    <a:pt x="207" y="254"/>
                  </a:lnTo>
                  <a:lnTo>
                    <a:pt x="225" y="237"/>
                  </a:lnTo>
                  <a:lnTo>
                    <a:pt x="253" y="236"/>
                  </a:lnTo>
                  <a:lnTo>
                    <a:pt x="310" y="165"/>
                  </a:lnTo>
                  <a:lnTo>
                    <a:pt x="293" y="165"/>
                  </a:lnTo>
                  <a:lnTo>
                    <a:pt x="224" y="137"/>
                  </a:lnTo>
                  <a:lnTo>
                    <a:pt x="215" y="128"/>
                  </a:lnTo>
                  <a:lnTo>
                    <a:pt x="208" y="117"/>
                  </a:lnTo>
                  <a:lnTo>
                    <a:pt x="199" y="104"/>
                  </a:lnTo>
                  <a:lnTo>
                    <a:pt x="203" y="95"/>
                  </a:lnTo>
                  <a:lnTo>
                    <a:pt x="198" y="91"/>
                  </a:lnTo>
                  <a:lnTo>
                    <a:pt x="194" y="93"/>
                  </a:lnTo>
                  <a:lnTo>
                    <a:pt x="182" y="93"/>
                  </a:lnTo>
                  <a:lnTo>
                    <a:pt x="182" y="85"/>
                  </a:lnTo>
                  <a:lnTo>
                    <a:pt x="180" y="79"/>
                  </a:lnTo>
                  <a:lnTo>
                    <a:pt x="186" y="68"/>
                  </a:lnTo>
                  <a:lnTo>
                    <a:pt x="193" y="57"/>
                  </a:lnTo>
                  <a:lnTo>
                    <a:pt x="185" y="49"/>
                  </a:lnTo>
                  <a:lnTo>
                    <a:pt x="176" y="35"/>
                  </a:lnTo>
                  <a:lnTo>
                    <a:pt x="167" y="28"/>
                  </a:lnTo>
                  <a:lnTo>
                    <a:pt x="161" y="19"/>
                  </a:lnTo>
                  <a:lnTo>
                    <a:pt x="142" y="10"/>
                  </a:lnTo>
                  <a:lnTo>
                    <a:pt x="128" y="10"/>
                  </a:lnTo>
                  <a:lnTo>
                    <a:pt x="123" y="5"/>
                  </a:lnTo>
                  <a:lnTo>
                    <a:pt x="111" y="11"/>
                  </a:lnTo>
                  <a:lnTo>
                    <a:pt x="98" y="0"/>
                  </a:lnTo>
                  <a:lnTo>
                    <a:pt x="98" y="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1" name="Finland">
              <a:extLst>
                <a:ext uri="{FF2B5EF4-FFF2-40B4-BE49-F238E27FC236}">
                  <a16:creationId xmlns:a16="http://schemas.microsoft.com/office/drawing/2014/main" id="{3F13E06A-38A1-4255-B2DF-90784071DF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5256" y="1490436"/>
              <a:ext cx="315912" cy="341313"/>
            </a:xfrm>
            <a:custGeom>
              <a:avLst/>
              <a:gdLst>
                <a:gd name="T0" fmla="*/ 121 w 199"/>
                <a:gd name="T1" fmla="*/ 23 h 215"/>
                <a:gd name="T2" fmla="*/ 124 w 199"/>
                <a:gd name="T3" fmla="*/ 8 h 215"/>
                <a:gd name="T4" fmla="*/ 103 w 199"/>
                <a:gd name="T5" fmla="*/ 0 h 215"/>
                <a:gd name="T6" fmla="*/ 81 w 199"/>
                <a:gd name="T7" fmla="*/ 7 h 215"/>
                <a:gd name="T8" fmla="*/ 77 w 199"/>
                <a:gd name="T9" fmla="*/ 22 h 215"/>
                <a:gd name="T10" fmla="*/ 65 w 199"/>
                <a:gd name="T11" fmla="*/ 30 h 215"/>
                <a:gd name="T12" fmla="*/ 47 w 199"/>
                <a:gd name="T13" fmla="*/ 26 h 215"/>
                <a:gd name="T14" fmla="*/ 27 w 199"/>
                <a:gd name="T15" fmla="*/ 27 h 215"/>
                <a:gd name="T16" fmla="*/ 8 w 199"/>
                <a:gd name="T17" fmla="*/ 16 h 215"/>
                <a:gd name="T18" fmla="*/ 0 w 199"/>
                <a:gd name="T19" fmla="*/ 21 h 215"/>
                <a:gd name="T20" fmla="*/ 22 w 199"/>
                <a:gd name="T21" fmla="*/ 31 h 215"/>
                <a:gd name="T22" fmla="*/ 49 w 199"/>
                <a:gd name="T23" fmla="*/ 45 h 215"/>
                <a:gd name="T24" fmla="*/ 55 w 199"/>
                <a:gd name="T25" fmla="*/ 77 h 215"/>
                <a:gd name="T26" fmla="*/ 63 w 199"/>
                <a:gd name="T27" fmla="*/ 84 h 215"/>
                <a:gd name="T28" fmla="*/ 86 w 199"/>
                <a:gd name="T29" fmla="*/ 95 h 215"/>
                <a:gd name="T30" fmla="*/ 90 w 199"/>
                <a:gd name="T31" fmla="*/ 103 h 215"/>
                <a:gd name="T32" fmla="*/ 80 w 199"/>
                <a:gd name="T33" fmla="*/ 108 h 215"/>
                <a:gd name="T34" fmla="*/ 48 w 199"/>
                <a:gd name="T35" fmla="*/ 130 h 215"/>
                <a:gd name="T36" fmla="*/ 36 w 199"/>
                <a:gd name="T37" fmla="*/ 144 h 215"/>
                <a:gd name="T38" fmla="*/ 30 w 199"/>
                <a:gd name="T39" fmla="*/ 156 h 215"/>
                <a:gd name="T40" fmla="*/ 40 w 199"/>
                <a:gd name="T41" fmla="*/ 176 h 215"/>
                <a:gd name="T42" fmla="*/ 40 w 199"/>
                <a:gd name="T43" fmla="*/ 196 h 215"/>
                <a:gd name="T44" fmla="*/ 58 w 199"/>
                <a:gd name="T45" fmla="*/ 204 h 215"/>
                <a:gd name="T46" fmla="*/ 69 w 199"/>
                <a:gd name="T47" fmla="*/ 215 h 215"/>
                <a:gd name="T48" fmla="*/ 95 w 199"/>
                <a:gd name="T49" fmla="*/ 211 h 215"/>
                <a:gd name="T50" fmla="*/ 123 w 199"/>
                <a:gd name="T51" fmla="*/ 203 h 215"/>
                <a:gd name="T52" fmla="*/ 153 w 199"/>
                <a:gd name="T53" fmla="*/ 201 h 215"/>
                <a:gd name="T54" fmla="*/ 153 w 199"/>
                <a:gd name="T55" fmla="*/ 201 h 215"/>
                <a:gd name="T56" fmla="*/ 183 w 199"/>
                <a:gd name="T57" fmla="*/ 174 h 215"/>
                <a:gd name="T58" fmla="*/ 195 w 199"/>
                <a:gd name="T59" fmla="*/ 161 h 215"/>
                <a:gd name="T60" fmla="*/ 199 w 199"/>
                <a:gd name="T61" fmla="*/ 151 h 215"/>
                <a:gd name="T62" fmla="*/ 172 w 199"/>
                <a:gd name="T63" fmla="*/ 136 h 215"/>
                <a:gd name="T64" fmla="*/ 175 w 199"/>
                <a:gd name="T65" fmla="*/ 122 h 215"/>
                <a:gd name="T66" fmla="*/ 157 w 199"/>
                <a:gd name="T67" fmla="*/ 107 h 215"/>
                <a:gd name="T68" fmla="*/ 163 w 199"/>
                <a:gd name="T69" fmla="*/ 89 h 215"/>
                <a:gd name="T70" fmla="*/ 139 w 199"/>
                <a:gd name="T71" fmla="*/ 66 h 215"/>
                <a:gd name="T72" fmla="*/ 149 w 199"/>
                <a:gd name="T73" fmla="*/ 50 h 215"/>
                <a:gd name="T74" fmla="*/ 122 w 199"/>
                <a:gd name="T75" fmla="*/ 36 h 215"/>
                <a:gd name="T76" fmla="*/ 121 w 199"/>
                <a:gd name="T77" fmla="*/ 23 h 215"/>
                <a:gd name="T78" fmla="*/ 121 w 199"/>
                <a:gd name="T79" fmla="*/ 23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99" h="215">
                  <a:moveTo>
                    <a:pt x="121" y="23"/>
                  </a:moveTo>
                  <a:lnTo>
                    <a:pt x="124" y="8"/>
                  </a:lnTo>
                  <a:lnTo>
                    <a:pt x="103" y="0"/>
                  </a:lnTo>
                  <a:lnTo>
                    <a:pt x="81" y="7"/>
                  </a:lnTo>
                  <a:lnTo>
                    <a:pt x="77" y="22"/>
                  </a:lnTo>
                  <a:lnTo>
                    <a:pt x="65" y="30"/>
                  </a:lnTo>
                  <a:lnTo>
                    <a:pt x="47" y="26"/>
                  </a:lnTo>
                  <a:lnTo>
                    <a:pt x="27" y="27"/>
                  </a:lnTo>
                  <a:lnTo>
                    <a:pt x="8" y="16"/>
                  </a:lnTo>
                  <a:lnTo>
                    <a:pt x="0" y="21"/>
                  </a:lnTo>
                  <a:lnTo>
                    <a:pt x="22" y="31"/>
                  </a:lnTo>
                  <a:lnTo>
                    <a:pt x="49" y="45"/>
                  </a:lnTo>
                  <a:lnTo>
                    <a:pt x="55" y="77"/>
                  </a:lnTo>
                  <a:lnTo>
                    <a:pt x="63" y="84"/>
                  </a:lnTo>
                  <a:lnTo>
                    <a:pt x="86" y="95"/>
                  </a:lnTo>
                  <a:lnTo>
                    <a:pt x="90" y="103"/>
                  </a:lnTo>
                  <a:lnTo>
                    <a:pt x="80" y="108"/>
                  </a:lnTo>
                  <a:lnTo>
                    <a:pt x="48" y="130"/>
                  </a:lnTo>
                  <a:lnTo>
                    <a:pt x="36" y="144"/>
                  </a:lnTo>
                  <a:lnTo>
                    <a:pt x="30" y="156"/>
                  </a:lnTo>
                  <a:lnTo>
                    <a:pt x="40" y="176"/>
                  </a:lnTo>
                  <a:lnTo>
                    <a:pt x="40" y="196"/>
                  </a:lnTo>
                  <a:lnTo>
                    <a:pt x="58" y="204"/>
                  </a:lnTo>
                  <a:lnTo>
                    <a:pt x="69" y="215"/>
                  </a:lnTo>
                  <a:lnTo>
                    <a:pt x="95" y="211"/>
                  </a:lnTo>
                  <a:lnTo>
                    <a:pt x="123" y="203"/>
                  </a:lnTo>
                  <a:lnTo>
                    <a:pt x="153" y="201"/>
                  </a:lnTo>
                  <a:lnTo>
                    <a:pt x="153" y="201"/>
                  </a:lnTo>
                  <a:lnTo>
                    <a:pt x="183" y="174"/>
                  </a:lnTo>
                  <a:lnTo>
                    <a:pt x="195" y="161"/>
                  </a:lnTo>
                  <a:lnTo>
                    <a:pt x="199" y="151"/>
                  </a:lnTo>
                  <a:lnTo>
                    <a:pt x="172" y="136"/>
                  </a:lnTo>
                  <a:lnTo>
                    <a:pt x="175" y="122"/>
                  </a:lnTo>
                  <a:lnTo>
                    <a:pt x="157" y="107"/>
                  </a:lnTo>
                  <a:lnTo>
                    <a:pt x="163" y="89"/>
                  </a:lnTo>
                  <a:lnTo>
                    <a:pt x="139" y="66"/>
                  </a:lnTo>
                  <a:lnTo>
                    <a:pt x="149" y="50"/>
                  </a:lnTo>
                  <a:lnTo>
                    <a:pt x="122" y="36"/>
                  </a:lnTo>
                  <a:lnTo>
                    <a:pt x="121" y="23"/>
                  </a:lnTo>
                  <a:lnTo>
                    <a:pt x="121" y="23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2" name="Fiji">
              <a:extLst>
                <a:ext uri="{FF2B5EF4-FFF2-40B4-BE49-F238E27FC236}">
                  <a16:creationId xmlns:a16="http://schemas.microsoft.com/office/drawing/2014/main" id="{E5B2F664-7309-422B-BC2C-89A31A4345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819731" y="4668610"/>
              <a:ext cx="104775" cy="82550"/>
            </a:xfrm>
            <a:custGeom>
              <a:avLst/>
              <a:gdLst>
                <a:gd name="T0" fmla="*/ 66 w 66"/>
                <a:gd name="T1" fmla="*/ 0 h 52"/>
                <a:gd name="T2" fmla="*/ 52 w 66"/>
                <a:gd name="T3" fmla="*/ 8 h 52"/>
                <a:gd name="T4" fmla="*/ 45 w 66"/>
                <a:gd name="T5" fmla="*/ 9 h 52"/>
                <a:gd name="T6" fmla="*/ 33 w 66"/>
                <a:gd name="T7" fmla="*/ 13 h 52"/>
                <a:gd name="T8" fmla="*/ 34 w 66"/>
                <a:gd name="T9" fmla="*/ 23 h 52"/>
                <a:gd name="T10" fmla="*/ 48 w 66"/>
                <a:gd name="T11" fmla="*/ 17 h 52"/>
                <a:gd name="T12" fmla="*/ 63 w 66"/>
                <a:gd name="T13" fmla="*/ 11 h 52"/>
                <a:gd name="T14" fmla="*/ 66 w 66"/>
                <a:gd name="T15" fmla="*/ 0 h 52"/>
                <a:gd name="T16" fmla="*/ 66 w 66"/>
                <a:gd name="T17" fmla="*/ 0 h 52"/>
                <a:gd name="T18" fmla="*/ 25 w 66"/>
                <a:gd name="T19" fmla="*/ 30 h 52"/>
                <a:gd name="T20" fmla="*/ 18 w 66"/>
                <a:gd name="T21" fmla="*/ 34 h 52"/>
                <a:gd name="T22" fmla="*/ 10 w 66"/>
                <a:gd name="T23" fmla="*/ 31 h 52"/>
                <a:gd name="T24" fmla="*/ 0 w 66"/>
                <a:gd name="T25" fmla="*/ 39 h 52"/>
                <a:gd name="T26" fmla="*/ 0 w 66"/>
                <a:gd name="T27" fmla="*/ 50 h 52"/>
                <a:gd name="T28" fmla="*/ 10 w 66"/>
                <a:gd name="T29" fmla="*/ 52 h 52"/>
                <a:gd name="T30" fmla="*/ 24 w 66"/>
                <a:gd name="T31" fmla="*/ 49 h 52"/>
                <a:gd name="T32" fmla="*/ 31 w 66"/>
                <a:gd name="T33" fmla="*/ 37 h 52"/>
                <a:gd name="T34" fmla="*/ 25 w 66"/>
                <a:gd name="T35" fmla="*/ 30 h 52"/>
                <a:gd name="T36" fmla="*/ 25 w 66"/>
                <a:gd name="T37" fmla="*/ 3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52">
                  <a:moveTo>
                    <a:pt x="66" y="0"/>
                  </a:moveTo>
                  <a:lnTo>
                    <a:pt x="52" y="8"/>
                  </a:lnTo>
                  <a:lnTo>
                    <a:pt x="45" y="9"/>
                  </a:lnTo>
                  <a:lnTo>
                    <a:pt x="33" y="13"/>
                  </a:lnTo>
                  <a:lnTo>
                    <a:pt x="34" y="23"/>
                  </a:lnTo>
                  <a:lnTo>
                    <a:pt x="48" y="17"/>
                  </a:lnTo>
                  <a:lnTo>
                    <a:pt x="63" y="11"/>
                  </a:lnTo>
                  <a:lnTo>
                    <a:pt x="66" y="0"/>
                  </a:lnTo>
                  <a:lnTo>
                    <a:pt x="66" y="0"/>
                  </a:lnTo>
                  <a:close/>
                  <a:moveTo>
                    <a:pt x="25" y="30"/>
                  </a:moveTo>
                  <a:lnTo>
                    <a:pt x="18" y="34"/>
                  </a:lnTo>
                  <a:lnTo>
                    <a:pt x="10" y="31"/>
                  </a:lnTo>
                  <a:lnTo>
                    <a:pt x="0" y="39"/>
                  </a:lnTo>
                  <a:lnTo>
                    <a:pt x="0" y="50"/>
                  </a:lnTo>
                  <a:lnTo>
                    <a:pt x="10" y="52"/>
                  </a:lnTo>
                  <a:lnTo>
                    <a:pt x="24" y="49"/>
                  </a:lnTo>
                  <a:lnTo>
                    <a:pt x="31" y="37"/>
                  </a:lnTo>
                  <a:lnTo>
                    <a:pt x="25" y="30"/>
                  </a:lnTo>
                  <a:lnTo>
                    <a:pt x="25" y="3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3" name="Gabon">
              <a:extLst>
                <a:ext uri="{FF2B5EF4-FFF2-40B4-BE49-F238E27FC236}">
                  <a16:creationId xmlns:a16="http://schemas.microsoft.com/office/drawing/2014/main" id="{02502F56-9CE1-420B-899C-BBC12035A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7294" y="3974873"/>
              <a:ext cx="188912" cy="238125"/>
            </a:xfrm>
            <a:custGeom>
              <a:avLst/>
              <a:gdLst>
                <a:gd name="T0" fmla="*/ 91 w 119"/>
                <a:gd name="T1" fmla="*/ 1 h 150"/>
                <a:gd name="T2" fmla="*/ 88 w 119"/>
                <a:gd name="T3" fmla="*/ 0 h 150"/>
                <a:gd name="T4" fmla="*/ 75 w 119"/>
                <a:gd name="T5" fmla="*/ 3 h 150"/>
                <a:gd name="T6" fmla="*/ 63 w 119"/>
                <a:gd name="T7" fmla="*/ 0 h 150"/>
                <a:gd name="T8" fmla="*/ 53 w 119"/>
                <a:gd name="T9" fmla="*/ 1 h 150"/>
                <a:gd name="T10" fmla="*/ 53 w 119"/>
                <a:gd name="T11" fmla="*/ 30 h 150"/>
                <a:gd name="T12" fmla="*/ 23 w 119"/>
                <a:gd name="T13" fmla="*/ 30 h 150"/>
                <a:gd name="T14" fmla="*/ 15 w 119"/>
                <a:gd name="T15" fmla="*/ 31 h 150"/>
                <a:gd name="T16" fmla="*/ 12 w 119"/>
                <a:gd name="T17" fmla="*/ 49 h 150"/>
                <a:gd name="T18" fmla="*/ 6 w 119"/>
                <a:gd name="T19" fmla="*/ 66 h 150"/>
                <a:gd name="T20" fmla="*/ 1 w 119"/>
                <a:gd name="T21" fmla="*/ 73 h 150"/>
                <a:gd name="T22" fmla="*/ 0 w 119"/>
                <a:gd name="T23" fmla="*/ 81 h 150"/>
                <a:gd name="T24" fmla="*/ 13 w 119"/>
                <a:gd name="T25" fmla="*/ 106 h 150"/>
                <a:gd name="T26" fmla="*/ 27 w 119"/>
                <a:gd name="T27" fmla="*/ 125 h 150"/>
                <a:gd name="T28" fmla="*/ 49 w 119"/>
                <a:gd name="T29" fmla="*/ 150 h 150"/>
                <a:gd name="T30" fmla="*/ 65 w 119"/>
                <a:gd name="T31" fmla="*/ 137 h 150"/>
                <a:gd name="T32" fmla="*/ 57 w 119"/>
                <a:gd name="T33" fmla="*/ 121 h 150"/>
                <a:gd name="T34" fmla="*/ 64 w 119"/>
                <a:gd name="T35" fmla="*/ 115 h 150"/>
                <a:gd name="T36" fmla="*/ 79 w 119"/>
                <a:gd name="T37" fmla="*/ 112 h 150"/>
                <a:gd name="T38" fmla="*/ 81 w 119"/>
                <a:gd name="T39" fmla="*/ 101 h 150"/>
                <a:gd name="T40" fmla="*/ 92 w 119"/>
                <a:gd name="T41" fmla="*/ 112 h 150"/>
                <a:gd name="T42" fmla="*/ 110 w 119"/>
                <a:gd name="T43" fmla="*/ 114 h 150"/>
                <a:gd name="T44" fmla="*/ 116 w 119"/>
                <a:gd name="T45" fmla="*/ 103 h 150"/>
                <a:gd name="T46" fmla="*/ 119 w 119"/>
                <a:gd name="T47" fmla="*/ 86 h 150"/>
                <a:gd name="T48" fmla="*/ 117 w 119"/>
                <a:gd name="T49" fmla="*/ 68 h 150"/>
                <a:gd name="T50" fmla="*/ 107 w 119"/>
                <a:gd name="T51" fmla="*/ 54 h 150"/>
                <a:gd name="T52" fmla="*/ 116 w 119"/>
                <a:gd name="T53" fmla="*/ 26 h 150"/>
                <a:gd name="T54" fmla="*/ 111 w 119"/>
                <a:gd name="T55" fmla="*/ 22 h 150"/>
                <a:gd name="T56" fmla="*/ 95 w 119"/>
                <a:gd name="T57" fmla="*/ 24 h 150"/>
                <a:gd name="T58" fmla="*/ 89 w 119"/>
                <a:gd name="T59" fmla="*/ 11 h 150"/>
                <a:gd name="T60" fmla="*/ 91 w 119"/>
                <a:gd name="T61" fmla="*/ 1 h 150"/>
                <a:gd name="T62" fmla="*/ 91 w 119"/>
                <a:gd name="T63" fmla="*/ 1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9" h="150">
                  <a:moveTo>
                    <a:pt x="91" y="1"/>
                  </a:moveTo>
                  <a:lnTo>
                    <a:pt x="88" y="0"/>
                  </a:lnTo>
                  <a:lnTo>
                    <a:pt x="75" y="3"/>
                  </a:lnTo>
                  <a:lnTo>
                    <a:pt x="63" y="0"/>
                  </a:lnTo>
                  <a:lnTo>
                    <a:pt x="53" y="1"/>
                  </a:lnTo>
                  <a:lnTo>
                    <a:pt x="53" y="30"/>
                  </a:lnTo>
                  <a:lnTo>
                    <a:pt x="23" y="30"/>
                  </a:lnTo>
                  <a:lnTo>
                    <a:pt x="15" y="31"/>
                  </a:lnTo>
                  <a:lnTo>
                    <a:pt x="12" y="49"/>
                  </a:lnTo>
                  <a:lnTo>
                    <a:pt x="6" y="66"/>
                  </a:lnTo>
                  <a:lnTo>
                    <a:pt x="1" y="73"/>
                  </a:lnTo>
                  <a:lnTo>
                    <a:pt x="0" y="81"/>
                  </a:lnTo>
                  <a:lnTo>
                    <a:pt x="13" y="106"/>
                  </a:lnTo>
                  <a:lnTo>
                    <a:pt x="27" y="125"/>
                  </a:lnTo>
                  <a:lnTo>
                    <a:pt x="49" y="150"/>
                  </a:lnTo>
                  <a:lnTo>
                    <a:pt x="65" y="137"/>
                  </a:lnTo>
                  <a:lnTo>
                    <a:pt x="57" y="121"/>
                  </a:lnTo>
                  <a:lnTo>
                    <a:pt x="64" y="115"/>
                  </a:lnTo>
                  <a:lnTo>
                    <a:pt x="79" y="112"/>
                  </a:lnTo>
                  <a:lnTo>
                    <a:pt x="81" y="101"/>
                  </a:lnTo>
                  <a:lnTo>
                    <a:pt x="92" y="112"/>
                  </a:lnTo>
                  <a:lnTo>
                    <a:pt x="110" y="114"/>
                  </a:lnTo>
                  <a:lnTo>
                    <a:pt x="116" y="103"/>
                  </a:lnTo>
                  <a:lnTo>
                    <a:pt x="119" y="86"/>
                  </a:lnTo>
                  <a:lnTo>
                    <a:pt x="117" y="68"/>
                  </a:lnTo>
                  <a:lnTo>
                    <a:pt x="107" y="54"/>
                  </a:lnTo>
                  <a:lnTo>
                    <a:pt x="116" y="26"/>
                  </a:lnTo>
                  <a:lnTo>
                    <a:pt x="111" y="22"/>
                  </a:lnTo>
                  <a:lnTo>
                    <a:pt x="95" y="24"/>
                  </a:lnTo>
                  <a:lnTo>
                    <a:pt x="89" y="11"/>
                  </a:lnTo>
                  <a:lnTo>
                    <a:pt x="91" y="1"/>
                  </a:lnTo>
                  <a:lnTo>
                    <a:pt x="91" y="1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4" name="United Kingdom">
              <a:extLst>
                <a:ext uri="{FF2B5EF4-FFF2-40B4-BE49-F238E27FC236}">
                  <a16:creationId xmlns:a16="http://schemas.microsoft.com/office/drawing/2014/main" id="{BE61F454-9057-40F3-B0E2-1618F32CA6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84056" y="1874612"/>
              <a:ext cx="258762" cy="309562"/>
            </a:xfrm>
            <a:custGeom>
              <a:avLst/>
              <a:gdLst>
                <a:gd name="T0" fmla="*/ 34 w 163"/>
                <a:gd name="T1" fmla="*/ 91 h 195"/>
                <a:gd name="T2" fmla="*/ 15 w 163"/>
                <a:gd name="T3" fmla="*/ 77 h 195"/>
                <a:gd name="T4" fmla="*/ 1 w 163"/>
                <a:gd name="T5" fmla="*/ 78 h 195"/>
                <a:gd name="T6" fmla="*/ 4 w 163"/>
                <a:gd name="T7" fmla="*/ 90 h 195"/>
                <a:gd name="T8" fmla="*/ 0 w 163"/>
                <a:gd name="T9" fmla="*/ 102 h 195"/>
                <a:gd name="T10" fmla="*/ 10 w 163"/>
                <a:gd name="T11" fmla="*/ 102 h 195"/>
                <a:gd name="T12" fmla="*/ 23 w 163"/>
                <a:gd name="T13" fmla="*/ 107 h 195"/>
                <a:gd name="T14" fmla="*/ 34 w 163"/>
                <a:gd name="T15" fmla="*/ 91 h 195"/>
                <a:gd name="T16" fmla="*/ 82 w 163"/>
                <a:gd name="T17" fmla="*/ 0 h 195"/>
                <a:gd name="T18" fmla="*/ 62 w 163"/>
                <a:gd name="T19" fmla="*/ 2 h 195"/>
                <a:gd name="T20" fmla="*/ 48 w 163"/>
                <a:gd name="T21" fmla="*/ 0 h 195"/>
                <a:gd name="T22" fmla="*/ 34 w 163"/>
                <a:gd name="T23" fmla="*/ 18 h 195"/>
                <a:gd name="T24" fmla="*/ 27 w 163"/>
                <a:gd name="T25" fmla="*/ 41 h 195"/>
                <a:gd name="T26" fmla="*/ 35 w 163"/>
                <a:gd name="T27" fmla="*/ 52 h 195"/>
                <a:gd name="T28" fmla="*/ 35 w 163"/>
                <a:gd name="T29" fmla="*/ 74 h 195"/>
                <a:gd name="T30" fmla="*/ 46 w 163"/>
                <a:gd name="T31" fmla="*/ 64 h 195"/>
                <a:gd name="T32" fmla="*/ 50 w 163"/>
                <a:gd name="T33" fmla="*/ 69 h 195"/>
                <a:gd name="T34" fmla="*/ 45 w 163"/>
                <a:gd name="T35" fmla="*/ 80 h 195"/>
                <a:gd name="T36" fmla="*/ 48 w 163"/>
                <a:gd name="T37" fmla="*/ 85 h 195"/>
                <a:gd name="T38" fmla="*/ 69 w 163"/>
                <a:gd name="T39" fmla="*/ 90 h 195"/>
                <a:gd name="T40" fmla="*/ 70 w 163"/>
                <a:gd name="T41" fmla="*/ 90 h 195"/>
                <a:gd name="T42" fmla="*/ 81 w 163"/>
                <a:gd name="T43" fmla="*/ 104 h 195"/>
                <a:gd name="T44" fmla="*/ 78 w 163"/>
                <a:gd name="T45" fmla="*/ 117 h 195"/>
                <a:gd name="T46" fmla="*/ 78 w 163"/>
                <a:gd name="T47" fmla="*/ 117 h 195"/>
                <a:gd name="T48" fmla="*/ 52 w 163"/>
                <a:gd name="T49" fmla="*/ 115 h 195"/>
                <a:gd name="T50" fmla="*/ 48 w 163"/>
                <a:gd name="T51" fmla="*/ 130 h 195"/>
                <a:gd name="T52" fmla="*/ 58 w 163"/>
                <a:gd name="T53" fmla="*/ 142 h 195"/>
                <a:gd name="T54" fmla="*/ 39 w 163"/>
                <a:gd name="T55" fmla="*/ 149 h 195"/>
                <a:gd name="T56" fmla="*/ 44 w 163"/>
                <a:gd name="T57" fmla="*/ 158 h 195"/>
                <a:gd name="T58" fmla="*/ 72 w 163"/>
                <a:gd name="T59" fmla="*/ 162 h 195"/>
                <a:gd name="T60" fmla="*/ 72 w 163"/>
                <a:gd name="T61" fmla="*/ 162 h 195"/>
                <a:gd name="T62" fmla="*/ 56 w 163"/>
                <a:gd name="T63" fmla="*/ 166 h 195"/>
                <a:gd name="T64" fmla="*/ 28 w 163"/>
                <a:gd name="T65" fmla="*/ 191 h 195"/>
                <a:gd name="T66" fmla="*/ 37 w 163"/>
                <a:gd name="T67" fmla="*/ 195 h 195"/>
                <a:gd name="T68" fmla="*/ 50 w 163"/>
                <a:gd name="T69" fmla="*/ 187 h 195"/>
                <a:gd name="T70" fmla="*/ 67 w 163"/>
                <a:gd name="T71" fmla="*/ 190 h 195"/>
                <a:gd name="T72" fmla="*/ 80 w 163"/>
                <a:gd name="T73" fmla="*/ 179 h 195"/>
                <a:gd name="T74" fmla="*/ 88 w 163"/>
                <a:gd name="T75" fmla="*/ 183 h 195"/>
                <a:gd name="T76" fmla="*/ 119 w 163"/>
                <a:gd name="T77" fmla="*/ 177 h 195"/>
                <a:gd name="T78" fmla="*/ 144 w 163"/>
                <a:gd name="T79" fmla="*/ 177 h 195"/>
                <a:gd name="T80" fmla="*/ 160 w 163"/>
                <a:gd name="T81" fmla="*/ 165 h 195"/>
                <a:gd name="T82" fmla="*/ 152 w 163"/>
                <a:gd name="T83" fmla="*/ 153 h 195"/>
                <a:gd name="T84" fmla="*/ 161 w 163"/>
                <a:gd name="T85" fmla="*/ 147 h 195"/>
                <a:gd name="T86" fmla="*/ 163 w 163"/>
                <a:gd name="T87" fmla="*/ 132 h 195"/>
                <a:gd name="T88" fmla="*/ 142 w 163"/>
                <a:gd name="T89" fmla="*/ 127 h 195"/>
                <a:gd name="T90" fmla="*/ 136 w 163"/>
                <a:gd name="T91" fmla="*/ 119 h 195"/>
                <a:gd name="T92" fmla="*/ 126 w 163"/>
                <a:gd name="T93" fmla="*/ 93 h 195"/>
                <a:gd name="T94" fmla="*/ 114 w 163"/>
                <a:gd name="T95" fmla="*/ 89 h 195"/>
                <a:gd name="T96" fmla="*/ 99 w 163"/>
                <a:gd name="T97" fmla="*/ 63 h 195"/>
                <a:gd name="T98" fmla="*/ 97 w 163"/>
                <a:gd name="T99" fmla="*/ 61 h 195"/>
                <a:gd name="T100" fmla="*/ 79 w 163"/>
                <a:gd name="T101" fmla="*/ 59 h 195"/>
                <a:gd name="T102" fmla="*/ 95 w 163"/>
                <a:gd name="T103" fmla="*/ 39 h 195"/>
                <a:gd name="T104" fmla="*/ 100 w 163"/>
                <a:gd name="T105" fmla="*/ 21 h 195"/>
                <a:gd name="T106" fmla="*/ 81 w 163"/>
                <a:gd name="T107" fmla="*/ 21 h 195"/>
                <a:gd name="T108" fmla="*/ 63 w 163"/>
                <a:gd name="T109" fmla="*/ 24 h 195"/>
                <a:gd name="T110" fmla="*/ 82 w 163"/>
                <a:gd name="T111" fmla="*/ 0 h 195"/>
                <a:gd name="T112" fmla="*/ 82 w 163"/>
                <a:gd name="T1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3" h="195">
                  <a:moveTo>
                    <a:pt x="34" y="91"/>
                  </a:moveTo>
                  <a:lnTo>
                    <a:pt x="15" y="77"/>
                  </a:lnTo>
                  <a:lnTo>
                    <a:pt x="1" y="78"/>
                  </a:lnTo>
                  <a:lnTo>
                    <a:pt x="4" y="90"/>
                  </a:lnTo>
                  <a:lnTo>
                    <a:pt x="0" y="102"/>
                  </a:lnTo>
                  <a:lnTo>
                    <a:pt x="10" y="102"/>
                  </a:lnTo>
                  <a:lnTo>
                    <a:pt x="23" y="107"/>
                  </a:lnTo>
                  <a:lnTo>
                    <a:pt x="34" y="91"/>
                  </a:lnTo>
                  <a:close/>
                  <a:moveTo>
                    <a:pt x="82" y="0"/>
                  </a:moveTo>
                  <a:lnTo>
                    <a:pt x="62" y="2"/>
                  </a:lnTo>
                  <a:lnTo>
                    <a:pt x="48" y="0"/>
                  </a:lnTo>
                  <a:lnTo>
                    <a:pt x="34" y="18"/>
                  </a:lnTo>
                  <a:lnTo>
                    <a:pt x="27" y="41"/>
                  </a:lnTo>
                  <a:lnTo>
                    <a:pt x="35" y="52"/>
                  </a:lnTo>
                  <a:lnTo>
                    <a:pt x="35" y="74"/>
                  </a:lnTo>
                  <a:lnTo>
                    <a:pt x="46" y="64"/>
                  </a:lnTo>
                  <a:lnTo>
                    <a:pt x="50" y="69"/>
                  </a:lnTo>
                  <a:lnTo>
                    <a:pt x="45" y="80"/>
                  </a:lnTo>
                  <a:lnTo>
                    <a:pt x="48" y="85"/>
                  </a:lnTo>
                  <a:lnTo>
                    <a:pt x="69" y="90"/>
                  </a:lnTo>
                  <a:lnTo>
                    <a:pt x="70" y="90"/>
                  </a:lnTo>
                  <a:lnTo>
                    <a:pt x="81" y="104"/>
                  </a:lnTo>
                  <a:lnTo>
                    <a:pt x="78" y="117"/>
                  </a:lnTo>
                  <a:lnTo>
                    <a:pt x="78" y="117"/>
                  </a:lnTo>
                  <a:lnTo>
                    <a:pt x="52" y="115"/>
                  </a:lnTo>
                  <a:lnTo>
                    <a:pt x="48" y="130"/>
                  </a:lnTo>
                  <a:lnTo>
                    <a:pt x="58" y="142"/>
                  </a:lnTo>
                  <a:lnTo>
                    <a:pt x="39" y="149"/>
                  </a:lnTo>
                  <a:lnTo>
                    <a:pt x="44" y="158"/>
                  </a:lnTo>
                  <a:lnTo>
                    <a:pt x="72" y="162"/>
                  </a:lnTo>
                  <a:lnTo>
                    <a:pt x="72" y="162"/>
                  </a:lnTo>
                  <a:lnTo>
                    <a:pt x="56" y="166"/>
                  </a:lnTo>
                  <a:lnTo>
                    <a:pt x="28" y="191"/>
                  </a:lnTo>
                  <a:lnTo>
                    <a:pt x="37" y="195"/>
                  </a:lnTo>
                  <a:lnTo>
                    <a:pt x="50" y="187"/>
                  </a:lnTo>
                  <a:lnTo>
                    <a:pt x="67" y="190"/>
                  </a:lnTo>
                  <a:lnTo>
                    <a:pt x="80" y="179"/>
                  </a:lnTo>
                  <a:lnTo>
                    <a:pt x="88" y="183"/>
                  </a:lnTo>
                  <a:lnTo>
                    <a:pt x="119" y="177"/>
                  </a:lnTo>
                  <a:lnTo>
                    <a:pt x="144" y="177"/>
                  </a:lnTo>
                  <a:lnTo>
                    <a:pt x="160" y="165"/>
                  </a:lnTo>
                  <a:lnTo>
                    <a:pt x="152" y="153"/>
                  </a:lnTo>
                  <a:lnTo>
                    <a:pt x="161" y="147"/>
                  </a:lnTo>
                  <a:lnTo>
                    <a:pt x="163" y="132"/>
                  </a:lnTo>
                  <a:lnTo>
                    <a:pt x="142" y="127"/>
                  </a:lnTo>
                  <a:lnTo>
                    <a:pt x="136" y="119"/>
                  </a:lnTo>
                  <a:lnTo>
                    <a:pt x="126" y="93"/>
                  </a:lnTo>
                  <a:lnTo>
                    <a:pt x="114" y="89"/>
                  </a:lnTo>
                  <a:lnTo>
                    <a:pt x="99" y="63"/>
                  </a:lnTo>
                  <a:lnTo>
                    <a:pt x="97" y="61"/>
                  </a:lnTo>
                  <a:lnTo>
                    <a:pt x="79" y="59"/>
                  </a:lnTo>
                  <a:lnTo>
                    <a:pt x="95" y="39"/>
                  </a:lnTo>
                  <a:lnTo>
                    <a:pt x="100" y="21"/>
                  </a:lnTo>
                  <a:lnTo>
                    <a:pt x="81" y="21"/>
                  </a:lnTo>
                  <a:lnTo>
                    <a:pt x="63" y="24"/>
                  </a:lnTo>
                  <a:lnTo>
                    <a:pt x="82" y="0"/>
                  </a:lnTo>
                  <a:lnTo>
                    <a:pt x="82" y="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5" name="Georgia">
              <a:extLst>
                <a:ext uri="{FF2B5EF4-FFF2-40B4-BE49-F238E27FC236}">
                  <a16:creationId xmlns:a16="http://schemas.microsoft.com/office/drawing/2014/main" id="{790FB1A4-5D7A-4019-84AC-C9565A8F053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0106" y="2420711"/>
              <a:ext cx="219075" cy="90488"/>
            </a:xfrm>
            <a:custGeom>
              <a:avLst/>
              <a:gdLst>
                <a:gd name="T0" fmla="*/ 75 w 138"/>
                <a:gd name="T1" fmla="*/ 18 h 57"/>
                <a:gd name="T2" fmla="*/ 47 w 138"/>
                <a:gd name="T3" fmla="*/ 7 h 57"/>
                <a:gd name="T4" fmla="*/ 18 w 138"/>
                <a:gd name="T5" fmla="*/ 4 h 57"/>
                <a:gd name="T6" fmla="*/ 1 w 138"/>
                <a:gd name="T7" fmla="*/ 0 h 57"/>
                <a:gd name="T8" fmla="*/ 0 w 138"/>
                <a:gd name="T9" fmla="*/ 3 h 57"/>
                <a:gd name="T10" fmla="*/ 8 w 138"/>
                <a:gd name="T11" fmla="*/ 9 h 57"/>
                <a:gd name="T12" fmla="*/ 19 w 138"/>
                <a:gd name="T13" fmla="*/ 12 h 57"/>
                <a:gd name="T14" fmla="*/ 32 w 138"/>
                <a:gd name="T15" fmla="*/ 20 h 57"/>
                <a:gd name="T16" fmla="*/ 40 w 138"/>
                <a:gd name="T17" fmla="*/ 36 h 57"/>
                <a:gd name="T18" fmla="*/ 39 w 138"/>
                <a:gd name="T19" fmla="*/ 46 h 57"/>
                <a:gd name="T20" fmla="*/ 58 w 138"/>
                <a:gd name="T21" fmla="*/ 46 h 57"/>
                <a:gd name="T22" fmla="*/ 80 w 138"/>
                <a:gd name="T23" fmla="*/ 57 h 57"/>
                <a:gd name="T24" fmla="*/ 105 w 138"/>
                <a:gd name="T25" fmla="*/ 53 h 57"/>
                <a:gd name="T26" fmla="*/ 110 w 138"/>
                <a:gd name="T27" fmla="*/ 49 h 57"/>
                <a:gd name="T28" fmla="*/ 126 w 138"/>
                <a:gd name="T29" fmla="*/ 56 h 57"/>
                <a:gd name="T30" fmla="*/ 136 w 138"/>
                <a:gd name="T31" fmla="*/ 57 h 57"/>
                <a:gd name="T32" fmla="*/ 138 w 138"/>
                <a:gd name="T33" fmla="*/ 55 h 57"/>
                <a:gd name="T34" fmla="*/ 126 w 138"/>
                <a:gd name="T35" fmla="*/ 42 h 57"/>
                <a:gd name="T36" fmla="*/ 130 w 138"/>
                <a:gd name="T37" fmla="*/ 38 h 57"/>
                <a:gd name="T38" fmla="*/ 117 w 138"/>
                <a:gd name="T39" fmla="*/ 33 h 57"/>
                <a:gd name="T40" fmla="*/ 109 w 138"/>
                <a:gd name="T41" fmla="*/ 24 h 57"/>
                <a:gd name="T42" fmla="*/ 90 w 138"/>
                <a:gd name="T43" fmla="*/ 19 h 57"/>
                <a:gd name="T44" fmla="*/ 79 w 138"/>
                <a:gd name="T45" fmla="*/ 23 h 57"/>
                <a:gd name="T46" fmla="*/ 75 w 138"/>
                <a:gd name="T47" fmla="*/ 18 h 57"/>
                <a:gd name="T48" fmla="*/ 75 w 138"/>
                <a:gd name="T49" fmla="*/ 1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38" h="57">
                  <a:moveTo>
                    <a:pt x="75" y="18"/>
                  </a:moveTo>
                  <a:lnTo>
                    <a:pt x="47" y="7"/>
                  </a:lnTo>
                  <a:lnTo>
                    <a:pt x="18" y="4"/>
                  </a:lnTo>
                  <a:lnTo>
                    <a:pt x="1" y="0"/>
                  </a:lnTo>
                  <a:lnTo>
                    <a:pt x="0" y="3"/>
                  </a:lnTo>
                  <a:lnTo>
                    <a:pt x="8" y="9"/>
                  </a:lnTo>
                  <a:lnTo>
                    <a:pt x="19" y="12"/>
                  </a:lnTo>
                  <a:lnTo>
                    <a:pt x="32" y="20"/>
                  </a:lnTo>
                  <a:lnTo>
                    <a:pt x="40" y="36"/>
                  </a:lnTo>
                  <a:lnTo>
                    <a:pt x="39" y="46"/>
                  </a:lnTo>
                  <a:lnTo>
                    <a:pt x="58" y="46"/>
                  </a:lnTo>
                  <a:lnTo>
                    <a:pt x="80" y="57"/>
                  </a:lnTo>
                  <a:lnTo>
                    <a:pt x="105" y="53"/>
                  </a:lnTo>
                  <a:lnTo>
                    <a:pt x="110" y="49"/>
                  </a:lnTo>
                  <a:lnTo>
                    <a:pt x="126" y="56"/>
                  </a:lnTo>
                  <a:lnTo>
                    <a:pt x="136" y="57"/>
                  </a:lnTo>
                  <a:lnTo>
                    <a:pt x="138" y="55"/>
                  </a:lnTo>
                  <a:lnTo>
                    <a:pt x="126" y="42"/>
                  </a:lnTo>
                  <a:lnTo>
                    <a:pt x="130" y="38"/>
                  </a:lnTo>
                  <a:lnTo>
                    <a:pt x="117" y="33"/>
                  </a:lnTo>
                  <a:lnTo>
                    <a:pt x="109" y="24"/>
                  </a:lnTo>
                  <a:lnTo>
                    <a:pt x="90" y="19"/>
                  </a:lnTo>
                  <a:lnTo>
                    <a:pt x="79" y="23"/>
                  </a:lnTo>
                  <a:lnTo>
                    <a:pt x="75" y="18"/>
                  </a:lnTo>
                  <a:lnTo>
                    <a:pt x="75" y="18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6" name="Ghana">
              <a:extLst>
                <a:ext uri="{FF2B5EF4-FFF2-40B4-BE49-F238E27FC236}">
                  <a16:creationId xmlns:a16="http://schemas.microsoft.com/office/drawing/2014/main" id="{AC04D650-607E-456F-9778-67DD5E6ACBD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7244" y="3643086"/>
              <a:ext cx="142875" cy="241300"/>
            </a:xfrm>
            <a:custGeom>
              <a:avLst/>
              <a:gdLst>
                <a:gd name="T0" fmla="*/ 68 w 90"/>
                <a:gd name="T1" fmla="*/ 2 h 152"/>
                <a:gd name="T2" fmla="*/ 59 w 90"/>
                <a:gd name="T3" fmla="*/ 0 h 152"/>
                <a:gd name="T4" fmla="*/ 53 w 90"/>
                <a:gd name="T5" fmla="*/ 4 h 152"/>
                <a:gd name="T6" fmla="*/ 43 w 90"/>
                <a:gd name="T7" fmla="*/ 2 h 152"/>
                <a:gd name="T8" fmla="*/ 7 w 90"/>
                <a:gd name="T9" fmla="*/ 4 h 152"/>
                <a:gd name="T10" fmla="*/ 6 w 90"/>
                <a:gd name="T11" fmla="*/ 17 h 152"/>
                <a:gd name="T12" fmla="*/ 10 w 90"/>
                <a:gd name="T13" fmla="*/ 35 h 152"/>
                <a:gd name="T14" fmla="*/ 14 w 90"/>
                <a:gd name="T15" fmla="*/ 69 h 152"/>
                <a:gd name="T16" fmla="*/ 6 w 90"/>
                <a:gd name="T17" fmla="*/ 89 h 152"/>
                <a:gd name="T18" fmla="*/ 0 w 90"/>
                <a:gd name="T19" fmla="*/ 116 h 152"/>
                <a:gd name="T20" fmla="*/ 10 w 90"/>
                <a:gd name="T21" fmla="*/ 136 h 152"/>
                <a:gd name="T22" fmla="*/ 9 w 90"/>
                <a:gd name="T23" fmla="*/ 146 h 152"/>
                <a:gd name="T24" fmla="*/ 27 w 90"/>
                <a:gd name="T25" fmla="*/ 152 h 152"/>
                <a:gd name="T26" fmla="*/ 46 w 90"/>
                <a:gd name="T27" fmla="*/ 145 h 152"/>
                <a:gd name="T28" fmla="*/ 58 w 90"/>
                <a:gd name="T29" fmla="*/ 137 h 152"/>
                <a:gd name="T30" fmla="*/ 90 w 90"/>
                <a:gd name="T31" fmla="*/ 123 h 152"/>
                <a:gd name="T32" fmla="*/ 86 w 90"/>
                <a:gd name="T33" fmla="*/ 115 h 152"/>
                <a:gd name="T34" fmla="*/ 81 w 90"/>
                <a:gd name="T35" fmla="*/ 100 h 152"/>
                <a:gd name="T36" fmla="*/ 79 w 90"/>
                <a:gd name="T37" fmla="*/ 88 h 152"/>
                <a:gd name="T38" fmla="*/ 83 w 90"/>
                <a:gd name="T39" fmla="*/ 66 h 152"/>
                <a:gd name="T40" fmla="*/ 78 w 90"/>
                <a:gd name="T41" fmla="*/ 58 h 152"/>
                <a:gd name="T42" fmla="*/ 76 w 90"/>
                <a:gd name="T43" fmla="*/ 39 h 152"/>
                <a:gd name="T44" fmla="*/ 76 w 90"/>
                <a:gd name="T45" fmla="*/ 22 h 152"/>
                <a:gd name="T46" fmla="*/ 68 w 90"/>
                <a:gd name="T47" fmla="*/ 9 h 152"/>
                <a:gd name="T48" fmla="*/ 68 w 90"/>
                <a:gd name="T49" fmla="*/ 2 h 152"/>
                <a:gd name="T50" fmla="*/ 68 w 90"/>
                <a:gd name="T51" fmla="*/ 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0" h="152">
                  <a:moveTo>
                    <a:pt x="68" y="2"/>
                  </a:moveTo>
                  <a:lnTo>
                    <a:pt x="59" y="0"/>
                  </a:lnTo>
                  <a:lnTo>
                    <a:pt x="53" y="4"/>
                  </a:lnTo>
                  <a:lnTo>
                    <a:pt x="43" y="2"/>
                  </a:lnTo>
                  <a:lnTo>
                    <a:pt x="7" y="4"/>
                  </a:lnTo>
                  <a:lnTo>
                    <a:pt x="6" y="17"/>
                  </a:lnTo>
                  <a:lnTo>
                    <a:pt x="10" y="35"/>
                  </a:lnTo>
                  <a:lnTo>
                    <a:pt x="14" y="69"/>
                  </a:lnTo>
                  <a:lnTo>
                    <a:pt x="6" y="89"/>
                  </a:lnTo>
                  <a:lnTo>
                    <a:pt x="0" y="116"/>
                  </a:lnTo>
                  <a:lnTo>
                    <a:pt x="10" y="136"/>
                  </a:lnTo>
                  <a:lnTo>
                    <a:pt x="9" y="146"/>
                  </a:lnTo>
                  <a:lnTo>
                    <a:pt x="27" y="152"/>
                  </a:lnTo>
                  <a:lnTo>
                    <a:pt x="46" y="145"/>
                  </a:lnTo>
                  <a:lnTo>
                    <a:pt x="58" y="137"/>
                  </a:lnTo>
                  <a:lnTo>
                    <a:pt x="90" y="123"/>
                  </a:lnTo>
                  <a:lnTo>
                    <a:pt x="86" y="115"/>
                  </a:lnTo>
                  <a:lnTo>
                    <a:pt x="81" y="100"/>
                  </a:lnTo>
                  <a:lnTo>
                    <a:pt x="79" y="88"/>
                  </a:lnTo>
                  <a:lnTo>
                    <a:pt x="83" y="66"/>
                  </a:lnTo>
                  <a:lnTo>
                    <a:pt x="78" y="58"/>
                  </a:lnTo>
                  <a:lnTo>
                    <a:pt x="76" y="39"/>
                  </a:lnTo>
                  <a:lnTo>
                    <a:pt x="76" y="22"/>
                  </a:lnTo>
                  <a:lnTo>
                    <a:pt x="68" y="9"/>
                  </a:lnTo>
                  <a:lnTo>
                    <a:pt x="68" y="2"/>
                  </a:lnTo>
                  <a:lnTo>
                    <a:pt x="68" y="2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7" name="Guinea">
              <a:extLst>
                <a:ext uri="{FF2B5EF4-FFF2-40B4-BE49-F238E27FC236}">
                  <a16:creationId xmlns:a16="http://schemas.microsoft.com/office/drawing/2014/main" id="{F91D5CF3-1019-43F3-B05E-E0E57829173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3544" y="3587524"/>
              <a:ext cx="241300" cy="200025"/>
            </a:xfrm>
            <a:custGeom>
              <a:avLst/>
              <a:gdLst>
                <a:gd name="T0" fmla="*/ 73 w 152"/>
                <a:gd name="T1" fmla="*/ 5 h 126"/>
                <a:gd name="T2" fmla="*/ 61 w 152"/>
                <a:gd name="T3" fmla="*/ 5 h 126"/>
                <a:gd name="T4" fmla="*/ 41 w 152"/>
                <a:gd name="T5" fmla="*/ 1 h 126"/>
                <a:gd name="T6" fmla="*/ 30 w 152"/>
                <a:gd name="T7" fmla="*/ 8 h 126"/>
                <a:gd name="T8" fmla="*/ 30 w 152"/>
                <a:gd name="T9" fmla="*/ 18 h 126"/>
                <a:gd name="T10" fmla="*/ 21 w 152"/>
                <a:gd name="T11" fmla="*/ 22 h 126"/>
                <a:gd name="T12" fmla="*/ 10 w 152"/>
                <a:gd name="T13" fmla="*/ 25 h 126"/>
                <a:gd name="T14" fmla="*/ 6 w 152"/>
                <a:gd name="T15" fmla="*/ 41 h 126"/>
                <a:gd name="T16" fmla="*/ 12 w 152"/>
                <a:gd name="T17" fmla="*/ 57 h 126"/>
                <a:gd name="T18" fmla="*/ 22 w 152"/>
                <a:gd name="T19" fmla="*/ 64 h 126"/>
                <a:gd name="T20" fmla="*/ 39 w 152"/>
                <a:gd name="T21" fmla="*/ 87 h 126"/>
                <a:gd name="T22" fmla="*/ 53 w 152"/>
                <a:gd name="T23" fmla="*/ 71 h 126"/>
                <a:gd name="T24" fmla="*/ 62 w 152"/>
                <a:gd name="T25" fmla="*/ 65 h 126"/>
                <a:gd name="T26" fmla="*/ 84 w 152"/>
                <a:gd name="T27" fmla="*/ 60 h 126"/>
                <a:gd name="T28" fmla="*/ 94 w 152"/>
                <a:gd name="T29" fmla="*/ 79 h 126"/>
                <a:gd name="T30" fmla="*/ 97 w 152"/>
                <a:gd name="T31" fmla="*/ 92 h 126"/>
                <a:gd name="T32" fmla="*/ 103 w 152"/>
                <a:gd name="T33" fmla="*/ 99 h 126"/>
                <a:gd name="T34" fmla="*/ 112 w 152"/>
                <a:gd name="T35" fmla="*/ 96 h 126"/>
                <a:gd name="T36" fmla="*/ 119 w 152"/>
                <a:gd name="T37" fmla="*/ 120 h 126"/>
                <a:gd name="T38" fmla="*/ 130 w 152"/>
                <a:gd name="T39" fmla="*/ 126 h 126"/>
                <a:gd name="T40" fmla="*/ 140 w 152"/>
                <a:gd name="T41" fmla="*/ 116 h 126"/>
                <a:gd name="T42" fmla="*/ 144 w 152"/>
                <a:gd name="T43" fmla="*/ 106 h 126"/>
                <a:gd name="T44" fmla="*/ 145 w 152"/>
                <a:gd name="T45" fmla="*/ 99 h 126"/>
                <a:gd name="T46" fmla="*/ 147 w 152"/>
                <a:gd name="T47" fmla="*/ 76 h 126"/>
                <a:gd name="T48" fmla="*/ 145 w 152"/>
                <a:gd name="T49" fmla="*/ 58 h 126"/>
                <a:gd name="T50" fmla="*/ 142 w 152"/>
                <a:gd name="T51" fmla="*/ 50 h 126"/>
                <a:gd name="T52" fmla="*/ 141 w 152"/>
                <a:gd name="T53" fmla="*/ 40 h 126"/>
                <a:gd name="T54" fmla="*/ 137 w 152"/>
                <a:gd name="T55" fmla="*/ 34 h 126"/>
                <a:gd name="T56" fmla="*/ 133 w 152"/>
                <a:gd name="T57" fmla="*/ 18 h 126"/>
                <a:gd name="T58" fmla="*/ 126 w 152"/>
                <a:gd name="T59" fmla="*/ 7 h 126"/>
                <a:gd name="T60" fmla="*/ 117 w 152"/>
                <a:gd name="T61" fmla="*/ 9 h 126"/>
                <a:gd name="T62" fmla="*/ 104 w 152"/>
                <a:gd name="T63" fmla="*/ 17 h 126"/>
                <a:gd name="T64" fmla="*/ 90 w 152"/>
                <a:gd name="T65" fmla="*/ 10 h 126"/>
                <a:gd name="T66" fmla="*/ 80 w 152"/>
                <a:gd name="T67" fmla="*/ 12 h 126"/>
                <a:gd name="T68" fmla="*/ 76 w 152"/>
                <a:gd name="T69" fmla="*/ 3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2" h="126">
                  <a:moveTo>
                    <a:pt x="76" y="3"/>
                  </a:moveTo>
                  <a:lnTo>
                    <a:pt x="73" y="5"/>
                  </a:lnTo>
                  <a:lnTo>
                    <a:pt x="62" y="3"/>
                  </a:lnTo>
                  <a:lnTo>
                    <a:pt x="61" y="5"/>
                  </a:lnTo>
                  <a:lnTo>
                    <a:pt x="56" y="6"/>
                  </a:lnTo>
                  <a:lnTo>
                    <a:pt x="41" y="1"/>
                  </a:lnTo>
                  <a:lnTo>
                    <a:pt x="31" y="0"/>
                  </a:lnTo>
                  <a:lnTo>
                    <a:pt x="30" y="8"/>
                  </a:lnTo>
                  <a:lnTo>
                    <a:pt x="28" y="11"/>
                  </a:lnTo>
                  <a:lnTo>
                    <a:pt x="30" y="18"/>
                  </a:lnTo>
                  <a:lnTo>
                    <a:pt x="26" y="22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0" y="25"/>
                  </a:lnTo>
                  <a:lnTo>
                    <a:pt x="0" y="37"/>
                  </a:lnTo>
                  <a:lnTo>
                    <a:pt x="6" y="41"/>
                  </a:lnTo>
                  <a:lnTo>
                    <a:pt x="9" y="46"/>
                  </a:lnTo>
                  <a:lnTo>
                    <a:pt x="12" y="57"/>
                  </a:lnTo>
                  <a:lnTo>
                    <a:pt x="17" y="61"/>
                  </a:lnTo>
                  <a:lnTo>
                    <a:pt x="22" y="64"/>
                  </a:lnTo>
                  <a:lnTo>
                    <a:pt x="30" y="73"/>
                  </a:lnTo>
                  <a:lnTo>
                    <a:pt x="39" y="87"/>
                  </a:lnTo>
                  <a:lnTo>
                    <a:pt x="50" y="77"/>
                  </a:lnTo>
                  <a:lnTo>
                    <a:pt x="53" y="71"/>
                  </a:lnTo>
                  <a:lnTo>
                    <a:pt x="57" y="65"/>
                  </a:lnTo>
                  <a:lnTo>
                    <a:pt x="62" y="65"/>
                  </a:lnTo>
                  <a:lnTo>
                    <a:pt x="67" y="60"/>
                  </a:lnTo>
                  <a:lnTo>
                    <a:pt x="84" y="60"/>
                  </a:lnTo>
                  <a:lnTo>
                    <a:pt x="90" y="69"/>
                  </a:lnTo>
                  <a:lnTo>
                    <a:pt x="94" y="79"/>
                  </a:lnTo>
                  <a:lnTo>
                    <a:pt x="93" y="85"/>
                  </a:lnTo>
                  <a:lnTo>
                    <a:pt x="97" y="92"/>
                  </a:lnTo>
                  <a:lnTo>
                    <a:pt x="97" y="100"/>
                  </a:lnTo>
                  <a:lnTo>
                    <a:pt x="103" y="99"/>
                  </a:lnTo>
                  <a:lnTo>
                    <a:pt x="106" y="99"/>
                  </a:lnTo>
                  <a:lnTo>
                    <a:pt x="112" y="96"/>
                  </a:lnTo>
                  <a:lnTo>
                    <a:pt x="121" y="111"/>
                  </a:lnTo>
                  <a:lnTo>
                    <a:pt x="119" y="120"/>
                  </a:lnTo>
                  <a:lnTo>
                    <a:pt x="123" y="125"/>
                  </a:lnTo>
                  <a:lnTo>
                    <a:pt x="130" y="126"/>
                  </a:lnTo>
                  <a:lnTo>
                    <a:pt x="133" y="115"/>
                  </a:lnTo>
                  <a:lnTo>
                    <a:pt x="140" y="116"/>
                  </a:lnTo>
                  <a:lnTo>
                    <a:pt x="143" y="116"/>
                  </a:lnTo>
                  <a:lnTo>
                    <a:pt x="144" y="106"/>
                  </a:lnTo>
                  <a:lnTo>
                    <a:pt x="143" y="101"/>
                  </a:lnTo>
                  <a:lnTo>
                    <a:pt x="145" y="99"/>
                  </a:lnTo>
                  <a:lnTo>
                    <a:pt x="152" y="95"/>
                  </a:lnTo>
                  <a:lnTo>
                    <a:pt x="147" y="76"/>
                  </a:lnTo>
                  <a:lnTo>
                    <a:pt x="143" y="67"/>
                  </a:lnTo>
                  <a:lnTo>
                    <a:pt x="145" y="58"/>
                  </a:lnTo>
                  <a:lnTo>
                    <a:pt x="148" y="57"/>
                  </a:lnTo>
                  <a:lnTo>
                    <a:pt x="142" y="50"/>
                  </a:lnTo>
                  <a:lnTo>
                    <a:pt x="144" y="43"/>
                  </a:lnTo>
                  <a:lnTo>
                    <a:pt x="141" y="40"/>
                  </a:lnTo>
                  <a:lnTo>
                    <a:pt x="136" y="43"/>
                  </a:lnTo>
                  <a:lnTo>
                    <a:pt x="137" y="34"/>
                  </a:lnTo>
                  <a:lnTo>
                    <a:pt x="142" y="29"/>
                  </a:lnTo>
                  <a:lnTo>
                    <a:pt x="133" y="18"/>
                  </a:lnTo>
                  <a:lnTo>
                    <a:pt x="131" y="12"/>
                  </a:lnTo>
                  <a:lnTo>
                    <a:pt x="126" y="7"/>
                  </a:lnTo>
                  <a:lnTo>
                    <a:pt x="121" y="6"/>
                  </a:lnTo>
                  <a:lnTo>
                    <a:pt x="117" y="9"/>
                  </a:lnTo>
                  <a:lnTo>
                    <a:pt x="110" y="13"/>
                  </a:lnTo>
                  <a:lnTo>
                    <a:pt x="104" y="17"/>
                  </a:lnTo>
                  <a:lnTo>
                    <a:pt x="95" y="15"/>
                  </a:lnTo>
                  <a:lnTo>
                    <a:pt x="90" y="10"/>
                  </a:lnTo>
                  <a:lnTo>
                    <a:pt x="86" y="9"/>
                  </a:lnTo>
                  <a:lnTo>
                    <a:pt x="80" y="12"/>
                  </a:lnTo>
                  <a:lnTo>
                    <a:pt x="77" y="12"/>
                  </a:lnTo>
                  <a:lnTo>
                    <a:pt x="76" y="3"/>
                  </a:lnTo>
                  <a:lnTo>
                    <a:pt x="76" y="3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8" name="Gambia">
              <a:extLst>
                <a:ext uri="{FF2B5EF4-FFF2-40B4-BE49-F238E27FC236}">
                  <a16:creationId xmlns:a16="http://schemas.microsoft.com/office/drawing/2014/main" id="{B7FB3643-44FD-4B6A-828B-477AA37AEF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7981" y="3539898"/>
              <a:ext cx="100012" cy="26988"/>
            </a:xfrm>
            <a:custGeom>
              <a:avLst/>
              <a:gdLst>
                <a:gd name="T0" fmla="*/ 0 w 63"/>
                <a:gd name="T1" fmla="*/ 17 h 17"/>
                <a:gd name="T2" fmla="*/ 19 w 63"/>
                <a:gd name="T3" fmla="*/ 17 h 17"/>
                <a:gd name="T4" fmla="*/ 25 w 63"/>
                <a:gd name="T5" fmla="*/ 14 h 17"/>
                <a:gd name="T6" fmla="*/ 28 w 63"/>
                <a:gd name="T7" fmla="*/ 14 h 17"/>
                <a:gd name="T8" fmla="*/ 36 w 63"/>
                <a:gd name="T9" fmla="*/ 8 h 17"/>
                <a:gd name="T10" fmla="*/ 45 w 63"/>
                <a:gd name="T11" fmla="*/ 13 h 17"/>
                <a:gd name="T12" fmla="*/ 54 w 63"/>
                <a:gd name="T13" fmla="*/ 14 h 17"/>
                <a:gd name="T14" fmla="*/ 63 w 63"/>
                <a:gd name="T15" fmla="*/ 8 h 17"/>
                <a:gd name="T16" fmla="*/ 59 w 63"/>
                <a:gd name="T17" fmla="*/ 2 h 17"/>
                <a:gd name="T18" fmla="*/ 52 w 63"/>
                <a:gd name="T19" fmla="*/ 5 h 17"/>
                <a:gd name="T20" fmla="*/ 45 w 63"/>
                <a:gd name="T21" fmla="*/ 5 h 17"/>
                <a:gd name="T22" fmla="*/ 38 w 63"/>
                <a:gd name="T23" fmla="*/ 0 h 17"/>
                <a:gd name="T24" fmla="*/ 31 w 63"/>
                <a:gd name="T25" fmla="*/ 0 h 17"/>
                <a:gd name="T26" fmla="*/ 26 w 63"/>
                <a:gd name="T27" fmla="*/ 5 h 17"/>
                <a:gd name="T28" fmla="*/ 3 w 63"/>
                <a:gd name="T29" fmla="*/ 6 h 17"/>
                <a:gd name="T30" fmla="*/ 0 w 63"/>
                <a:gd name="T31" fmla="*/ 17 h 17"/>
                <a:gd name="T32" fmla="*/ 0 w 63"/>
                <a:gd name="T3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3" h="17">
                  <a:moveTo>
                    <a:pt x="0" y="17"/>
                  </a:moveTo>
                  <a:lnTo>
                    <a:pt x="19" y="17"/>
                  </a:lnTo>
                  <a:lnTo>
                    <a:pt x="25" y="14"/>
                  </a:lnTo>
                  <a:lnTo>
                    <a:pt x="28" y="14"/>
                  </a:lnTo>
                  <a:lnTo>
                    <a:pt x="36" y="8"/>
                  </a:lnTo>
                  <a:lnTo>
                    <a:pt x="45" y="13"/>
                  </a:lnTo>
                  <a:lnTo>
                    <a:pt x="54" y="14"/>
                  </a:lnTo>
                  <a:lnTo>
                    <a:pt x="63" y="8"/>
                  </a:lnTo>
                  <a:lnTo>
                    <a:pt x="59" y="2"/>
                  </a:lnTo>
                  <a:lnTo>
                    <a:pt x="52" y="5"/>
                  </a:lnTo>
                  <a:lnTo>
                    <a:pt x="45" y="5"/>
                  </a:lnTo>
                  <a:lnTo>
                    <a:pt x="38" y="0"/>
                  </a:lnTo>
                  <a:lnTo>
                    <a:pt x="31" y="0"/>
                  </a:lnTo>
                  <a:lnTo>
                    <a:pt x="26" y="5"/>
                  </a:lnTo>
                  <a:lnTo>
                    <a:pt x="3" y="6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9" name="Guinea-Bissau">
              <a:extLst>
                <a:ext uri="{FF2B5EF4-FFF2-40B4-BE49-F238E27FC236}">
                  <a16:creationId xmlns:a16="http://schemas.microsoft.com/office/drawing/2014/main" id="{B711388E-7074-4051-B19C-2DDADC29F2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2744" y="3585936"/>
              <a:ext cx="100012" cy="60325"/>
            </a:xfrm>
            <a:custGeom>
              <a:avLst/>
              <a:gdLst>
                <a:gd name="T0" fmla="*/ 63 w 63"/>
                <a:gd name="T1" fmla="*/ 1 h 38"/>
                <a:gd name="T2" fmla="*/ 24 w 63"/>
                <a:gd name="T3" fmla="*/ 0 h 38"/>
                <a:gd name="T4" fmla="*/ 19 w 63"/>
                <a:gd name="T5" fmla="*/ 2 h 38"/>
                <a:gd name="T6" fmla="*/ 11 w 63"/>
                <a:gd name="T7" fmla="*/ 2 h 38"/>
                <a:gd name="T8" fmla="*/ 0 w 63"/>
                <a:gd name="T9" fmla="*/ 6 h 38"/>
                <a:gd name="T10" fmla="*/ 2 w 63"/>
                <a:gd name="T11" fmla="*/ 11 h 38"/>
                <a:gd name="T12" fmla="*/ 8 w 63"/>
                <a:gd name="T13" fmla="*/ 16 h 38"/>
                <a:gd name="T14" fmla="*/ 8 w 63"/>
                <a:gd name="T15" fmla="*/ 19 h 38"/>
                <a:gd name="T16" fmla="*/ 12 w 63"/>
                <a:gd name="T17" fmla="*/ 26 h 38"/>
                <a:gd name="T18" fmla="*/ 22 w 63"/>
                <a:gd name="T19" fmla="*/ 28 h 38"/>
                <a:gd name="T20" fmla="*/ 32 w 63"/>
                <a:gd name="T21" fmla="*/ 38 h 38"/>
                <a:gd name="T22" fmla="*/ 42 w 63"/>
                <a:gd name="T23" fmla="*/ 26 h 38"/>
                <a:gd name="T24" fmla="*/ 49 w 63"/>
                <a:gd name="T25" fmla="*/ 27 h 38"/>
                <a:gd name="T26" fmla="*/ 53 w 63"/>
                <a:gd name="T27" fmla="*/ 23 h 38"/>
                <a:gd name="T28" fmla="*/ 58 w 63"/>
                <a:gd name="T29" fmla="*/ 23 h 38"/>
                <a:gd name="T30" fmla="*/ 62 w 63"/>
                <a:gd name="T31" fmla="*/ 19 h 38"/>
                <a:gd name="T32" fmla="*/ 60 w 63"/>
                <a:gd name="T33" fmla="*/ 12 h 38"/>
                <a:gd name="T34" fmla="*/ 62 w 63"/>
                <a:gd name="T35" fmla="*/ 9 h 38"/>
                <a:gd name="T36" fmla="*/ 63 w 63"/>
                <a:gd name="T37" fmla="*/ 1 h 38"/>
                <a:gd name="T38" fmla="*/ 63 w 63"/>
                <a:gd name="T39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3" h="38">
                  <a:moveTo>
                    <a:pt x="63" y="1"/>
                  </a:moveTo>
                  <a:lnTo>
                    <a:pt x="24" y="0"/>
                  </a:lnTo>
                  <a:lnTo>
                    <a:pt x="19" y="2"/>
                  </a:lnTo>
                  <a:lnTo>
                    <a:pt x="11" y="2"/>
                  </a:lnTo>
                  <a:lnTo>
                    <a:pt x="0" y="6"/>
                  </a:lnTo>
                  <a:lnTo>
                    <a:pt x="2" y="11"/>
                  </a:lnTo>
                  <a:lnTo>
                    <a:pt x="8" y="16"/>
                  </a:lnTo>
                  <a:lnTo>
                    <a:pt x="8" y="19"/>
                  </a:lnTo>
                  <a:lnTo>
                    <a:pt x="12" y="26"/>
                  </a:lnTo>
                  <a:lnTo>
                    <a:pt x="22" y="28"/>
                  </a:lnTo>
                  <a:lnTo>
                    <a:pt x="32" y="38"/>
                  </a:lnTo>
                  <a:lnTo>
                    <a:pt x="42" y="26"/>
                  </a:lnTo>
                  <a:lnTo>
                    <a:pt x="49" y="27"/>
                  </a:lnTo>
                  <a:lnTo>
                    <a:pt x="53" y="23"/>
                  </a:lnTo>
                  <a:lnTo>
                    <a:pt x="58" y="23"/>
                  </a:lnTo>
                  <a:lnTo>
                    <a:pt x="62" y="19"/>
                  </a:lnTo>
                  <a:lnTo>
                    <a:pt x="60" y="12"/>
                  </a:lnTo>
                  <a:lnTo>
                    <a:pt x="62" y="9"/>
                  </a:lnTo>
                  <a:lnTo>
                    <a:pt x="63" y="1"/>
                  </a:lnTo>
                  <a:lnTo>
                    <a:pt x="63" y="1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0" name="Equatorial Guinea">
              <a:extLst>
                <a:ext uri="{FF2B5EF4-FFF2-40B4-BE49-F238E27FC236}">
                  <a16:creationId xmlns:a16="http://schemas.microsoft.com/office/drawing/2014/main" id="{213F3557-2F81-40A2-BE2F-D8D52675F58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6344" y="3974873"/>
              <a:ext cx="65087" cy="49213"/>
            </a:xfrm>
            <a:custGeom>
              <a:avLst/>
              <a:gdLst>
                <a:gd name="T0" fmla="*/ 41 w 41"/>
                <a:gd name="T1" fmla="*/ 1 h 31"/>
                <a:gd name="T2" fmla="*/ 7 w 41"/>
                <a:gd name="T3" fmla="*/ 0 h 31"/>
                <a:gd name="T4" fmla="*/ 0 w 41"/>
                <a:gd name="T5" fmla="*/ 27 h 31"/>
                <a:gd name="T6" fmla="*/ 3 w 41"/>
                <a:gd name="T7" fmla="*/ 31 h 31"/>
                <a:gd name="T8" fmla="*/ 11 w 41"/>
                <a:gd name="T9" fmla="*/ 30 h 31"/>
                <a:gd name="T10" fmla="*/ 41 w 41"/>
                <a:gd name="T11" fmla="*/ 30 h 31"/>
                <a:gd name="T12" fmla="*/ 41 w 41"/>
                <a:gd name="T13" fmla="*/ 1 h 31"/>
                <a:gd name="T14" fmla="*/ 41 w 41"/>
                <a:gd name="T15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31">
                  <a:moveTo>
                    <a:pt x="41" y="1"/>
                  </a:moveTo>
                  <a:lnTo>
                    <a:pt x="7" y="0"/>
                  </a:lnTo>
                  <a:lnTo>
                    <a:pt x="0" y="27"/>
                  </a:lnTo>
                  <a:lnTo>
                    <a:pt x="3" y="31"/>
                  </a:lnTo>
                  <a:lnTo>
                    <a:pt x="11" y="30"/>
                  </a:lnTo>
                  <a:lnTo>
                    <a:pt x="41" y="30"/>
                  </a:lnTo>
                  <a:lnTo>
                    <a:pt x="41" y="1"/>
                  </a:lnTo>
                  <a:lnTo>
                    <a:pt x="41" y="1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1" name="Greece">
              <a:extLst>
                <a:ext uri="{FF2B5EF4-FFF2-40B4-BE49-F238E27FC236}">
                  <a16:creationId xmlns:a16="http://schemas.microsoft.com/office/drawing/2014/main" id="{D665AEDB-012F-4B66-8210-DC9D272CBD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15906" y="2484211"/>
              <a:ext cx="204787" cy="260350"/>
            </a:xfrm>
            <a:custGeom>
              <a:avLst/>
              <a:gdLst>
                <a:gd name="T0" fmla="*/ 77 w 129"/>
                <a:gd name="T1" fmla="*/ 146 h 164"/>
                <a:gd name="T2" fmla="*/ 73 w 129"/>
                <a:gd name="T3" fmla="*/ 156 h 164"/>
                <a:gd name="T4" fmla="*/ 99 w 129"/>
                <a:gd name="T5" fmla="*/ 161 h 164"/>
                <a:gd name="T6" fmla="*/ 99 w 129"/>
                <a:gd name="T7" fmla="*/ 164 h 164"/>
                <a:gd name="T8" fmla="*/ 127 w 129"/>
                <a:gd name="T9" fmla="*/ 162 h 164"/>
                <a:gd name="T10" fmla="*/ 129 w 129"/>
                <a:gd name="T11" fmla="*/ 155 h 164"/>
                <a:gd name="T12" fmla="*/ 118 w 129"/>
                <a:gd name="T13" fmla="*/ 158 h 164"/>
                <a:gd name="T14" fmla="*/ 118 w 129"/>
                <a:gd name="T15" fmla="*/ 154 h 164"/>
                <a:gd name="T16" fmla="*/ 103 w 129"/>
                <a:gd name="T17" fmla="*/ 152 h 164"/>
                <a:gd name="T18" fmla="*/ 88 w 129"/>
                <a:gd name="T19" fmla="*/ 153 h 164"/>
                <a:gd name="T20" fmla="*/ 77 w 129"/>
                <a:gd name="T21" fmla="*/ 146 h 164"/>
                <a:gd name="T22" fmla="*/ 77 w 129"/>
                <a:gd name="T23" fmla="*/ 146 h 164"/>
                <a:gd name="T24" fmla="*/ 120 w 129"/>
                <a:gd name="T25" fmla="*/ 6 h 164"/>
                <a:gd name="T26" fmla="*/ 110 w 129"/>
                <a:gd name="T27" fmla="*/ 0 h 164"/>
                <a:gd name="T28" fmla="*/ 111 w 129"/>
                <a:gd name="T29" fmla="*/ 11 h 164"/>
                <a:gd name="T30" fmla="*/ 94 w 129"/>
                <a:gd name="T31" fmla="*/ 13 h 164"/>
                <a:gd name="T32" fmla="*/ 79 w 129"/>
                <a:gd name="T33" fmla="*/ 6 h 164"/>
                <a:gd name="T34" fmla="*/ 64 w 129"/>
                <a:gd name="T35" fmla="*/ 11 h 164"/>
                <a:gd name="T36" fmla="*/ 50 w 129"/>
                <a:gd name="T37" fmla="*/ 11 h 164"/>
                <a:gd name="T38" fmla="*/ 46 w 129"/>
                <a:gd name="T39" fmla="*/ 11 h 164"/>
                <a:gd name="T40" fmla="*/ 44 w 129"/>
                <a:gd name="T41" fmla="*/ 16 h 164"/>
                <a:gd name="T42" fmla="*/ 33 w 129"/>
                <a:gd name="T43" fmla="*/ 15 h 164"/>
                <a:gd name="T44" fmla="*/ 27 w 129"/>
                <a:gd name="T45" fmla="*/ 20 h 164"/>
                <a:gd name="T46" fmla="*/ 14 w 129"/>
                <a:gd name="T47" fmla="*/ 22 h 164"/>
                <a:gd name="T48" fmla="*/ 14 w 129"/>
                <a:gd name="T49" fmla="*/ 28 h 164"/>
                <a:gd name="T50" fmla="*/ 8 w 129"/>
                <a:gd name="T51" fmla="*/ 32 h 164"/>
                <a:gd name="T52" fmla="*/ 8 w 129"/>
                <a:gd name="T53" fmla="*/ 39 h 164"/>
                <a:gd name="T54" fmla="*/ 0 w 129"/>
                <a:gd name="T55" fmla="*/ 50 h 164"/>
                <a:gd name="T56" fmla="*/ 2 w 129"/>
                <a:gd name="T57" fmla="*/ 58 h 164"/>
                <a:gd name="T58" fmla="*/ 13 w 129"/>
                <a:gd name="T59" fmla="*/ 71 h 164"/>
                <a:gd name="T60" fmla="*/ 21 w 129"/>
                <a:gd name="T61" fmla="*/ 82 h 164"/>
                <a:gd name="T62" fmla="*/ 26 w 129"/>
                <a:gd name="T63" fmla="*/ 99 h 164"/>
                <a:gd name="T64" fmla="*/ 34 w 129"/>
                <a:gd name="T65" fmla="*/ 118 h 164"/>
                <a:gd name="T66" fmla="*/ 52 w 129"/>
                <a:gd name="T67" fmla="*/ 129 h 164"/>
                <a:gd name="T68" fmla="*/ 64 w 129"/>
                <a:gd name="T69" fmla="*/ 128 h 164"/>
                <a:gd name="T70" fmla="*/ 56 w 129"/>
                <a:gd name="T71" fmla="*/ 106 h 164"/>
                <a:gd name="T72" fmla="*/ 68 w 129"/>
                <a:gd name="T73" fmla="*/ 105 h 164"/>
                <a:gd name="T74" fmla="*/ 60 w 129"/>
                <a:gd name="T75" fmla="*/ 91 h 164"/>
                <a:gd name="T76" fmla="*/ 79 w 129"/>
                <a:gd name="T77" fmla="*/ 98 h 164"/>
                <a:gd name="T78" fmla="*/ 78 w 129"/>
                <a:gd name="T79" fmla="*/ 84 h 164"/>
                <a:gd name="T80" fmla="*/ 68 w 129"/>
                <a:gd name="T81" fmla="*/ 77 h 164"/>
                <a:gd name="T82" fmla="*/ 56 w 129"/>
                <a:gd name="T83" fmla="*/ 66 h 164"/>
                <a:gd name="T84" fmla="*/ 62 w 129"/>
                <a:gd name="T85" fmla="*/ 62 h 164"/>
                <a:gd name="T86" fmla="*/ 52 w 129"/>
                <a:gd name="T87" fmla="*/ 50 h 164"/>
                <a:gd name="T88" fmla="*/ 46 w 129"/>
                <a:gd name="T89" fmla="*/ 35 h 164"/>
                <a:gd name="T90" fmla="*/ 49 w 129"/>
                <a:gd name="T91" fmla="*/ 31 h 164"/>
                <a:gd name="T92" fmla="*/ 60 w 129"/>
                <a:gd name="T93" fmla="*/ 43 h 164"/>
                <a:gd name="T94" fmla="*/ 72 w 129"/>
                <a:gd name="T95" fmla="*/ 43 h 164"/>
                <a:gd name="T96" fmla="*/ 81 w 129"/>
                <a:gd name="T97" fmla="*/ 39 h 164"/>
                <a:gd name="T98" fmla="*/ 66 w 129"/>
                <a:gd name="T99" fmla="*/ 26 h 164"/>
                <a:gd name="T100" fmla="*/ 89 w 129"/>
                <a:gd name="T101" fmla="*/ 20 h 164"/>
                <a:gd name="T102" fmla="*/ 100 w 129"/>
                <a:gd name="T103" fmla="*/ 22 h 164"/>
                <a:gd name="T104" fmla="*/ 111 w 129"/>
                <a:gd name="T105" fmla="*/ 22 h 164"/>
                <a:gd name="T106" fmla="*/ 115 w 129"/>
                <a:gd name="T107" fmla="*/ 20 h 164"/>
                <a:gd name="T108" fmla="*/ 120 w 129"/>
                <a:gd name="T109" fmla="*/ 6 h 164"/>
                <a:gd name="T110" fmla="*/ 120 w 129"/>
                <a:gd name="T111" fmla="*/ 6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9" h="164">
                  <a:moveTo>
                    <a:pt x="77" y="146"/>
                  </a:moveTo>
                  <a:lnTo>
                    <a:pt x="73" y="156"/>
                  </a:lnTo>
                  <a:lnTo>
                    <a:pt x="99" y="161"/>
                  </a:lnTo>
                  <a:lnTo>
                    <a:pt x="99" y="164"/>
                  </a:lnTo>
                  <a:lnTo>
                    <a:pt x="127" y="162"/>
                  </a:lnTo>
                  <a:lnTo>
                    <a:pt x="129" y="155"/>
                  </a:lnTo>
                  <a:lnTo>
                    <a:pt x="118" y="158"/>
                  </a:lnTo>
                  <a:lnTo>
                    <a:pt x="118" y="154"/>
                  </a:lnTo>
                  <a:lnTo>
                    <a:pt x="103" y="152"/>
                  </a:lnTo>
                  <a:lnTo>
                    <a:pt x="88" y="153"/>
                  </a:lnTo>
                  <a:lnTo>
                    <a:pt x="77" y="146"/>
                  </a:lnTo>
                  <a:lnTo>
                    <a:pt x="77" y="146"/>
                  </a:lnTo>
                  <a:close/>
                  <a:moveTo>
                    <a:pt x="120" y="6"/>
                  </a:moveTo>
                  <a:lnTo>
                    <a:pt x="110" y="0"/>
                  </a:lnTo>
                  <a:lnTo>
                    <a:pt x="111" y="11"/>
                  </a:lnTo>
                  <a:lnTo>
                    <a:pt x="94" y="13"/>
                  </a:lnTo>
                  <a:lnTo>
                    <a:pt x="79" y="6"/>
                  </a:lnTo>
                  <a:lnTo>
                    <a:pt x="64" y="11"/>
                  </a:lnTo>
                  <a:lnTo>
                    <a:pt x="50" y="11"/>
                  </a:lnTo>
                  <a:lnTo>
                    <a:pt x="46" y="11"/>
                  </a:lnTo>
                  <a:lnTo>
                    <a:pt x="44" y="16"/>
                  </a:lnTo>
                  <a:lnTo>
                    <a:pt x="33" y="15"/>
                  </a:lnTo>
                  <a:lnTo>
                    <a:pt x="27" y="20"/>
                  </a:lnTo>
                  <a:lnTo>
                    <a:pt x="14" y="22"/>
                  </a:lnTo>
                  <a:lnTo>
                    <a:pt x="14" y="28"/>
                  </a:lnTo>
                  <a:lnTo>
                    <a:pt x="8" y="32"/>
                  </a:lnTo>
                  <a:lnTo>
                    <a:pt x="8" y="39"/>
                  </a:lnTo>
                  <a:lnTo>
                    <a:pt x="0" y="50"/>
                  </a:lnTo>
                  <a:lnTo>
                    <a:pt x="2" y="58"/>
                  </a:lnTo>
                  <a:lnTo>
                    <a:pt x="13" y="71"/>
                  </a:lnTo>
                  <a:lnTo>
                    <a:pt x="21" y="82"/>
                  </a:lnTo>
                  <a:lnTo>
                    <a:pt x="26" y="99"/>
                  </a:lnTo>
                  <a:lnTo>
                    <a:pt x="34" y="118"/>
                  </a:lnTo>
                  <a:lnTo>
                    <a:pt x="52" y="129"/>
                  </a:lnTo>
                  <a:lnTo>
                    <a:pt x="64" y="128"/>
                  </a:lnTo>
                  <a:lnTo>
                    <a:pt x="56" y="106"/>
                  </a:lnTo>
                  <a:lnTo>
                    <a:pt x="68" y="105"/>
                  </a:lnTo>
                  <a:lnTo>
                    <a:pt x="60" y="91"/>
                  </a:lnTo>
                  <a:lnTo>
                    <a:pt x="79" y="98"/>
                  </a:lnTo>
                  <a:lnTo>
                    <a:pt x="78" y="84"/>
                  </a:lnTo>
                  <a:lnTo>
                    <a:pt x="68" y="77"/>
                  </a:lnTo>
                  <a:lnTo>
                    <a:pt x="56" y="66"/>
                  </a:lnTo>
                  <a:lnTo>
                    <a:pt x="62" y="62"/>
                  </a:lnTo>
                  <a:lnTo>
                    <a:pt x="52" y="50"/>
                  </a:lnTo>
                  <a:lnTo>
                    <a:pt x="46" y="35"/>
                  </a:lnTo>
                  <a:lnTo>
                    <a:pt x="49" y="31"/>
                  </a:lnTo>
                  <a:lnTo>
                    <a:pt x="60" y="43"/>
                  </a:lnTo>
                  <a:lnTo>
                    <a:pt x="72" y="43"/>
                  </a:lnTo>
                  <a:lnTo>
                    <a:pt x="81" y="39"/>
                  </a:lnTo>
                  <a:lnTo>
                    <a:pt x="66" y="26"/>
                  </a:lnTo>
                  <a:lnTo>
                    <a:pt x="89" y="20"/>
                  </a:lnTo>
                  <a:lnTo>
                    <a:pt x="100" y="22"/>
                  </a:lnTo>
                  <a:lnTo>
                    <a:pt x="111" y="22"/>
                  </a:lnTo>
                  <a:lnTo>
                    <a:pt x="115" y="20"/>
                  </a:lnTo>
                  <a:lnTo>
                    <a:pt x="120" y="6"/>
                  </a:lnTo>
                  <a:lnTo>
                    <a:pt x="120" y="6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2" name="Greenland">
              <a:extLst>
                <a:ext uri="{FF2B5EF4-FFF2-40B4-BE49-F238E27FC236}">
                  <a16:creationId xmlns:a16="http://schemas.microsoft.com/office/drawing/2014/main" id="{DBACF740-E111-4B12-A31F-22AE3F9402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8331" y="1120549"/>
              <a:ext cx="1320800" cy="704849"/>
            </a:xfrm>
            <a:custGeom>
              <a:avLst/>
              <a:gdLst>
                <a:gd name="T0" fmla="*/ 512 w 832"/>
                <a:gd name="T1" fmla="*/ 1 h 444"/>
                <a:gd name="T2" fmla="*/ 404 w 832"/>
                <a:gd name="T3" fmla="*/ 13 h 444"/>
                <a:gd name="T4" fmla="*/ 399 w 832"/>
                <a:gd name="T5" fmla="*/ 22 h 444"/>
                <a:gd name="T6" fmla="*/ 317 w 832"/>
                <a:gd name="T7" fmla="*/ 24 h 444"/>
                <a:gd name="T8" fmla="*/ 227 w 832"/>
                <a:gd name="T9" fmla="*/ 21 h 444"/>
                <a:gd name="T10" fmla="*/ 173 w 832"/>
                <a:gd name="T11" fmla="*/ 34 h 444"/>
                <a:gd name="T12" fmla="*/ 132 w 832"/>
                <a:gd name="T13" fmla="*/ 57 h 444"/>
                <a:gd name="T14" fmla="*/ 8 w 832"/>
                <a:gd name="T15" fmla="*/ 79 h 444"/>
                <a:gd name="T16" fmla="*/ 78 w 832"/>
                <a:gd name="T17" fmla="*/ 97 h 444"/>
                <a:gd name="T18" fmla="*/ 23 w 832"/>
                <a:gd name="T19" fmla="*/ 116 h 444"/>
                <a:gd name="T20" fmla="*/ 107 w 832"/>
                <a:gd name="T21" fmla="*/ 119 h 444"/>
                <a:gd name="T22" fmla="*/ 160 w 832"/>
                <a:gd name="T23" fmla="*/ 139 h 444"/>
                <a:gd name="T24" fmla="*/ 183 w 832"/>
                <a:gd name="T25" fmla="*/ 179 h 444"/>
                <a:gd name="T26" fmla="*/ 171 w 832"/>
                <a:gd name="T27" fmla="*/ 209 h 444"/>
                <a:gd name="T28" fmla="*/ 217 w 832"/>
                <a:gd name="T29" fmla="*/ 226 h 444"/>
                <a:gd name="T30" fmla="*/ 164 w 832"/>
                <a:gd name="T31" fmla="*/ 231 h 444"/>
                <a:gd name="T32" fmla="*/ 189 w 832"/>
                <a:gd name="T33" fmla="*/ 248 h 444"/>
                <a:gd name="T34" fmla="*/ 209 w 832"/>
                <a:gd name="T35" fmla="*/ 254 h 444"/>
                <a:gd name="T36" fmla="*/ 146 w 832"/>
                <a:gd name="T37" fmla="*/ 293 h 444"/>
                <a:gd name="T38" fmla="*/ 156 w 832"/>
                <a:gd name="T39" fmla="*/ 335 h 444"/>
                <a:gd name="T40" fmla="*/ 170 w 832"/>
                <a:gd name="T41" fmla="*/ 394 h 444"/>
                <a:gd name="T42" fmla="*/ 218 w 832"/>
                <a:gd name="T43" fmla="*/ 427 h 444"/>
                <a:gd name="T44" fmla="*/ 276 w 832"/>
                <a:gd name="T45" fmla="*/ 422 h 444"/>
                <a:gd name="T46" fmla="*/ 320 w 832"/>
                <a:gd name="T47" fmla="*/ 371 h 444"/>
                <a:gd name="T48" fmla="*/ 355 w 832"/>
                <a:gd name="T49" fmla="*/ 329 h 444"/>
                <a:gd name="T50" fmla="*/ 413 w 832"/>
                <a:gd name="T51" fmla="*/ 318 h 444"/>
                <a:gd name="T52" fmla="*/ 497 w 832"/>
                <a:gd name="T53" fmla="*/ 274 h 444"/>
                <a:gd name="T54" fmla="*/ 607 w 832"/>
                <a:gd name="T55" fmla="*/ 251 h 444"/>
                <a:gd name="T56" fmla="*/ 591 w 832"/>
                <a:gd name="T57" fmla="*/ 232 h 444"/>
                <a:gd name="T58" fmla="*/ 624 w 832"/>
                <a:gd name="T59" fmla="*/ 219 h 444"/>
                <a:gd name="T60" fmla="*/ 660 w 832"/>
                <a:gd name="T61" fmla="*/ 207 h 444"/>
                <a:gd name="T62" fmla="*/ 633 w 832"/>
                <a:gd name="T63" fmla="*/ 186 h 444"/>
                <a:gd name="T64" fmla="*/ 647 w 832"/>
                <a:gd name="T65" fmla="*/ 173 h 444"/>
                <a:gd name="T66" fmla="*/ 693 w 832"/>
                <a:gd name="T67" fmla="*/ 162 h 444"/>
                <a:gd name="T68" fmla="*/ 696 w 832"/>
                <a:gd name="T69" fmla="*/ 138 h 444"/>
                <a:gd name="T70" fmla="*/ 689 w 832"/>
                <a:gd name="T71" fmla="*/ 111 h 444"/>
                <a:gd name="T72" fmla="*/ 720 w 832"/>
                <a:gd name="T73" fmla="*/ 92 h 444"/>
                <a:gd name="T74" fmla="*/ 757 w 832"/>
                <a:gd name="T75" fmla="*/ 50 h 444"/>
                <a:gd name="T76" fmla="*/ 777 w 832"/>
                <a:gd name="T77" fmla="*/ 44 h 444"/>
                <a:gd name="T78" fmla="*/ 789 w 832"/>
                <a:gd name="T79" fmla="*/ 23 h 444"/>
                <a:gd name="T80" fmla="*/ 707 w 832"/>
                <a:gd name="T81" fmla="*/ 26 h 444"/>
                <a:gd name="T82" fmla="*/ 636 w 832"/>
                <a:gd name="T83" fmla="*/ 20 h 444"/>
                <a:gd name="T84" fmla="*/ 654 w 832"/>
                <a:gd name="T85" fmla="*/ 18 h 444"/>
                <a:gd name="T86" fmla="*/ 654 w 832"/>
                <a:gd name="T87" fmla="*/ 1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2" h="444">
                  <a:moveTo>
                    <a:pt x="654" y="1"/>
                  </a:moveTo>
                  <a:lnTo>
                    <a:pt x="557" y="0"/>
                  </a:lnTo>
                  <a:lnTo>
                    <a:pt x="512" y="1"/>
                  </a:lnTo>
                  <a:lnTo>
                    <a:pt x="494" y="6"/>
                  </a:lnTo>
                  <a:lnTo>
                    <a:pt x="451" y="6"/>
                  </a:lnTo>
                  <a:lnTo>
                    <a:pt x="404" y="13"/>
                  </a:lnTo>
                  <a:lnTo>
                    <a:pt x="397" y="20"/>
                  </a:lnTo>
                  <a:lnTo>
                    <a:pt x="423" y="27"/>
                  </a:lnTo>
                  <a:lnTo>
                    <a:pt x="399" y="22"/>
                  </a:lnTo>
                  <a:lnTo>
                    <a:pt x="382" y="21"/>
                  </a:lnTo>
                  <a:lnTo>
                    <a:pt x="356" y="16"/>
                  </a:lnTo>
                  <a:lnTo>
                    <a:pt x="317" y="24"/>
                  </a:lnTo>
                  <a:lnTo>
                    <a:pt x="307" y="20"/>
                  </a:lnTo>
                  <a:lnTo>
                    <a:pt x="268" y="20"/>
                  </a:lnTo>
                  <a:lnTo>
                    <a:pt x="227" y="21"/>
                  </a:lnTo>
                  <a:lnTo>
                    <a:pt x="194" y="25"/>
                  </a:lnTo>
                  <a:lnTo>
                    <a:pt x="193" y="32"/>
                  </a:lnTo>
                  <a:lnTo>
                    <a:pt x="173" y="34"/>
                  </a:lnTo>
                  <a:lnTo>
                    <a:pt x="119" y="45"/>
                  </a:lnTo>
                  <a:lnTo>
                    <a:pt x="101" y="51"/>
                  </a:lnTo>
                  <a:lnTo>
                    <a:pt x="132" y="57"/>
                  </a:lnTo>
                  <a:lnTo>
                    <a:pt x="122" y="63"/>
                  </a:lnTo>
                  <a:lnTo>
                    <a:pt x="66" y="71"/>
                  </a:lnTo>
                  <a:lnTo>
                    <a:pt x="8" y="79"/>
                  </a:lnTo>
                  <a:lnTo>
                    <a:pt x="0" y="86"/>
                  </a:lnTo>
                  <a:lnTo>
                    <a:pt x="24" y="93"/>
                  </a:lnTo>
                  <a:lnTo>
                    <a:pt x="78" y="97"/>
                  </a:lnTo>
                  <a:lnTo>
                    <a:pt x="50" y="98"/>
                  </a:lnTo>
                  <a:lnTo>
                    <a:pt x="9" y="104"/>
                  </a:lnTo>
                  <a:lnTo>
                    <a:pt x="23" y="116"/>
                  </a:lnTo>
                  <a:lnTo>
                    <a:pt x="34" y="121"/>
                  </a:lnTo>
                  <a:lnTo>
                    <a:pt x="70" y="119"/>
                  </a:lnTo>
                  <a:lnTo>
                    <a:pt x="107" y="119"/>
                  </a:lnTo>
                  <a:lnTo>
                    <a:pt x="136" y="120"/>
                  </a:lnTo>
                  <a:lnTo>
                    <a:pt x="166" y="131"/>
                  </a:lnTo>
                  <a:lnTo>
                    <a:pt x="160" y="139"/>
                  </a:lnTo>
                  <a:lnTo>
                    <a:pt x="174" y="146"/>
                  </a:lnTo>
                  <a:lnTo>
                    <a:pt x="179" y="166"/>
                  </a:lnTo>
                  <a:lnTo>
                    <a:pt x="183" y="179"/>
                  </a:lnTo>
                  <a:lnTo>
                    <a:pt x="188" y="187"/>
                  </a:lnTo>
                  <a:lnTo>
                    <a:pt x="162" y="204"/>
                  </a:lnTo>
                  <a:lnTo>
                    <a:pt x="171" y="209"/>
                  </a:lnTo>
                  <a:lnTo>
                    <a:pt x="188" y="206"/>
                  </a:lnTo>
                  <a:lnTo>
                    <a:pt x="198" y="213"/>
                  </a:lnTo>
                  <a:lnTo>
                    <a:pt x="217" y="226"/>
                  </a:lnTo>
                  <a:lnTo>
                    <a:pt x="189" y="220"/>
                  </a:lnTo>
                  <a:lnTo>
                    <a:pt x="175" y="220"/>
                  </a:lnTo>
                  <a:lnTo>
                    <a:pt x="164" y="231"/>
                  </a:lnTo>
                  <a:lnTo>
                    <a:pt x="158" y="245"/>
                  </a:lnTo>
                  <a:lnTo>
                    <a:pt x="174" y="251"/>
                  </a:lnTo>
                  <a:lnTo>
                    <a:pt x="189" y="248"/>
                  </a:lnTo>
                  <a:lnTo>
                    <a:pt x="198" y="245"/>
                  </a:lnTo>
                  <a:lnTo>
                    <a:pt x="219" y="238"/>
                  </a:lnTo>
                  <a:lnTo>
                    <a:pt x="209" y="254"/>
                  </a:lnTo>
                  <a:lnTo>
                    <a:pt x="199" y="262"/>
                  </a:lnTo>
                  <a:lnTo>
                    <a:pt x="172" y="270"/>
                  </a:lnTo>
                  <a:lnTo>
                    <a:pt x="146" y="293"/>
                  </a:lnTo>
                  <a:lnTo>
                    <a:pt x="154" y="301"/>
                  </a:lnTo>
                  <a:lnTo>
                    <a:pt x="142" y="316"/>
                  </a:lnTo>
                  <a:lnTo>
                    <a:pt x="156" y="335"/>
                  </a:lnTo>
                  <a:lnTo>
                    <a:pt x="150" y="354"/>
                  </a:lnTo>
                  <a:lnTo>
                    <a:pt x="152" y="368"/>
                  </a:lnTo>
                  <a:lnTo>
                    <a:pt x="170" y="394"/>
                  </a:lnTo>
                  <a:lnTo>
                    <a:pt x="173" y="414"/>
                  </a:lnTo>
                  <a:lnTo>
                    <a:pt x="184" y="427"/>
                  </a:lnTo>
                  <a:lnTo>
                    <a:pt x="218" y="427"/>
                  </a:lnTo>
                  <a:lnTo>
                    <a:pt x="237" y="444"/>
                  </a:lnTo>
                  <a:lnTo>
                    <a:pt x="261" y="443"/>
                  </a:lnTo>
                  <a:lnTo>
                    <a:pt x="276" y="422"/>
                  </a:lnTo>
                  <a:lnTo>
                    <a:pt x="289" y="404"/>
                  </a:lnTo>
                  <a:lnTo>
                    <a:pt x="288" y="387"/>
                  </a:lnTo>
                  <a:lnTo>
                    <a:pt x="320" y="371"/>
                  </a:lnTo>
                  <a:lnTo>
                    <a:pt x="333" y="357"/>
                  </a:lnTo>
                  <a:lnTo>
                    <a:pt x="338" y="342"/>
                  </a:lnTo>
                  <a:lnTo>
                    <a:pt x="355" y="329"/>
                  </a:lnTo>
                  <a:lnTo>
                    <a:pt x="380" y="324"/>
                  </a:lnTo>
                  <a:lnTo>
                    <a:pt x="402" y="319"/>
                  </a:lnTo>
                  <a:lnTo>
                    <a:pt x="413" y="318"/>
                  </a:lnTo>
                  <a:lnTo>
                    <a:pt x="452" y="303"/>
                  </a:lnTo>
                  <a:lnTo>
                    <a:pt x="480" y="282"/>
                  </a:lnTo>
                  <a:lnTo>
                    <a:pt x="497" y="274"/>
                  </a:lnTo>
                  <a:lnTo>
                    <a:pt x="514" y="274"/>
                  </a:lnTo>
                  <a:lnTo>
                    <a:pt x="561" y="267"/>
                  </a:lnTo>
                  <a:lnTo>
                    <a:pt x="607" y="251"/>
                  </a:lnTo>
                  <a:lnTo>
                    <a:pt x="650" y="234"/>
                  </a:lnTo>
                  <a:lnTo>
                    <a:pt x="630" y="233"/>
                  </a:lnTo>
                  <a:lnTo>
                    <a:pt x="591" y="232"/>
                  </a:lnTo>
                  <a:lnTo>
                    <a:pt x="610" y="222"/>
                  </a:lnTo>
                  <a:lnTo>
                    <a:pt x="608" y="208"/>
                  </a:lnTo>
                  <a:lnTo>
                    <a:pt x="624" y="219"/>
                  </a:lnTo>
                  <a:lnTo>
                    <a:pt x="635" y="228"/>
                  </a:lnTo>
                  <a:lnTo>
                    <a:pt x="662" y="224"/>
                  </a:lnTo>
                  <a:lnTo>
                    <a:pt x="660" y="207"/>
                  </a:lnTo>
                  <a:lnTo>
                    <a:pt x="643" y="196"/>
                  </a:lnTo>
                  <a:lnTo>
                    <a:pt x="624" y="191"/>
                  </a:lnTo>
                  <a:lnTo>
                    <a:pt x="633" y="186"/>
                  </a:lnTo>
                  <a:lnTo>
                    <a:pt x="660" y="194"/>
                  </a:lnTo>
                  <a:lnTo>
                    <a:pt x="662" y="185"/>
                  </a:lnTo>
                  <a:lnTo>
                    <a:pt x="647" y="173"/>
                  </a:lnTo>
                  <a:lnTo>
                    <a:pt x="666" y="173"/>
                  </a:lnTo>
                  <a:lnTo>
                    <a:pt x="688" y="170"/>
                  </a:lnTo>
                  <a:lnTo>
                    <a:pt x="693" y="162"/>
                  </a:lnTo>
                  <a:lnTo>
                    <a:pt x="678" y="155"/>
                  </a:lnTo>
                  <a:lnTo>
                    <a:pt x="711" y="154"/>
                  </a:lnTo>
                  <a:lnTo>
                    <a:pt x="696" y="138"/>
                  </a:lnTo>
                  <a:lnTo>
                    <a:pt x="711" y="136"/>
                  </a:lnTo>
                  <a:lnTo>
                    <a:pt x="712" y="120"/>
                  </a:lnTo>
                  <a:lnTo>
                    <a:pt x="689" y="111"/>
                  </a:lnTo>
                  <a:lnTo>
                    <a:pt x="712" y="105"/>
                  </a:lnTo>
                  <a:lnTo>
                    <a:pt x="734" y="105"/>
                  </a:lnTo>
                  <a:lnTo>
                    <a:pt x="720" y="92"/>
                  </a:lnTo>
                  <a:lnTo>
                    <a:pt x="725" y="74"/>
                  </a:lnTo>
                  <a:lnTo>
                    <a:pt x="738" y="63"/>
                  </a:lnTo>
                  <a:lnTo>
                    <a:pt x="757" y="50"/>
                  </a:lnTo>
                  <a:lnTo>
                    <a:pt x="727" y="50"/>
                  </a:lnTo>
                  <a:lnTo>
                    <a:pt x="769" y="48"/>
                  </a:lnTo>
                  <a:lnTo>
                    <a:pt x="777" y="44"/>
                  </a:lnTo>
                  <a:lnTo>
                    <a:pt x="832" y="33"/>
                  </a:lnTo>
                  <a:lnTo>
                    <a:pt x="826" y="26"/>
                  </a:lnTo>
                  <a:lnTo>
                    <a:pt x="789" y="23"/>
                  </a:lnTo>
                  <a:lnTo>
                    <a:pt x="725" y="29"/>
                  </a:lnTo>
                  <a:lnTo>
                    <a:pt x="691" y="34"/>
                  </a:lnTo>
                  <a:lnTo>
                    <a:pt x="707" y="26"/>
                  </a:lnTo>
                  <a:lnTo>
                    <a:pt x="699" y="20"/>
                  </a:lnTo>
                  <a:lnTo>
                    <a:pt x="673" y="25"/>
                  </a:lnTo>
                  <a:lnTo>
                    <a:pt x="636" y="20"/>
                  </a:lnTo>
                  <a:lnTo>
                    <a:pt x="592" y="22"/>
                  </a:lnTo>
                  <a:lnTo>
                    <a:pt x="586" y="20"/>
                  </a:lnTo>
                  <a:lnTo>
                    <a:pt x="654" y="18"/>
                  </a:lnTo>
                  <a:lnTo>
                    <a:pt x="703" y="17"/>
                  </a:lnTo>
                  <a:lnTo>
                    <a:pt x="727" y="12"/>
                  </a:lnTo>
                  <a:lnTo>
                    <a:pt x="654" y="1"/>
                  </a:lnTo>
                  <a:lnTo>
                    <a:pt x="654" y="1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3" name="Guatemala">
              <a:extLst>
                <a:ext uri="{FF2B5EF4-FFF2-40B4-BE49-F238E27FC236}">
                  <a16:creationId xmlns:a16="http://schemas.microsoft.com/office/drawing/2014/main" id="{62B5AC88-6EBF-4E85-BD92-6CE7E36C88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1956" y="3389086"/>
              <a:ext cx="136525" cy="155574"/>
            </a:xfrm>
            <a:custGeom>
              <a:avLst/>
              <a:gdLst>
                <a:gd name="T0" fmla="*/ 73 w 86"/>
                <a:gd name="T1" fmla="*/ 1 h 98"/>
                <a:gd name="T2" fmla="*/ 54 w 86"/>
                <a:gd name="T3" fmla="*/ 0 h 98"/>
                <a:gd name="T4" fmla="*/ 34 w 86"/>
                <a:gd name="T5" fmla="*/ 0 h 98"/>
                <a:gd name="T6" fmla="*/ 32 w 86"/>
                <a:gd name="T7" fmla="*/ 14 h 98"/>
                <a:gd name="T8" fmla="*/ 23 w 86"/>
                <a:gd name="T9" fmla="*/ 14 h 98"/>
                <a:gd name="T10" fmla="*/ 30 w 86"/>
                <a:gd name="T11" fmla="*/ 22 h 98"/>
                <a:gd name="T12" fmla="*/ 37 w 86"/>
                <a:gd name="T13" fmla="*/ 27 h 98"/>
                <a:gd name="T14" fmla="*/ 39 w 86"/>
                <a:gd name="T15" fmla="*/ 33 h 98"/>
                <a:gd name="T16" fmla="*/ 42 w 86"/>
                <a:gd name="T17" fmla="*/ 34 h 98"/>
                <a:gd name="T18" fmla="*/ 40 w 86"/>
                <a:gd name="T19" fmla="*/ 42 h 98"/>
                <a:gd name="T20" fmla="*/ 14 w 86"/>
                <a:gd name="T21" fmla="*/ 42 h 98"/>
                <a:gd name="T22" fmla="*/ 2 w 86"/>
                <a:gd name="T23" fmla="*/ 61 h 98"/>
                <a:gd name="T24" fmla="*/ 4 w 86"/>
                <a:gd name="T25" fmla="*/ 66 h 98"/>
                <a:gd name="T26" fmla="*/ 1 w 86"/>
                <a:gd name="T27" fmla="*/ 71 h 98"/>
                <a:gd name="T28" fmla="*/ 0 w 86"/>
                <a:gd name="T29" fmla="*/ 79 h 98"/>
                <a:gd name="T30" fmla="*/ 10 w 86"/>
                <a:gd name="T31" fmla="*/ 88 h 98"/>
                <a:gd name="T32" fmla="*/ 19 w 86"/>
                <a:gd name="T33" fmla="*/ 93 h 98"/>
                <a:gd name="T34" fmla="*/ 31 w 86"/>
                <a:gd name="T35" fmla="*/ 94 h 98"/>
                <a:gd name="T36" fmla="*/ 42 w 86"/>
                <a:gd name="T37" fmla="*/ 98 h 98"/>
                <a:gd name="T38" fmla="*/ 43 w 86"/>
                <a:gd name="T39" fmla="*/ 94 h 98"/>
                <a:gd name="T40" fmla="*/ 51 w 86"/>
                <a:gd name="T41" fmla="*/ 88 h 98"/>
                <a:gd name="T42" fmla="*/ 55 w 86"/>
                <a:gd name="T43" fmla="*/ 85 h 98"/>
                <a:gd name="T44" fmla="*/ 54 w 86"/>
                <a:gd name="T45" fmla="*/ 83 h 98"/>
                <a:gd name="T46" fmla="*/ 59 w 86"/>
                <a:gd name="T47" fmla="*/ 82 h 98"/>
                <a:gd name="T48" fmla="*/ 64 w 86"/>
                <a:gd name="T49" fmla="*/ 75 h 98"/>
                <a:gd name="T50" fmla="*/ 63 w 86"/>
                <a:gd name="T51" fmla="*/ 70 h 98"/>
                <a:gd name="T52" fmla="*/ 65 w 86"/>
                <a:gd name="T53" fmla="*/ 66 h 98"/>
                <a:gd name="T54" fmla="*/ 75 w 86"/>
                <a:gd name="T55" fmla="*/ 59 h 98"/>
                <a:gd name="T56" fmla="*/ 86 w 86"/>
                <a:gd name="T57" fmla="*/ 50 h 98"/>
                <a:gd name="T58" fmla="*/ 80 w 86"/>
                <a:gd name="T59" fmla="*/ 47 h 98"/>
                <a:gd name="T60" fmla="*/ 78 w 86"/>
                <a:gd name="T61" fmla="*/ 51 h 98"/>
                <a:gd name="T62" fmla="*/ 72 w 86"/>
                <a:gd name="T63" fmla="*/ 46 h 98"/>
                <a:gd name="T64" fmla="*/ 66 w 86"/>
                <a:gd name="T65" fmla="*/ 46 h 98"/>
                <a:gd name="T66" fmla="*/ 70 w 86"/>
                <a:gd name="T67" fmla="*/ 20 h 98"/>
                <a:gd name="T68" fmla="*/ 73 w 86"/>
                <a:gd name="T69" fmla="*/ 1 h 98"/>
                <a:gd name="T70" fmla="*/ 73 w 86"/>
                <a:gd name="T71" fmla="*/ 1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6" h="98">
                  <a:moveTo>
                    <a:pt x="73" y="1"/>
                  </a:moveTo>
                  <a:lnTo>
                    <a:pt x="54" y="0"/>
                  </a:lnTo>
                  <a:lnTo>
                    <a:pt x="34" y="0"/>
                  </a:lnTo>
                  <a:lnTo>
                    <a:pt x="32" y="14"/>
                  </a:lnTo>
                  <a:lnTo>
                    <a:pt x="23" y="14"/>
                  </a:lnTo>
                  <a:lnTo>
                    <a:pt x="30" y="22"/>
                  </a:lnTo>
                  <a:lnTo>
                    <a:pt x="37" y="27"/>
                  </a:lnTo>
                  <a:lnTo>
                    <a:pt x="39" y="33"/>
                  </a:lnTo>
                  <a:lnTo>
                    <a:pt x="42" y="34"/>
                  </a:lnTo>
                  <a:lnTo>
                    <a:pt x="40" y="42"/>
                  </a:lnTo>
                  <a:lnTo>
                    <a:pt x="14" y="42"/>
                  </a:lnTo>
                  <a:lnTo>
                    <a:pt x="2" y="61"/>
                  </a:lnTo>
                  <a:lnTo>
                    <a:pt x="4" y="66"/>
                  </a:lnTo>
                  <a:lnTo>
                    <a:pt x="1" y="71"/>
                  </a:lnTo>
                  <a:lnTo>
                    <a:pt x="0" y="79"/>
                  </a:lnTo>
                  <a:lnTo>
                    <a:pt x="10" y="88"/>
                  </a:lnTo>
                  <a:lnTo>
                    <a:pt x="19" y="93"/>
                  </a:lnTo>
                  <a:lnTo>
                    <a:pt x="31" y="94"/>
                  </a:lnTo>
                  <a:lnTo>
                    <a:pt x="42" y="98"/>
                  </a:lnTo>
                  <a:lnTo>
                    <a:pt x="43" y="94"/>
                  </a:lnTo>
                  <a:lnTo>
                    <a:pt x="51" y="88"/>
                  </a:lnTo>
                  <a:lnTo>
                    <a:pt x="55" y="85"/>
                  </a:lnTo>
                  <a:lnTo>
                    <a:pt x="54" y="83"/>
                  </a:lnTo>
                  <a:lnTo>
                    <a:pt x="59" y="82"/>
                  </a:lnTo>
                  <a:lnTo>
                    <a:pt x="64" y="75"/>
                  </a:lnTo>
                  <a:lnTo>
                    <a:pt x="63" y="70"/>
                  </a:lnTo>
                  <a:lnTo>
                    <a:pt x="65" y="66"/>
                  </a:lnTo>
                  <a:lnTo>
                    <a:pt x="75" y="59"/>
                  </a:lnTo>
                  <a:lnTo>
                    <a:pt x="86" y="50"/>
                  </a:lnTo>
                  <a:lnTo>
                    <a:pt x="80" y="47"/>
                  </a:lnTo>
                  <a:lnTo>
                    <a:pt x="78" y="51"/>
                  </a:lnTo>
                  <a:lnTo>
                    <a:pt x="72" y="46"/>
                  </a:lnTo>
                  <a:lnTo>
                    <a:pt x="66" y="46"/>
                  </a:lnTo>
                  <a:lnTo>
                    <a:pt x="70" y="20"/>
                  </a:lnTo>
                  <a:lnTo>
                    <a:pt x="73" y="1"/>
                  </a:lnTo>
                  <a:lnTo>
                    <a:pt x="73" y="1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4" name="Guyana">
              <a:extLst>
                <a:ext uri="{FF2B5EF4-FFF2-40B4-BE49-F238E27FC236}">
                  <a16:creationId xmlns:a16="http://schemas.microsoft.com/office/drawing/2014/main" id="{6110F1C7-97E9-4760-8758-E96B12BCBB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3669" y="3746273"/>
              <a:ext cx="158750" cy="266700"/>
            </a:xfrm>
            <a:custGeom>
              <a:avLst/>
              <a:gdLst>
                <a:gd name="T0" fmla="*/ 89 w 100"/>
                <a:gd name="T1" fmla="*/ 57 h 168"/>
                <a:gd name="T2" fmla="*/ 81 w 100"/>
                <a:gd name="T3" fmla="*/ 49 h 168"/>
                <a:gd name="T4" fmla="*/ 70 w 100"/>
                <a:gd name="T5" fmla="*/ 37 h 168"/>
                <a:gd name="T6" fmla="*/ 62 w 100"/>
                <a:gd name="T7" fmla="*/ 37 h 168"/>
                <a:gd name="T8" fmla="*/ 62 w 100"/>
                <a:gd name="T9" fmla="*/ 25 h 168"/>
                <a:gd name="T10" fmla="*/ 49 w 100"/>
                <a:gd name="T11" fmla="*/ 9 h 168"/>
                <a:gd name="T12" fmla="*/ 36 w 100"/>
                <a:gd name="T13" fmla="*/ 0 h 168"/>
                <a:gd name="T14" fmla="*/ 19 w 100"/>
                <a:gd name="T15" fmla="*/ 14 h 168"/>
                <a:gd name="T16" fmla="*/ 17 w 100"/>
                <a:gd name="T17" fmla="*/ 23 h 168"/>
                <a:gd name="T18" fmla="*/ 24 w 100"/>
                <a:gd name="T19" fmla="*/ 31 h 168"/>
                <a:gd name="T20" fmla="*/ 19 w 100"/>
                <a:gd name="T21" fmla="*/ 36 h 168"/>
                <a:gd name="T22" fmla="*/ 5 w 100"/>
                <a:gd name="T23" fmla="*/ 40 h 168"/>
                <a:gd name="T24" fmla="*/ 5 w 100"/>
                <a:gd name="T25" fmla="*/ 51 h 168"/>
                <a:gd name="T26" fmla="*/ 0 w 100"/>
                <a:gd name="T27" fmla="*/ 57 h 168"/>
                <a:gd name="T28" fmla="*/ 14 w 100"/>
                <a:gd name="T29" fmla="*/ 75 h 168"/>
                <a:gd name="T30" fmla="*/ 24 w 100"/>
                <a:gd name="T31" fmla="*/ 74 h 168"/>
                <a:gd name="T32" fmla="*/ 29 w 100"/>
                <a:gd name="T33" fmla="*/ 80 h 168"/>
                <a:gd name="T34" fmla="*/ 26 w 100"/>
                <a:gd name="T35" fmla="*/ 90 h 168"/>
                <a:gd name="T36" fmla="*/ 33 w 100"/>
                <a:gd name="T37" fmla="*/ 94 h 168"/>
                <a:gd name="T38" fmla="*/ 38 w 100"/>
                <a:gd name="T39" fmla="*/ 105 h 168"/>
                <a:gd name="T40" fmla="*/ 32 w 100"/>
                <a:gd name="T41" fmla="*/ 113 h 168"/>
                <a:gd name="T42" fmla="*/ 28 w 100"/>
                <a:gd name="T43" fmla="*/ 133 h 168"/>
                <a:gd name="T44" fmla="*/ 33 w 100"/>
                <a:gd name="T45" fmla="*/ 146 h 168"/>
                <a:gd name="T46" fmla="*/ 34 w 100"/>
                <a:gd name="T47" fmla="*/ 156 h 168"/>
                <a:gd name="T48" fmla="*/ 47 w 100"/>
                <a:gd name="T49" fmla="*/ 168 h 168"/>
                <a:gd name="T50" fmla="*/ 58 w 100"/>
                <a:gd name="T51" fmla="*/ 168 h 168"/>
                <a:gd name="T52" fmla="*/ 61 w 100"/>
                <a:gd name="T53" fmla="*/ 164 h 168"/>
                <a:gd name="T54" fmla="*/ 66 w 100"/>
                <a:gd name="T55" fmla="*/ 163 h 168"/>
                <a:gd name="T56" fmla="*/ 76 w 100"/>
                <a:gd name="T57" fmla="*/ 159 h 168"/>
                <a:gd name="T58" fmla="*/ 83 w 100"/>
                <a:gd name="T59" fmla="*/ 153 h 168"/>
                <a:gd name="T60" fmla="*/ 94 w 100"/>
                <a:gd name="T61" fmla="*/ 154 h 168"/>
                <a:gd name="T62" fmla="*/ 100 w 100"/>
                <a:gd name="T63" fmla="*/ 154 h 168"/>
                <a:gd name="T64" fmla="*/ 88 w 100"/>
                <a:gd name="T65" fmla="*/ 133 h 168"/>
                <a:gd name="T66" fmla="*/ 85 w 100"/>
                <a:gd name="T67" fmla="*/ 120 h 168"/>
                <a:gd name="T68" fmla="*/ 78 w 100"/>
                <a:gd name="T69" fmla="*/ 120 h 168"/>
                <a:gd name="T70" fmla="*/ 69 w 100"/>
                <a:gd name="T71" fmla="*/ 102 h 168"/>
                <a:gd name="T72" fmla="*/ 74 w 100"/>
                <a:gd name="T73" fmla="*/ 90 h 168"/>
                <a:gd name="T74" fmla="*/ 72 w 100"/>
                <a:gd name="T75" fmla="*/ 84 h 168"/>
                <a:gd name="T76" fmla="*/ 85 w 100"/>
                <a:gd name="T77" fmla="*/ 79 h 168"/>
                <a:gd name="T78" fmla="*/ 89 w 100"/>
                <a:gd name="T79" fmla="*/ 57 h 168"/>
                <a:gd name="T80" fmla="*/ 89 w 100"/>
                <a:gd name="T81" fmla="*/ 57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0" h="168">
                  <a:moveTo>
                    <a:pt x="89" y="57"/>
                  </a:moveTo>
                  <a:lnTo>
                    <a:pt x="81" y="49"/>
                  </a:lnTo>
                  <a:lnTo>
                    <a:pt x="70" y="37"/>
                  </a:lnTo>
                  <a:lnTo>
                    <a:pt x="62" y="37"/>
                  </a:lnTo>
                  <a:lnTo>
                    <a:pt x="62" y="25"/>
                  </a:lnTo>
                  <a:lnTo>
                    <a:pt x="49" y="9"/>
                  </a:lnTo>
                  <a:lnTo>
                    <a:pt x="36" y="0"/>
                  </a:lnTo>
                  <a:lnTo>
                    <a:pt x="19" y="14"/>
                  </a:lnTo>
                  <a:lnTo>
                    <a:pt x="17" y="23"/>
                  </a:lnTo>
                  <a:lnTo>
                    <a:pt x="24" y="31"/>
                  </a:lnTo>
                  <a:lnTo>
                    <a:pt x="19" y="36"/>
                  </a:lnTo>
                  <a:lnTo>
                    <a:pt x="5" y="40"/>
                  </a:lnTo>
                  <a:lnTo>
                    <a:pt x="5" y="51"/>
                  </a:lnTo>
                  <a:lnTo>
                    <a:pt x="0" y="57"/>
                  </a:lnTo>
                  <a:lnTo>
                    <a:pt x="14" y="75"/>
                  </a:lnTo>
                  <a:lnTo>
                    <a:pt x="24" y="74"/>
                  </a:lnTo>
                  <a:lnTo>
                    <a:pt x="29" y="80"/>
                  </a:lnTo>
                  <a:lnTo>
                    <a:pt x="26" y="90"/>
                  </a:lnTo>
                  <a:lnTo>
                    <a:pt x="33" y="94"/>
                  </a:lnTo>
                  <a:lnTo>
                    <a:pt x="38" y="105"/>
                  </a:lnTo>
                  <a:lnTo>
                    <a:pt x="32" y="113"/>
                  </a:lnTo>
                  <a:lnTo>
                    <a:pt x="28" y="133"/>
                  </a:lnTo>
                  <a:lnTo>
                    <a:pt x="33" y="146"/>
                  </a:lnTo>
                  <a:lnTo>
                    <a:pt x="34" y="156"/>
                  </a:lnTo>
                  <a:lnTo>
                    <a:pt x="47" y="168"/>
                  </a:lnTo>
                  <a:lnTo>
                    <a:pt x="58" y="168"/>
                  </a:lnTo>
                  <a:lnTo>
                    <a:pt x="61" y="164"/>
                  </a:lnTo>
                  <a:lnTo>
                    <a:pt x="66" y="163"/>
                  </a:lnTo>
                  <a:lnTo>
                    <a:pt x="76" y="159"/>
                  </a:lnTo>
                  <a:lnTo>
                    <a:pt x="83" y="153"/>
                  </a:lnTo>
                  <a:lnTo>
                    <a:pt x="94" y="154"/>
                  </a:lnTo>
                  <a:lnTo>
                    <a:pt x="100" y="154"/>
                  </a:lnTo>
                  <a:lnTo>
                    <a:pt x="88" y="133"/>
                  </a:lnTo>
                  <a:lnTo>
                    <a:pt x="85" y="120"/>
                  </a:lnTo>
                  <a:lnTo>
                    <a:pt x="78" y="120"/>
                  </a:lnTo>
                  <a:lnTo>
                    <a:pt x="69" y="102"/>
                  </a:lnTo>
                  <a:lnTo>
                    <a:pt x="74" y="90"/>
                  </a:lnTo>
                  <a:lnTo>
                    <a:pt x="72" y="84"/>
                  </a:lnTo>
                  <a:lnTo>
                    <a:pt x="85" y="79"/>
                  </a:lnTo>
                  <a:lnTo>
                    <a:pt x="89" y="57"/>
                  </a:lnTo>
                  <a:lnTo>
                    <a:pt x="89" y="57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5" name="Honduras">
              <a:extLst>
                <a:ext uri="{FF2B5EF4-FFF2-40B4-BE49-F238E27FC236}">
                  <a16:creationId xmlns:a16="http://schemas.microsoft.com/office/drawing/2014/main" id="{92C6272F-5FE1-4D91-8C8F-F938B06610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5619" y="3457348"/>
              <a:ext cx="206375" cy="114300"/>
            </a:xfrm>
            <a:custGeom>
              <a:avLst/>
              <a:gdLst>
                <a:gd name="T0" fmla="*/ 130 w 130"/>
                <a:gd name="T1" fmla="*/ 25 h 72"/>
                <a:gd name="T2" fmla="*/ 126 w 130"/>
                <a:gd name="T3" fmla="*/ 18 h 72"/>
                <a:gd name="T4" fmla="*/ 119 w 130"/>
                <a:gd name="T5" fmla="*/ 14 h 72"/>
                <a:gd name="T6" fmla="*/ 113 w 130"/>
                <a:gd name="T7" fmla="*/ 9 h 72"/>
                <a:gd name="T8" fmla="*/ 107 w 130"/>
                <a:gd name="T9" fmla="*/ 5 h 72"/>
                <a:gd name="T10" fmla="*/ 104 w 130"/>
                <a:gd name="T11" fmla="*/ 4 h 72"/>
                <a:gd name="T12" fmla="*/ 95 w 130"/>
                <a:gd name="T13" fmla="*/ 1 h 72"/>
                <a:gd name="T14" fmla="*/ 91 w 130"/>
                <a:gd name="T15" fmla="*/ 3 h 72"/>
                <a:gd name="T16" fmla="*/ 85 w 130"/>
                <a:gd name="T17" fmla="*/ 3 h 72"/>
                <a:gd name="T18" fmla="*/ 80 w 130"/>
                <a:gd name="T19" fmla="*/ 2 h 72"/>
                <a:gd name="T20" fmla="*/ 74 w 130"/>
                <a:gd name="T21" fmla="*/ 0 h 72"/>
                <a:gd name="T22" fmla="*/ 70 w 130"/>
                <a:gd name="T23" fmla="*/ 3 h 72"/>
                <a:gd name="T24" fmla="*/ 64 w 130"/>
                <a:gd name="T25" fmla="*/ 6 h 72"/>
                <a:gd name="T26" fmla="*/ 55 w 130"/>
                <a:gd name="T27" fmla="*/ 7 h 72"/>
                <a:gd name="T28" fmla="*/ 45 w 130"/>
                <a:gd name="T29" fmla="*/ 4 h 72"/>
                <a:gd name="T30" fmla="*/ 42 w 130"/>
                <a:gd name="T31" fmla="*/ 6 h 72"/>
                <a:gd name="T32" fmla="*/ 40 w 130"/>
                <a:gd name="T33" fmla="*/ 3 h 72"/>
                <a:gd name="T34" fmla="*/ 34 w 130"/>
                <a:gd name="T35" fmla="*/ 4 h 72"/>
                <a:gd name="T36" fmla="*/ 29 w 130"/>
                <a:gd name="T37" fmla="*/ 8 h 72"/>
                <a:gd name="T38" fmla="*/ 27 w 130"/>
                <a:gd name="T39" fmla="*/ 7 h 72"/>
                <a:gd name="T40" fmla="*/ 16 w 130"/>
                <a:gd name="T41" fmla="*/ 16 h 72"/>
                <a:gd name="T42" fmla="*/ 6 w 130"/>
                <a:gd name="T43" fmla="*/ 23 h 72"/>
                <a:gd name="T44" fmla="*/ 4 w 130"/>
                <a:gd name="T45" fmla="*/ 27 h 72"/>
                <a:gd name="T46" fmla="*/ 5 w 130"/>
                <a:gd name="T47" fmla="*/ 32 h 72"/>
                <a:gd name="T48" fmla="*/ 0 w 130"/>
                <a:gd name="T49" fmla="*/ 39 h 72"/>
                <a:gd name="T50" fmla="*/ 6 w 130"/>
                <a:gd name="T51" fmla="*/ 41 h 72"/>
                <a:gd name="T52" fmla="*/ 10 w 130"/>
                <a:gd name="T53" fmla="*/ 45 h 72"/>
                <a:gd name="T54" fmla="*/ 16 w 130"/>
                <a:gd name="T55" fmla="*/ 49 h 72"/>
                <a:gd name="T56" fmla="*/ 16 w 130"/>
                <a:gd name="T57" fmla="*/ 52 h 72"/>
                <a:gd name="T58" fmla="*/ 26 w 130"/>
                <a:gd name="T59" fmla="*/ 49 h 72"/>
                <a:gd name="T60" fmla="*/ 29 w 130"/>
                <a:gd name="T61" fmla="*/ 51 h 72"/>
                <a:gd name="T62" fmla="*/ 32 w 130"/>
                <a:gd name="T63" fmla="*/ 54 h 72"/>
                <a:gd name="T64" fmla="*/ 30 w 130"/>
                <a:gd name="T65" fmla="*/ 63 h 72"/>
                <a:gd name="T66" fmla="*/ 37 w 130"/>
                <a:gd name="T67" fmla="*/ 65 h 72"/>
                <a:gd name="T68" fmla="*/ 39 w 130"/>
                <a:gd name="T69" fmla="*/ 72 h 72"/>
                <a:gd name="T70" fmla="*/ 46 w 130"/>
                <a:gd name="T71" fmla="*/ 71 h 72"/>
                <a:gd name="T72" fmla="*/ 49 w 130"/>
                <a:gd name="T73" fmla="*/ 66 h 72"/>
                <a:gd name="T74" fmla="*/ 52 w 130"/>
                <a:gd name="T75" fmla="*/ 66 h 72"/>
                <a:gd name="T76" fmla="*/ 53 w 130"/>
                <a:gd name="T77" fmla="*/ 55 h 72"/>
                <a:gd name="T78" fmla="*/ 57 w 130"/>
                <a:gd name="T79" fmla="*/ 54 h 72"/>
                <a:gd name="T80" fmla="*/ 62 w 130"/>
                <a:gd name="T81" fmla="*/ 54 h 72"/>
                <a:gd name="T82" fmla="*/ 67 w 130"/>
                <a:gd name="T83" fmla="*/ 47 h 72"/>
                <a:gd name="T84" fmla="*/ 72 w 130"/>
                <a:gd name="T85" fmla="*/ 52 h 72"/>
                <a:gd name="T86" fmla="*/ 75 w 130"/>
                <a:gd name="T87" fmla="*/ 49 h 72"/>
                <a:gd name="T88" fmla="*/ 79 w 130"/>
                <a:gd name="T89" fmla="*/ 46 h 72"/>
                <a:gd name="T90" fmla="*/ 87 w 130"/>
                <a:gd name="T91" fmla="*/ 40 h 72"/>
                <a:gd name="T92" fmla="*/ 88 w 130"/>
                <a:gd name="T93" fmla="*/ 35 h 72"/>
                <a:gd name="T94" fmla="*/ 90 w 130"/>
                <a:gd name="T95" fmla="*/ 35 h 72"/>
                <a:gd name="T96" fmla="*/ 93 w 130"/>
                <a:gd name="T97" fmla="*/ 29 h 72"/>
                <a:gd name="T98" fmla="*/ 95 w 130"/>
                <a:gd name="T99" fmla="*/ 29 h 72"/>
                <a:gd name="T100" fmla="*/ 98 w 130"/>
                <a:gd name="T101" fmla="*/ 32 h 72"/>
                <a:gd name="T102" fmla="*/ 102 w 130"/>
                <a:gd name="T103" fmla="*/ 33 h 72"/>
                <a:gd name="T104" fmla="*/ 108 w 130"/>
                <a:gd name="T105" fmla="*/ 30 h 72"/>
                <a:gd name="T106" fmla="*/ 112 w 130"/>
                <a:gd name="T107" fmla="*/ 30 h 72"/>
                <a:gd name="T108" fmla="*/ 120 w 130"/>
                <a:gd name="T109" fmla="*/ 27 h 72"/>
                <a:gd name="T110" fmla="*/ 124 w 130"/>
                <a:gd name="T111" fmla="*/ 24 h 72"/>
                <a:gd name="T112" fmla="*/ 130 w 130"/>
                <a:gd name="T113" fmla="*/ 25 h 72"/>
                <a:gd name="T114" fmla="*/ 130 w 130"/>
                <a:gd name="T115" fmla="*/ 2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0" h="72">
                  <a:moveTo>
                    <a:pt x="130" y="25"/>
                  </a:moveTo>
                  <a:lnTo>
                    <a:pt x="126" y="18"/>
                  </a:lnTo>
                  <a:lnTo>
                    <a:pt x="119" y="14"/>
                  </a:lnTo>
                  <a:lnTo>
                    <a:pt x="113" y="9"/>
                  </a:lnTo>
                  <a:lnTo>
                    <a:pt x="107" y="5"/>
                  </a:lnTo>
                  <a:lnTo>
                    <a:pt x="104" y="4"/>
                  </a:lnTo>
                  <a:lnTo>
                    <a:pt x="95" y="1"/>
                  </a:lnTo>
                  <a:lnTo>
                    <a:pt x="91" y="3"/>
                  </a:lnTo>
                  <a:lnTo>
                    <a:pt x="85" y="3"/>
                  </a:lnTo>
                  <a:lnTo>
                    <a:pt x="80" y="2"/>
                  </a:lnTo>
                  <a:lnTo>
                    <a:pt x="74" y="0"/>
                  </a:lnTo>
                  <a:lnTo>
                    <a:pt x="70" y="3"/>
                  </a:lnTo>
                  <a:lnTo>
                    <a:pt x="64" y="6"/>
                  </a:lnTo>
                  <a:lnTo>
                    <a:pt x="55" y="7"/>
                  </a:lnTo>
                  <a:lnTo>
                    <a:pt x="45" y="4"/>
                  </a:lnTo>
                  <a:lnTo>
                    <a:pt x="42" y="6"/>
                  </a:lnTo>
                  <a:lnTo>
                    <a:pt x="40" y="3"/>
                  </a:lnTo>
                  <a:lnTo>
                    <a:pt x="34" y="4"/>
                  </a:lnTo>
                  <a:lnTo>
                    <a:pt x="29" y="8"/>
                  </a:lnTo>
                  <a:lnTo>
                    <a:pt x="27" y="7"/>
                  </a:lnTo>
                  <a:lnTo>
                    <a:pt x="16" y="16"/>
                  </a:lnTo>
                  <a:lnTo>
                    <a:pt x="6" y="23"/>
                  </a:lnTo>
                  <a:lnTo>
                    <a:pt x="4" y="27"/>
                  </a:lnTo>
                  <a:lnTo>
                    <a:pt x="5" y="32"/>
                  </a:lnTo>
                  <a:lnTo>
                    <a:pt x="0" y="39"/>
                  </a:lnTo>
                  <a:lnTo>
                    <a:pt x="6" y="41"/>
                  </a:lnTo>
                  <a:lnTo>
                    <a:pt x="10" y="45"/>
                  </a:lnTo>
                  <a:lnTo>
                    <a:pt x="16" y="49"/>
                  </a:lnTo>
                  <a:lnTo>
                    <a:pt x="16" y="52"/>
                  </a:lnTo>
                  <a:lnTo>
                    <a:pt x="26" y="49"/>
                  </a:lnTo>
                  <a:lnTo>
                    <a:pt x="29" y="51"/>
                  </a:lnTo>
                  <a:lnTo>
                    <a:pt x="32" y="54"/>
                  </a:lnTo>
                  <a:lnTo>
                    <a:pt x="30" y="63"/>
                  </a:lnTo>
                  <a:lnTo>
                    <a:pt x="37" y="65"/>
                  </a:lnTo>
                  <a:lnTo>
                    <a:pt x="39" y="72"/>
                  </a:lnTo>
                  <a:lnTo>
                    <a:pt x="46" y="71"/>
                  </a:lnTo>
                  <a:lnTo>
                    <a:pt x="49" y="66"/>
                  </a:lnTo>
                  <a:lnTo>
                    <a:pt x="52" y="66"/>
                  </a:lnTo>
                  <a:lnTo>
                    <a:pt x="53" y="55"/>
                  </a:lnTo>
                  <a:lnTo>
                    <a:pt x="57" y="54"/>
                  </a:lnTo>
                  <a:lnTo>
                    <a:pt x="62" y="54"/>
                  </a:lnTo>
                  <a:lnTo>
                    <a:pt x="67" y="47"/>
                  </a:lnTo>
                  <a:lnTo>
                    <a:pt x="72" y="52"/>
                  </a:lnTo>
                  <a:lnTo>
                    <a:pt x="75" y="49"/>
                  </a:lnTo>
                  <a:lnTo>
                    <a:pt x="79" y="46"/>
                  </a:lnTo>
                  <a:lnTo>
                    <a:pt x="87" y="40"/>
                  </a:lnTo>
                  <a:lnTo>
                    <a:pt x="88" y="35"/>
                  </a:lnTo>
                  <a:lnTo>
                    <a:pt x="90" y="35"/>
                  </a:lnTo>
                  <a:lnTo>
                    <a:pt x="93" y="29"/>
                  </a:lnTo>
                  <a:lnTo>
                    <a:pt x="95" y="29"/>
                  </a:lnTo>
                  <a:lnTo>
                    <a:pt x="98" y="32"/>
                  </a:lnTo>
                  <a:lnTo>
                    <a:pt x="102" y="33"/>
                  </a:lnTo>
                  <a:lnTo>
                    <a:pt x="108" y="30"/>
                  </a:lnTo>
                  <a:lnTo>
                    <a:pt x="112" y="30"/>
                  </a:lnTo>
                  <a:lnTo>
                    <a:pt x="120" y="27"/>
                  </a:lnTo>
                  <a:lnTo>
                    <a:pt x="124" y="24"/>
                  </a:lnTo>
                  <a:lnTo>
                    <a:pt x="130" y="25"/>
                  </a:lnTo>
                  <a:lnTo>
                    <a:pt x="130" y="25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6" name="Croatia">
              <a:extLst>
                <a:ext uri="{FF2B5EF4-FFF2-40B4-BE49-F238E27FC236}">
                  <a16:creationId xmlns:a16="http://schemas.microsoft.com/office/drawing/2014/main" id="{25ABB582-8A51-4022-A0D0-2B1592BABAA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3181" y="2312762"/>
              <a:ext cx="171450" cy="146050"/>
            </a:xfrm>
            <a:custGeom>
              <a:avLst/>
              <a:gdLst>
                <a:gd name="T0" fmla="*/ 73 w 108"/>
                <a:gd name="T1" fmla="*/ 13 h 92"/>
                <a:gd name="T2" fmla="*/ 58 w 108"/>
                <a:gd name="T3" fmla="*/ 2 h 92"/>
                <a:gd name="T4" fmla="*/ 52 w 108"/>
                <a:gd name="T5" fmla="*/ 0 h 92"/>
                <a:gd name="T6" fmla="*/ 38 w 108"/>
                <a:gd name="T7" fmla="*/ 6 h 92"/>
                <a:gd name="T8" fmla="*/ 37 w 108"/>
                <a:gd name="T9" fmla="*/ 15 h 92"/>
                <a:gd name="T10" fmla="*/ 30 w 108"/>
                <a:gd name="T11" fmla="*/ 17 h 92"/>
                <a:gd name="T12" fmla="*/ 31 w 108"/>
                <a:gd name="T13" fmla="*/ 24 h 92"/>
                <a:gd name="T14" fmla="*/ 24 w 108"/>
                <a:gd name="T15" fmla="*/ 24 h 92"/>
                <a:gd name="T16" fmla="*/ 17 w 108"/>
                <a:gd name="T17" fmla="*/ 20 h 92"/>
                <a:gd name="T18" fmla="*/ 13 w 108"/>
                <a:gd name="T19" fmla="*/ 24 h 92"/>
                <a:gd name="T20" fmla="*/ 0 w 108"/>
                <a:gd name="T21" fmla="*/ 23 h 92"/>
                <a:gd name="T22" fmla="*/ 0 w 108"/>
                <a:gd name="T23" fmla="*/ 23 h 92"/>
                <a:gd name="T24" fmla="*/ 0 w 108"/>
                <a:gd name="T25" fmla="*/ 31 h 92"/>
                <a:gd name="T26" fmla="*/ 6 w 108"/>
                <a:gd name="T27" fmla="*/ 39 h 92"/>
                <a:gd name="T28" fmla="*/ 11 w 108"/>
                <a:gd name="T29" fmla="*/ 30 h 92"/>
                <a:gd name="T30" fmla="*/ 24 w 108"/>
                <a:gd name="T31" fmla="*/ 33 h 92"/>
                <a:gd name="T32" fmla="*/ 24 w 108"/>
                <a:gd name="T33" fmla="*/ 41 h 92"/>
                <a:gd name="T34" fmla="*/ 34 w 108"/>
                <a:gd name="T35" fmla="*/ 50 h 92"/>
                <a:gd name="T36" fmla="*/ 30 w 108"/>
                <a:gd name="T37" fmla="*/ 52 h 92"/>
                <a:gd name="T38" fmla="*/ 47 w 108"/>
                <a:gd name="T39" fmla="*/ 69 h 92"/>
                <a:gd name="T40" fmla="*/ 66 w 108"/>
                <a:gd name="T41" fmla="*/ 75 h 92"/>
                <a:gd name="T42" fmla="*/ 77 w 108"/>
                <a:gd name="T43" fmla="*/ 84 h 92"/>
                <a:gd name="T44" fmla="*/ 95 w 108"/>
                <a:gd name="T45" fmla="*/ 92 h 92"/>
                <a:gd name="T46" fmla="*/ 95 w 108"/>
                <a:gd name="T47" fmla="*/ 92 h 92"/>
                <a:gd name="T48" fmla="*/ 97 w 108"/>
                <a:gd name="T49" fmla="*/ 88 h 92"/>
                <a:gd name="T50" fmla="*/ 80 w 108"/>
                <a:gd name="T51" fmla="*/ 80 h 92"/>
                <a:gd name="T52" fmla="*/ 71 w 108"/>
                <a:gd name="T53" fmla="*/ 71 h 92"/>
                <a:gd name="T54" fmla="*/ 64 w 108"/>
                <a:gd name="T55" fmla="*/ 65 h 92"/>
                <a:gd name="T56" fmla="*/ 54 w 108"/>
                <a:gd name="T57" fmla="*/ 57 h 92"/>
                <a:gd name="T58" fmla="*/ 50 w 108"/>
                <a:gd name="T59" fmla="*/ 49 h 92"/>
                <a:gd name="T60" fmla="*/ 39 w 108"/>
                <a:gd name="T61" fmla="*/ 39 h 92"/>
                <a:gd name="T62" fmla="*/ 43 w 108"/>
                <a:gd name="T63" fmla="*/ 30 h 92"/>
                <a:gd name="T64" fmla="*/ 51 w 108"/>
                <a:gd name="T65" fmla="*/ 34 h 92"/>
                <a:gd name="T66" fmla="*/ 54 w 108"/>
                <a:gd name="T67" fmla="*/ 30 h 92"/>
                <a:gd name="T68" fmla="*/ 63 w 108"/>
                <a:gd name="T69" fmla="*/ 30 h 92"/>
                <a:gd name="T70" fmla="*/ 79 w 108"/>
                <a:gd name="T71" fmla="*/ 33 h 92"/>
                <a:gd name="T72" fmla="*/ 92 w 108"/>
                <a:gd name="T73" fmla="*/ 32 h 92"/>
                <a:gd name="T74" fmla="*/ 101 w 108"/>
                <a:gd name="T75" fmla="*/ 38 h 92"/>
                <a:gd name="T76" fmla="*/ 101 w 108"/>
                <a:gd name="T77" fmla="*/ 38 h 92"/>
                <a:gd name="T78" fmla="*/ 108 w 108"/>
                <a:gd name="T79" fmla="*/ 30 h 92"/>
                <a:gd name="T80" fmla="*/ 101 w 108"/>
                <a:gd name="T81" fmla="*/ 22 h 92"/>
                <a:gd name="T82" fmla="*/ 95 w 108"/>
                <a:gd name="T83" fmla="*/ 14 h 92"/>
                <a:gd name="T84" fmla="*/ 95 w 108"/>
                <a:gd name="T85" fmla="*/ 14 h 92"/>
                <a:gd name="T86" fmla="*/ 89 w 108"/>
                <a:gd name="T87" fmla="*/ 16 h 92"/>
                <a:gd name="T88" fmla="*/ 73 w 108"/>
                <a:gd name="T89" fmla="*/ 13 h 92"/>
                <a:gd name="T90" fmla="*/ 73 w 108"/>
                <a:gd name="T91" fmla="*/ 13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8" h="92">
                  <a:moveTo>
                    <a:pt x="73" y="13"/>
                  </a:moveTo>
                  <a:lnTo>
                    <a:pt x="58" y="2"/>
                  </a:lnTo>
                  <a:lnTo>
                    <a:pt x="52" y="0"/>
                  </a:lnTo>
                  <a:lnTo>
                    <a:pt x="38" y="6"/>
                  </a:lnTo>
                  <a:lnTo>
                    <a:pt x="37" y="15"/>
                  </a:lnTo>
                  <a:lnTo>
                    <a:pt x="30" y="17"/>
                  </a:lnTo>
                  <a:lnTo>
                    <a:pt x="31" y="24"/>
                  </a:lnTo>
                  <a:lnTo>
                    <a:pt x="24" y="24"/>
                  </a:lnTo>
                  <a:lnTo>
                    <a:pt x="17" y="20"/>
                  </a:lnTo>
                  <a:lnTo>
                    <a:pt x="13" y="24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31"/>
                  </a:lnTo>
                  <a:lnTo>
                    <a:pt x="6" y="39"/>
                  </a:lnTo>
                  <a:lnTo>
                    <a:pt x="11" y="30"/>
                  </a:lnTo>
                  <a:lnTo>
                    <a:pt x="24" y="33"/>
                  </a:lnTo>
                  <a:lnTo>
                    <a:pt x="24" y="41"/>
                  </a:lnTo>
                  <a:lnTo>
                    <a:pt x="34" y="50"/>
                  </a:lnTo>
                  <a:lnTo>
                    <a:pt x="30" y="52"/>
                  </a:lnTo>
                  <a:lnTo>
                    <a:pt x="47" y="69"/>
                  </a:lnTo>
                  <a:lnTo>
                    <a:pt x="66" y="75"/>
                  </a:lnTo>
                  <a:lnTo>
                    <a:pt x="77" y="84"/>
                  </a:lnTo>
                  <a:lnTo>
                    <a:pt x="95" y="92"/>
                  </a:lnTo>
                  <a:lnTo>
                    <a:pt x="95" y="92"/>
                  </a:lnTo>
                  <a:lnTo>
                    <a:pt x="97" y="88"/>
                  </a:lnTo>
                  <a:lnTo>
                    <a:pt x="80" y="80"/>
                  </a:lnTo>
                  <a:lnTo>
                    <a:pt x="71" y="71"/>
                  </a:lnTo>
                  <a:lnTo>
                    <a:pt x="64" y="65"/>
                  </a:lnTo>
                  <a:lnTo>
                    <a:pt x="54" y="57"/>
                  </a:lnTo>
                  <a:lnTo>
                    <a:pt x="50" y="49"/>
                  </a:lnTo>
                  <a:lnTo>
                    <a:pt x="39" y="39"/>
                  </a:lnTo>
                  <a:lnTo>
                    <a:pt x="43" y="30"/>
                  </a:lnTo>
                  <a:lnTo>
                    <a:pt x="51" y="34"/>
                  </a:lnTo>
                  <a:lnTo>
                    <a:pt x="54" y="30"/>
                  </a:lnTo>
                  <a:lnTo>
                    <a:pt x="63" y="30"/>
                  </a:lnTo>
                  <a:lnTo>
                    <a:pt x="79" y="33"/>
                  </a:lnTo>
                  <a:lnTo>
                    <a:pt x="92" y="32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8" y="30"/>
                  </a:lnTo>
                  <a:lnTo>
                    <a:pt x="101" y="22"/>
                  </a:lnTo>
                  <a:lnTo>
                    <a:pt x="95" y="14"/>
                  </a:lnTo>
                  <a:lnTo>
                    <a:pt x="95" y="14"/>
                  </a:lnTo>
                  <a:lnTo>
                    <a:pt x="89" y="16"/>
                  </a:lnTo>
                  <a:lnTo>
                    <a:pt x="73" y="13"/>
                  </a:lnTo>
                  <a:lnTo>
                    <a:pt x="73" y="13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7" name="Haiti">
              <a:extLst>
                <a:ext uri="{FF2B5EF4-FFF2-40B4-BE49-F238E27FC236}">
                  <a16:creationId xmlns:a16="http://schemas.microsoft.com/office/drawing/2014/main" id="{FA7499E0-45F0-4938-A040-09E0A37E76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031" y="3311298"/>
              <a:ext cx="96837" cy="71438"/>
            </a:xfrm>
            <a:custGeom>
              <a:avLst/>
              <a:gdLst>
                <a:gd name="T0" fmla="*/ 60 w 61"/>
                <a:gd name="T1" fmla="*/ 5 h 45"/>
                <a:gd name="T2" fmla="*/ 43 w 61"/>
                <a:gd name="T3" fmla="*/ 1 h 45"/>
                <a:gd name="T4" fmla="*/ 30 w 61"/>
                <a:gd name="T5" fmla="*/ 0 h 45"/>
                <a:gd name="T6" fmla="*/ 25 w 61"/>
                <a:gd name="T7" fmla="*/ 6 h 45"/>
                <a:gd name="T8" fmla="*/ 37 w 61"/>
                <a:gd name="T9" fmla="*/ 10 h 45"/>
                <a:gd name="T10" fmla="*/ 36 w 61"/>
                <a:gd name="T11" fmla="*/ 19 h 45"/>
                <a:gd name="T12" fmla="*/ 45 w 61"/>
                <a:gd name="T13" fmla="*/ 30 h 45"/>
                <a:gd name="T14" fmla="*/ 37 w 61"/>
                <a:gd name="T15" fmla="*/ 34 h 45"/>
                <a:gd name="T16" fmla="*/ 21 w 61"/>
                <a:gd name="T17" fmla="*/ 33 h 45"/>
                <a:gd name="T18" fmla="*/ 3 w 61"/>
                <a:gd name="T19" fmla="*/ 30 h 45"/>
                <a:gd name="T20" fmla="*/ 0 w 61"/>
                <a:gd name="T21" fmla="*/ 37 h 45"/>
                <a:gd name="T22" fmla="*/ 10 w 61"/>
                <a:gd name="T23" fmla="*/ 45 h 45"/>
                <a:gd name="T24" fmla="*/ 20 w 61"/>
                <a:gd name="T25" fmla="*/ 40 h 45"/>
                <a:gd name="T26" fmla="*/ 33 w 61"/>
                <a:gd name="T27" fmla="*/ 42 h 45"/>
                <a:gd name="T28" fmla="*/ 43 w 61"/>
                <a:gd name="T29" fmla="*/ 40 h 45"/>
                <a:gd name="T30" fmla="*/ 56 w 61"/>
                <a:gd name="T31" fmla="*/ 45 h 45"/>
                <a:gd name="T32" fmla="*/ 57 w 61"/>
                <a:gd name="T33" fmla="*/ 37 h 45"/>
                <a:gd name="T34" fmla="*/ 52 w 61"/>
                <a:gd name="T35" fmla="*/ 31 h 45"/>
                <a:gd name="T36" fmla="*/ 58 w 61"/>
                <a:gd name="T37" fmla="*/ 26 h 45"/>
                <a:gd name="T38" fmla="*/ 61 w 61"/>
                <a:gd name="T39" fmla="*/ 18 h 45"/>
                <a:gd name="T40" fmla="*/ 60 w 61"/>
                <a:gd name="T41" fmla="*/ 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1" h="45">
                  <a:moveTo>
                    <a:pt x="60" y="5"/>
                  </a:moveTo>
                  <a:lnTo>
                    <a:pt x="43" y="1"/>
                  </a:lnTo>
                  <a:lnTo>
                    <a:pt x="30" y="0"/>
                  </a:lnTo>
                  <a:lnTo>
                    <a:pt x="25" y="6"/>
                  </a:lnTo>
                  <a:lnTo>
                    <a:pt x="37" y="10"/>
                  </a:lnTo>
                  <a:lnTo>
                    <a:pt x="36" y="19"/>
                  </a:lnTo>
                  <a:lnTo>
                    <a:pt x="45" y="30"/>
                  </a:lnTo>
                  <a:lnTo>
                    <a:pt x="37" y="34"/>
                  </a:lnTo>
                  <a:lnTo>
                    <a:pt x="21" y="33"/>
                  </a:lnTo>
                  <a:lnTo>
                    <a:pt x="3" y="30"/>
                  </a:lnTo>
                  <a:lnTo>
                    <a:pt x="0" y="37"/>
                  </a:lnTo>
                  <a:lnTo>
                    <a:pt x="10" y="45"/>
                  </a:lnTo>
                  <a:lnTo>
                    <a:pt x="20" y="40"/>
                  </a:lnTo>
                  <a:lnTo>
                    <a:pt x="33" y="42"/>
                  </a:lnTo>
                  <a:lnTo>
                    <a:pt x="43" y="40"/>
                  </a:lnTo>
                  <a:lnTo>
                    <a:pt x="56" y="45"/>
                  </a:lnTo>
                  <a:lnTo>
                    <a:pt x="57" y="37"/>
                  </a:lnTo>
                  <a:lnTo>
                    <a:pt x="52" y="31"/>
                  </a:lnTo>
                  <a:lnTo>
                    <a:pt x="58" y="26"/>
                  </a:lnTo>
                  <a:lnTo>
                    <a:pt x="61" y="18"/>
                  </a:lnTo>
                  <a:lnTo>
                    <a:pt x="60" y="5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8" name="Hungary">
              <a:extLst>
                <a:ext uri="{FF2B5EF4-FFF2-40B4-BE49-F238E27FC236}">
                  <a16:creationId xmlns:a16="http://schemas.microsoft.com/office/drawing/2014/main" id="{8CC627CE-53D1-42C6-BBB4-A6A911E2FA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4619" y="2233386"/>
              <a:ext cx="187325" cy="104775"/>
            </a:xfrm>
            <a:custGeom>
              <a:avLst/>
              <a:gdLst>
                <a:gd name="T0" fmla="*/ 80 w 118"/>
                <a:gd name="T1" fmla="*/ 0 h 66"/>
                <a:gd name="T2" fmla="*/ 75 w 118"/>
                <a:gd name="T3" fmla="*/ 2 h 66"/>
                <a:gd name="T4" fmla="*/ 71 w 118"/>
                <a:gd name="T5" fmla="*/ 8 h 66"/>
                <a:gd name="T6" fmla="*/ 63 w 118"/>
                <a:gd name="T7" fmla="*/ 10 h 66"/>
                <a:gd name="T8" fmla="*/ 61 w 118"/>
                <a:gd name="T9" fmla="*/ 9 h 66"/>
                <a:gd name="T10" fmla="*/ 52 w 118"/>
                <a:gd name="T11" fmla="*/ 12 h 66"/>
                <a:gd name="T12" fmla="*/ 45 w 118"/>
                <a:gd name="T13" fmla="*/ 13 h 66"/>
                <a:gd name="T14" fmla="*/ 44 w 118"/>
                <a:gd name="T15" fmla="*/ 18 h 66"/>
                <a:gd name="T16" fmla="*/ 28 w 118"/>
                <a:gd name="T17" fmla="*/ 21 h 66"/>
                <a:gd name="T18" fmla="*/ 21 w 118"/>
                <a:gd name="T19" fmla="*/ 18 h 66"/>
                <a:gd name="T20" fmla="*/ 11 w 118"/>
                <a:gd name="T21" fmla="*/ 12 h 66"/>
                <a:gd name="T22" fmla="*/ 11 w 118"/>
                <a:gd name="T23" fmla="*/ 22 h 66"/>
                <a:gd name="T24" fmla="*/ 0 w 118"/>
                <a:gd name="T25" fmla="*/ 22 h 66"/>
                <a:gd name="T26" fmla="*/ 5 w 118"/>
                <a:gd name="T27" fmla="*/ 26 h 66"/>
                <a:gd name="T28" fmla="*/ 0 w 118"/>
                <a:gd name="T29" fmla="*/ 41 h 66"/>
                <a:gd name="T30" fmla="*/ 3 w 118"/>
                <a:gd name="T31" fmla="*/ 42 h 66"/>
                <a:gd name="T32" fmla="*/ 7 w 118"/>
                <a:gd name="T33" fmla="*/ 50 h 66"/>
                <a:gd name="T34" fmla="*/ 13 w 118"/>
                <a:gd name="T35" fmla="*/ 52 h 66"/>
                <a:gd name="T36" fmla="*/ 28 w 118"/>
                <a:gd name="T37" fmla="*/ 63 h 66"/>
                <a:gd name="T38" fmla="*/ 44 w 118"/>
                <a:gd name="T39" fmla="*/ 66 h 66"/>
                <a:gd name="T40" fmla="*/ 50 w 118"/>
                <a:gd name="T41" fmla="*/ 64 h 66"/>
                <a:gd name="T42" fmla="*/ 50 w 118"/>
                <a:gd name="T43" fmla="*/ 64 h 66"/>
                <a:gd name="T44" fmla="*/ 64 w 118"/>
                <a:gd name="T45" fmla="*/ 57 h 66"/>
                <a:gd name="T46" fmla="*/ 77 w 118"/>
                <a:gd name="T47" fmla="*/ 58 h 66"/>
                <a:gd name="T48" fmla="*/ 91 w 118"/>
                <a:gd name="T49" fmla="*/ 54 h 66"/>
                <a:gd name="T50" fmla="*/ 100 w 118"/>
                <a:gd name="T51" fmla="*/ 38 h 66"/>
                <a:gd name="T52" fmla="*/ 107 w 118"/>
                <a:gd name="T53" fmla="*/ 23 h 66"/>
                <a:gd name="T54" fmla="*/ 118 w 118"/>
                <a:gd name="T55" fmla="*/ 18 h 66"/>
                <a:gd name="T56" fmla="*/ 116 w 118"/>
                <a:gd name="T57" fmla="*/ 11 h 66"/>
                <a:gd name="T58" fmla="*/ 105 w 118"/>
                <a:gd name="T59" fmla="*/ 5 h 66"/>
                <a:gd name="T60" fmla="*/ 101 w 118"/>
                <a:gd name="T61" fmla="*/ 8 h 66"/>
                <a:gd name="T62" fmla="*/ 80 w 118"/>
                <a:gd name="T63" fmla="*/ 0 h 66"/>
                <a:gd name="T64" fmla="*/ 80 w 118"/>
                <a:gd name="T65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8" h="66">
                  <a:moveTo>
                    <a:pt x="80" y="0"/>
                  </a:moveTo>
                  <a:lnTo>
                    <a:pt x="75" y="2"/>
                  </a:lnTo>
                  <a:lnTo>
                    <a:pt x="71" y="8"/>
                  </a:lnTo>
                  <a:lnTo>
                    <a:pt x="63" y="10"/>
                  </a:lnTo>
                  <a:lnTo>
                    <a:pt x="61" y="9"/>
                  </a:lnTo>
                  <a:lnTo>
                    <a:pt x="52" y="12"/>
                  </a:lnTo>
                  <a:lnTo>
                    <a:pt x="45" y="13"/>
                  </a:lnTo>
                  <a:lnTo>
                    <a:pt x="44" y="18"/>
                  </a:lnTo>
                  <a:lnTo>
                    <a:pt x="28" y="21"/>
                  </a:lnTo>
                  <a:lnTo>
                    <a:pt x="21" y="18"/>
                  </a:lnTo>
                  <a:lnTo>
                    <a:pt x="11" y="12"/>
                  </a:lnTo>
                  <a:lnTo>
                    <a:pt x="11" y="22"/>
                  </a:lnTo>
                  <a:lnTo>
                    <a:pt x="0" y="22"/>
                  </a:lnTo>
                  <a:lnTo>
                    <a:pt x="5" y="26"/>
                  </a:lnTo>
                  <a:lnTo>
                    <a:pt x="0" y="41"/>
                  </a:lnTo>
                  <a:lnTo>
                    <a:pt x="3" y="42"/>
                  </a:lnTo>
                  <a:lnTo>
                    <a:pt x="7" y="50"/>
                  </a:lnTo>
                  <a:lnTo>
                    <a:pt x="13" y="52"/>
                  </a:lnTo>
                  <a:lnTo>
                    <a:pt x="28" y="63"/>
                  </a:lnTo>
                  <a:lnTo>
                    <a:pt x="44" y="66"/>
                  </a:lnTo>
                  <a:lnTo>
                    <a:pt x="50" y="64"/>
                  </a:lnTo>
                  <a:lnTo>
                    <a:pt x="50" y="64"/>
                  </a:lnTo>
                  <a:lnTo>
                    <a:pt x="64" y="57"/>
                  </a:lnTo>
                  <a:lnTo>
                    <a:pt x="77" y="58"/>
                  </a:lnTo>
                  <a:lnTo>
                    <a:pt x="91" y="54"/>
                  </a:lnTo>
                  <a:lnTo>
                    <a:pt x="100" y="38"/>
                  </a:lnTo>
                  <a:lnTo>
                    <a:pt x="107" y="23"/>
                  </a:lnTo>
                  <a:lnTo>
                    <a:pt x="118" y="18"/>
                  </a:lnTo>
                  <a:lnTo>
                    <a:pt x="116" y="11"/>
                  </a:lnTo>
                  <a:lnTo>
                    <a:pt x="105" y="5"/>
                  </a:lnTo>
                  <a:lnTo>
                    <a:pt x="101" y="8"/>
                  </a:lnTo>
                  <a:lnTo>
                    <a:pt x="80" y="0"/>
                  </a:lnTo>
                  <a:lnTo>
                    <a:pt x="80" y="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9" name="Indonesia">
              <a:extLst>
                <a:ext uri="{FF2B5EF4-FFF2-40B4-BE49-F238E27FC236}">
                  <a16:creationId xmlns:a16="http://schemas.microsoft.com/office/drawing/2014/main" id="{AF8FFB14-AAB4-4821-AD4D-DB971EA134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67019" y="3855811"/>
              <a:ext cx="1524000" cy="596900"/>
            </a:xfrm>
            <a:custGeom>
              <a:avLst/>
              <a:gdLst>
                <a:gd name="T0" fmla="*/ 489 w 960"/>
                <a:gd name="T1" fmla="*/ 357 h 376"/>
                <a:gd name="T2" fmla="*/ 617 w 960"/>
                <a:gd name="T3" fmla="*/ 353 h 376"/>
                <a:gd name="T4" fmla="*/ 581 w 960"/>
                <a:gd name="T5" fmla="*/ 373 h 376"/>
                <a:gd name="T6" fmla="*/ 463 w 960"/>
                <a:gd name="T7" fmla="*/ 331 h 376"/>
                <a:gd name="T8" fmla="*/ 493 w 960"/>
                <a:gd name="T9" fmla="*/ 337 h 376"/>
                <a:gd name="T10" fmla="*/ 574 w 960"/>
                <a:gd name="T11" fmla="*/ 323 h 376"/>
                <a:gd name="T12" fmla="*/ 510 w 960"/>
                <a:gd name="T13" fmla="*/ 339 h 376"/>
                <a:gd name="T14" fmla="*/ 277 w 960"/>
                <a:gd name="T15" fmla="*/ 291 h 376"/>
                <a:gd name="T16" fmla="*/ 209 w 960"/>
                <a:gd name="T17" fmla="*/ 293 h 376"/>
                <a:gd name="T18" fmla="*/ 293 w 960"/>
                <a:gd name="T19" fmla="*/ 314 h 376"/>
                <a:gd name="T20" fmla="*/ 398 w 960"/>
                <a:gd name="T21" fmla="*/ 338 h 376"/>
                <a:gd name="T22" fmla="*/ 322 w 960"/>
                <a:gd name="T23" fmla="*/ 283 h 376"/>
                <a:gd name="T24" fmla="*/ 825 w 960"/>
                <a:gd name="T25" fmla="*/ 267 h 376"/>
                <a:gd name="T26" fmla="*/ 825 w 960"/>
                <a:gd name="T27" fmla="*/ 278 h 376"/>
                <a:gd name="T28" fmla="*/ 663 w 960"/>
                <a:gd name="T29" fmla="*/ 220 h 376"/>
                <a:gd name="T30" fmla="*/ 690 w 960"/>
                <a:gd name="T31" fmla="*/ 198 h 376"/>
                <a:gd name="T32" fmla="*/ 746 w 960"/>
                <a:gd name="T33" fmla="*/ 222 h 376"/>
                <a:gd name="T34" fmla="*/ 781 w 960"/>
                <a:gd name="T35" fmla="*/ 139 h 376"/>
                <a:gd name="T36" fmla="*/ 776 w 960"/>
                <a:gd name="T37" fmla="*/ 183 h 376"/>
                <a:gd name="T38" fmla="*/ 787 w 960"/>
                <a:gd name="T39" fmla="*/ 209 h 376"/>
                <a:gd name="T40" fmla="*/ 836 w 960"/>
                <a:gd name="T41" fmla="*/ 236 h 376"/>
                <a:gd name="T42" fmla="*/ 891 w 960"/>
                <a:gd name="T43" fmla="*/ 311 h 376"/>
                <a:gd name="T44" fmla="*/ 951 w 960"/>
                <a:gd name="T45" fmla="*/ 347 h 376"/>
                <a:gd name="T46" fmla="*/ 905 w 960"/>
                <a:gd name="T47" fmla="*/ 170 h 376"/>
                <a:gd name="T48" fmla="*/ 817 w 960"/>
                <a:gd name="T49" fmla="*/ 157 h 376"/>
                <a:gd name="T50" fmla="*/ 556 w 960"/>
                <a:gd name="T51" fmla="*/ 106 h 376"/>
                <a:gd name="T52" fmla="*/ 503 w 960"/>
                <a:gd name="T53" fmla="*/ 181 h 376"/>
                <a:gd name="T54" fmla="*/ 504 w 960"/>
                <a:gd name="T55" fmla="*/ 258 h 376"/>
                <a:gd name="T56" fmla="*/ 540 w 960"/>
                <a:gd name="T57" fmla="*/ 193 h 376"/>
                <a:gd name="T58" fmla="*/ 575 w 960"/>
                <a:gd name="T59" fmla="*/ 236 h 376"/>
                <a:gd name="T60" fmla="*/ 567 w 960"/>
                <a:gd name="T61" fmla="*/ 213 h 376"/>
                <a:gd name="T62" fmla="*/ 590 w 960"/>
                <a:gd name="T63" fmla="*/ 156 h 376"/>
                <a:gd name="T64" fmla="*/ 525 w 960"/>
                <a:gd name="T65" fmla="*/ 125 h 376"/>
                <a:gd name="T66" fmla="*/ 631 w 960"/>
                <a:gd name="T67" fmla="*/ 96 h 376"/>
                <a:gd name="T68" fmla="*/ 687 w 960"/>
                <a:gd name="T69" fmla="*/ 78 h 376"/>
                <a:gd name="T70" fmla="*/ 697 w 960"/>
                <a:gd name="T71" fmla="*/ 148 h 376"/>
                <a:gd name="T72" fmla="*/ 704 w 960"/>
                <a:gd name="T73" fmla="*/ 103 h 376"/>
                <a:gd name="T74" fmla="*/ 455 w 960"/>
                <a:gd name="T75" fmla="*/ 28 h 376"/>
                <a:gd name="T76" fmla="*/ 391 w 960"/>
                <a:gd name="T77" fmla="*/ 101 h 376"/>
                <a:gd name="T78" fmla="*/ 322 w 960"/>
                <a:gd name="T79" fmla="*/ 112 h 376"/>
                <a:gd name="T80" fmla="*/ 292 w 960"/>
                <a:gd name="T81" fmla="*/ 141 h 376"/>
                <a:gd name="T82" fmla="*/ 345 w 960"/>
                <a:gd name="T83" fmla="*/ 201 h 376"/>
                <a:gd name="T84" fmla="*/ 410 w 960"/>
                <a:gd name="T85" fmla="*/ 227 h 376"/>
                <a:gd name="T86" fmla="*/ 469 w 960"/>
                <a:gd name="T87" fmla="*/ 149 h 376"/>
                <a:gd name="T88" fmla="*/ 476 w 960"/>
                <a:gd name="T89" fmla="*/ 86 h 376"/>
                <a:gd name="T90" fmla="*/ 203 w 960"/>
                <a:gd name="T91" fmla="*/ 185 h 376"/>
                <a:gd name="T92" fmla="*/ 182 w 960"/>
                <a:gd name="T93" fmla="*/ 127 h 376"/>
                <a:gd name="T94" fmla="*/ 94 w 960"/>
                <a:gd name="T95" fmla="*/ 55 h 376"/>
                <a:gd name="T96" fmla="*/ 0 w 960"/>
                <a:gd name="T97" fmla="*/ 0 h 376"/>
                <a:gd name="T98" fmla="*/ 71 w 960"/>
                <a:gd name="T99" fmla="*/ 86 h 376"/>
                <a:gd name="T100" fmla="*/ 129 w 960"/>
                <a:gd name="T101" fmla="*/ 197 h 376"/>
                <a:gd name="T102" fmla="*/ 219 w 960"/>
                <a:gd name="T103" fmla="*/ 269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60" h="376">
                  <a:moveTo>
                    <a:pt x="524" y="373"/>
                  </a:moveTo>
                  <a:lnTo>
                    <a:pt x="526" y="367"/>
                  </a:lnTo>
                  <a:lnTo>
                    <a:pt x="519" y="360"/>
                  </a:lnTo>
                  <a:lnTo>
                    <a:pt x="508" y="353"/>
                  </a:lnTo>
                  <a:lnTo>
                    <a:pt x="489" y="357"/>
                  </a:lnTo>
                  <a:lnTo>
                    <a:pt x="515" y="374"/>
                  </a:lnTo>
                  <a:lnTo>
                    <a:pt x="524" y="373"/>
                  </a:lnTo>
                  <a:lnTo>
                    <a:pt x="524" y="373"/>
                  </a:lnTo>
                  <a:close/>
                  <a:moveTo>
                    <a:pt x="602" y="371"/>
                  </a:moveTo>
                  <a:lnTo>
                    <a:pt x="617" y="353"/>
                  </a:lnTo>
                  <a:lnTo>
                    <a:pt x="618" y="346"/>
                  </a:lnTo>
                  <a:lnTo>
                    <a:pt x="616" y="341"/>
                  </a:lnTo>
                  <a:lnTo>
                    <a:pt x="594" y="351"/>
                  </a:lnTo>
                  <a:lnTo>
                    <a:pt x="584" y="366"/>
                  </a:lnTo>
                  <a:lnTo>
                    <a:pt x="581" y="373"/>
                  </a:lnTo>
                  <a:lnTo>
                    <a:pt x="583" y="376"/>
                  </a:lnTo>
                  <a:lnTo>
                    <a:pt x="602" y="371"/>
                  </a:lnTo>
                  <a:lnTo>
                    <a:pt x="602" y="371"/>
                  </a:lnTo>
                  <a:close/>
                  <a:moveTo>
                    <a:pt x="469" y="323"/>
                  </a:moveTo>
                  <a:lnTo>
                    <a:pt x="463" y="331"/>
                  </a:lnTo>
                  <a:lnTo>
                    <a:pt x="451" y="331"/>
                  </a:lnTo>
                  <a:lnTo>
                    <a:pt x="443" y="344"/>
                  </a:lnTo>
                  <a:lnTo>
                    <a:pt x="454" y="345"/>
                  </a:lnTo>
                  <a:lnTo>
                    <a:pt x="469" y="341"/>
                  </a:lnTo>
                  <a:lnTo>
                    <a:pt x="493" y="337"/>
                  </a:lnTo>
                  <a:lnTo>
                    <a:pt x="489" y="326"/>
                  </a:lnTo>
                  <a:lnTo>
                    <a:pt x="476" y="329"/>
                  </a:lnTo>
                  <a:lnTo>
                    <a:pt x="469" y="323"/>
                  </a:lnTo>
                  <a:lnTo>
                    <a:pt x="469" y="323"/>
                  </a:lnTo>
                  <a:close/>
                  <a:moveTo>
                    <a:pt x="574" y="323"/>
                  </a:moveTo>
                  <a:lnTo>
                    <a:pt x="554" y="331"/>
                  </a:lnTo>
                  <a:lnTo>
                    <a:pt x="540" y="333"/>
                  </a:lnTo>
                  <a:lnTo>
                    <a:pt x="528" y="325"/>
                  </a:lnTo>
                  <a:lnTo>
                    <a:pt x="511" y="331"/>
                  </a:lnTo>
                  <a:lnTo>
                    <a:pt x="510" y="339"/>
                  </a:lnTo>
                  <a:lnTo>
                    <a:pt x="537" y="342"/>
                  </a:lnTo>
                  <a:lnTo>
                    <a:pt x="570" y="336"/>
                  </a:lnTo>
                  <a:lnTo>
                    <a:pt x="574" y="323"/>
                  </a:lnTo>
                  <a:lnTo>
                    <a:pt x="574" y="323"/>
                  </a:lnTo>
                  <a:close/>
                  <a:moveTo>
                    <a:pt x="277" y="291"/>
                  </a:moveTo>
                  <a:lnTo>
                    <a:pt x="274" y="282"/>
                  </a:lnTo>
                  <a:lnTo>
                    <a:pt x="266" y="281"/>
                  </a:lnTo>
                  <a:lnTo>
                    <a:pt x="250" y="271"/>
                  </a:lnTo>
                  <a:lnTo>
                    <a:pt x="224" y="270"/>
                  </a:lnTo>
                  <a:lnTo>
                    <a:pt x="209" y="293"/>
                  </a:lnTo>
                  <a:lnTo>
                    <a:pt x="227" y="295"/>
                  </a:lnTo>
                  <a:lnTo>
                    <a:pt x="231" y="305"/>
                  </a:lnTo>
                  <a:lnTo>
                    <a:pt x="268" y="314"/>
                  </a:lnTo>
                  <a:lnTo>
                    <a:pt x="277" y="311"/>
                  </a:lnTo>
                  <a:lnTo>
                    <a:pt x="293" y="314"/>
                  </a:lnTo>
                  <a:lnTo>
                    <a:pt x="316" y="323"/>
                  </a:lnTo>
                  <a:lnTo>
                    <a:pt x="336" y="327"/>
                  </a:lnTo>
                  <a:lnTo>
                    <a:pt x="357" y="329"/>
                  </a:lnTo>
                  <a:lnTo>
                    <a:pt x="376" y="328"/>
                  </a:lnTo>
                  <a:lnTo>
                    <a:pt x="398" y="338"/>
                  </a:lnTo>
                  <a:lnTo>
                    <a:pt x="422" y="329"/>
                  </a:lnTo>
                  <a:lnTo>
                    <a:pt x="398" y="314"/>
                  </a:lnTo>
                  <a:lnTo>
                    <a:pt x="367" y="311"/>
                  </a:lnTo>
                  <a:lnTo>
                    <a:pt x="360" y="296"/>
                  </a:lnTo>
                  <a:lnTo>
                    <a:pt x="322" y="283"/>
                  </a:lnTo>
                  <a:lnTo>
                    <a:pt x="317" y="294"/>
                  </a:lnTo>
                  <a:lnTo>
                    <a:pt x="277" y="291"/>
                  </a:lnTo>
                  <a:lnTo>
                    <a:pt x="277" y="291"/>
                  </a:lnTo>
                  <a:close/>
                  <a:moveTo>
                    <a:pt x="825" y="278"/>
                  </a:moveTo>
                  <a:lnTo>
                    <a:pt x="825" y="267"/>
                  </a:lnTo>
                  <a:lnTo>
                    <a:pt x="821" y="259"/>
                  </a:lnTo>
                  <a:lnTo>
                    <a:pt x="816" y="268"/>
                  </a:lnTo>
                  <a:lnTo>
                    <a:pt x="812" y="276"/>
                  </a:lnTo>
                  <a:lnTo>
                    <a:pt x="813" y="294"/>
                  </a:lnTo>
                  <a:lnTo>
                    <a:pt x="825" y="278"/>
                  </a:lnTo>
                  <a:close/>
                  <a:moveTo>
                    <a:pt x="672" y="212"/>
                  </a:moveTo>
                  <a:lnTo>
                    <a:pt x="666" y="204"/>
                  </a:lnTo>
                  <a:lnTo>
                    <a:pt x="645" y="206"/>
                  </a:lnTo>
                  <a:lnTo>
                    <a:pt x="648" y="215"/>
                  </a:lnTo>
                  <a:lnTo>
                    <a:pt x="663" y="220"/>
                  </a:lnTo>
                  <a:lnTo>
                    <a:pt x="672" y="212"/>
                  </a:lnTo>
                  <a:lnTo>
                    <a:pt x="672" y="212"/>
                  </a:lnTo>
                  <a:close/>
                  <a:moveTo>
                    <a:pt x="739" y="203"/>
                  </a:moveTo>
                  <a:lnTo>
                    <a:pt x="717" y="197"/>
                  </a:lnTo>
                  <a:lnTo>
                    <a:pt x="690" y="198"/>
                  </a:lnTo>
                  <a:lnTo>
                    <a:pt x="685" y="211"/>
                  </a:lnTo>
                  <a:lnTo>
                    <a:pt x="700" y="212"/>
                  </a:lnTo>
                  <a:lnTo>
                    <a:pt x="711" y="210"/>
                  </a:lnTo>
                  <a:lnTo>
                    <a:pt x="729" y="212"/>
                  </a:lnTo>
                  <a:lnTo>
                    <a:pt x="746" y="222"/>
                  </a:lnTo>
                  <a:lnTo>
                    <a:pt x="739" y="203"/>
                  </a:lnTo>
                  <a:lnTo>
                    <a:pt x="739" y="203"/>
                  </a:lnTo>
                  <a:close/>
                  <a:moveTo>
                    <a:pt x="817" y="157"/>
                  </a:moveTo>
                  <a:lnTo>
                    <a:pt x="815" y="148"/>
                  </a:lnTo>
                  <a:lnTo>
                    <a:pt x="781" y="139"/>
                  </a:lnTo>
                  <a:lnTo>
                    <a:pt x="770" y="146"/>
                  </a:lnTo>
                  <a:lnTo>
                    <a:pt x="742" y="152"/>
                  </a:lnTo>
                  <a:lnTo>
                    <a:pt x="750" y="164"/>
                  </a:lnTo>
                  <a:lnTo>
                    <a:pt x="769" y="169"/>
                  </a:lnTo>
                  <a:lnTo>
                    <a:pt x="776" y="183"/>
                  </a:lnTo>
                  <a:lnTo>
                    <a:pt x="808" y="183"/>
                  </a:lnTo>
                  <a:lnTo>
                    <a:pt x="809" y="189"/>
                  </a:lnTo>
                  <a:lnTo>
                    <a:pt x="794" y="188"/>
                  </a:lnTo>
                  <a:lnTo>
                    <a:pt x="771" y="197"/>
                  </a:lnTo>
                  <a:lnTo>
                    <a:pt x="787" y="209"/>
                  </a:lnTo>
                  <a:lnTo>
                    <a:pt x="787" y="219"/>
                  </a:lnTo>
                  <a:lnTo>
                    <a:pt x="791" y="227"/>
                  </a:lnTo>
                  <a:lnTo>
                    <a:pt x="799" y="226"/>
                  </a:lnTo>
                  <a:lnTo>
                    <a:pt x="805" y="214"/>
                  </a:lnTo>
                  <a:lnTo>
                    <a:pt x="836" y="236"/>
                  </a:lnTo>
                  <a:lnTo>
                    <a:pt x="853" y="238"/>
                  </a:lnTo>
                  <a:lnTo>
                    <a:pt x="893" y="258"/>
                  </a:lnTo>
                  <a:lnTo>
                    <a:pt x="901" y="278"/>
                  </a:lnTo>
                  <a:lnTo>
                    <a:pt x="905" y="304"/>
                  </a:lnTo>
                  <a:lnTo>
                    <a:pt x="891" y="311"/>
                  </a:lnTo>
                  <a:lnTo>
                    <a:pt x="881" y="330"/>
                  </a:lnTo>
                  <a:lnTo>
                    <a:pt x="907" y="329"/>
                  </a:lnTo>
                  <a:lnTo>
                    <a:pt x="914" y="323"/>
                  </a:lnTo>
                  <a:lnTo>
                    <a:pt x="934" y="327"/>
                  </a:lnTo>
                  <a:lnTo>
                    <a:pt x="951" y="347"/>
                  </a:lnTo>
                  <a:lnTo>
                    <a:pt x="957" y="269"/>
                  </a:lnTo>
                  <a:lnTo>
                    <a:pt x="960" y="192"/>
                  </a:lnTo>
                  <a:lnTo>
                    <a:pt x="938" y="187"/>
                  </a:lnTo>
                  <a:lnTo>
                    <a:pt x="923" y="179"/>
                  </a:lnTo>
                  <a:lnTo>
                    <a:pt x="905" y="170"/>
                  </a:lnTo>
                  <a:lnTo>
                    <a:pt x="887" y="170"/>
                  </a:lnTo>
                  <a:lnTo>
                    <a:pt x="862" y="184"/>
                  </a:lnTo>
                  <a:lnTo>
                    <a:pt x="844" y="210"/>
                  </a:lnTo>
                  <a:lnTo>
                    <a:pt x="822" y="196"/>
                  </a:lnTo>
                  <a:lnTo>
                    <a:pt x="817" y="157"/>
                  </a:lnTo>
                  <a:close/>
                  <a:moveTo>
                    <a:pt x="631" y="96"/>
                  </a:moveTo>
                  <a:lnTo>
                    <a:pt x="627" y="91"/>
                  </a:lnTo>
                  <a:lnTo>
                    <a:pt x="606" y="108"/>
                  </a:lnTo>
                  <a:lnTo>
                    <a:pt x="582" y="109"/>
                  </a:lnTo>
                  <a:lnTo>
                    <a:pt x="556" y="106"/>
                  </a:lnTo>
                  <a:lnTo>
                    <a:pt x="539" y="99"/>
                  </a:lnTo>
                  <a:lnTo>
                    <a:pt x="521" y="116"/>
                  </a:lnTo>
                  <a:lnTo>
                    <a:pt x="517" y="127"/>
                  </a:lnTo>
                  <a:lnTo>
                    <a:pt x="507" y="162"/>
                  </a:lnTo>
                  <a:lnTo>
                    <a:pt x="503" y="181"/>
                  </a:lnTo>
                  <a:lnTo>
                    <a:pt x="494" y="197"/>
                  </a:lnTo>
                  <a:lnTo>
                    <a:pt x="500" y="212"/>
                  </a:lnTo>
                  <a:lnTo>
                    <a:pt x="508" y="213"/>
                  </a:lnTo>
                  <a:lnTo>
                    <a:pt x="511" y="236"/>
                  </a:lnTo>
                  <a:lnTo>
                    <a:pt x="504" y="258"/>
                  </a:lnTo>
                  <a:lnTo>
                    <a:pt x="512" y="265"/>
                  </a:lnTo>
                  <a:lnTo>
                    <a:pt x="526" y="261"/>
                  </a:lnTo>
                  <a:lnTo>
                    <a:pt x="527" y="227"/>
                  </a:lnTo>
                  <a:lnTo>
                    <a:pt x="526" y="199"/>
                  </a:lnTo>
                  <a:lnTo>
                    <a:pt x="540" y="193"/>
                  </a:lnTo>
                  <a:lnTo>
                    <a:pt x="537" y="215"/>
                  </a:lnTo>
                  <a:lnTo>
                    <a:pt x="552" y="229"/>
                  </a:lnTo>
                  <a:lnTo>
                    <a:pt x="549" y="239"/>
                  </a:lnTo>
                  <a:lnTo>
                    <a:pt x="554" y="245"/>
                  </a:lnTo>
                  <a:lnTo>
                    <a:pt x="575" y="236"/>
                  </a:lnTo>
                  <a:lnTo>
                    <a:pt x="563" y="255"/>
                  </a:lnTo>
                  <a:lnTo>
                    <a:pt x="572" y="264"/>
                  </a:lnTo>
                  <a:lnTo>
                    <a:pt x="583" y="256"/>
                  </a:lnTo>
                  <a:lnTo>
                    <a:pt x="584" y="241"/>
                  </a:lnTo>
                  <a:lnTo>
                    <a:pt x="567" y="213"/>
                  </a:lnTo>
                  <a:lnTo>
                    <a:pt x="571" y="206"/>
                  </a:lnTo>
                  <a:lnTo>
                    <a:pt x="552" y="175"/>
                  </a:lnTo>
                  <a:lnTo>
                    <a:pt x="571" y="166"/>
                  </a:lnTo>
                  <a:lnTo>
                    <a:pt x="580" y="152"/>
                  </a:lnTo>
                  <a:lnTo>
                    <a:pt x="590" y="156"/>
                  </a:lnTo>
                  <a:lnTo>
                    <a:pt x="591" y="144"/>
                  </a:lnTo>
                  <a:lnTo>
                    <a:pt x="552" y="153"/>
                  </a:lnTo>
                  <a:lnTo>
                    <a:pt x="540" y="163"/>
                  </a:lnTo>
                  <a:lnTo>
                    <a:pt x="521" y="142"/>
                  </a:lnTo>
                  <a:lnTo>
                    <a:pt x="525" y="125"/>
                  </a:lnTo>
                  <a:lnTo>
                    <a:pt x="543" y="121"/>
                  </a:lnTo>
                  <a:lnTo>
                    <a:pt x="578" y="120"/>
                  </a:lnTo>
                  <a:lnTo>
                    <a:pt x="598" y="125"/>
                  </a:lnTo>
                  <a:lnTo>
                    <a:pt x="614" y="120"/>
                  </a:lnTo>
                  <a:lnTo>
                    <a:pt x="631" y="96"/>
                  </a:lnTo>
                  <a:lnTo>
                    <a:pt x="631" y="96"/>
                  </a:lnTo>
                  <a:close/>
                  <a:moveTo>
                    <a:pt x="704" y="103"/>
                  </a:moveTo>
                  <a:lnTo>
                    <a:pt x="701" y="94"/>
                  </a:lnTo>
                  <a:lnTo>
                    <a:pt x="689" y="91"/>
                  </a:lnTo>
                  <a:lnTo>
                    <a:pt x="687" y="78"/>
                  </a:lnTo>
                  <a:lnTo>
                    <a:pt x="680" y="86"/>
                  </a:lnTo>
                  <a:lnTo>
                    <a:pt x="676" y="106"/>
                  </a:lnTo>
                  <a:lnTo>
                    <a:pt x="683" y="137"/>
                  </a:lnTo>
                  <a:lnTo>
                    <a:pt x="690" y="152"/>
                  </a:lnTo>
                  <a:lnTo>
                    <a:pt x="697" y="148"/>
                  </a:lnTo>
                  <a:lnTo>
                    <a:pt x="689" y="136"/>
                  </a:lnTo>
                  <a:lnTo>
                    <a:pt x="691" y="122"/>
                  </a:lnTo>
                  <a:lnTo>
                    <a:pt x="703" y="124"/>
                  </a:lnTo>
                  <a:lnTo>
                    <a:pt x="704" y="103"/>
                  </a:lnTo>
                  <a:lnTo>
                    <a:pt x="704" y="103"/>
                  </a:lnTo>
                  <a:close/>
                  <a:moveTo>
                    <a:pt x="476" y="86"/>
                  </a:moveTo>
                  <a:lnTo>
                    <a:pt x="479" y="75"/>
                  </a:lnTo>
                  <a:lnTo>
                    <a:pt x="463" y="53"/>
                  </a:lnTo>
                  <a:lnTo>
                    <a:pt x="474" y="31"/>
                  </a:lnTo>
                  <a:lnTo>
                    <a:pt x="455" y="28"/>
                  </a:lnTo>
                  <a:lnTo>
                    <a:pt x="432" y="28"/>
                  </a:lnTo>
                  <a:lnTo>
                    <a:pt x="425" y="55"/>
                  </a:lnTo>
                  <a:lnTo>
                    <a:pt x="418" y="63"/>
                  </a:lnTo>
                  <a:lnTo>
                    <a:pt x="408" y="96"/>
                  </a:lnTo>
                  <a:lnTo>
                    <a:pt x="391" y="101"/>
                  </a:lnTo>
                  <a:lnTo>
                    <a:pt x="371" y="94"/>
                  </a:lnTo>
                  <a:lnTo>
                    <a:pt x="361" y="97"/>
                  </a:lnTo>
                  <a:lnTo>
                    <a:pt x="349" y="109"/>
                  </a:lnTo>
                  <a:lnTo>
                    <a:pt x="336" y="107"/>
                  </a:lnTo>
                  <a:lnTo>
                    <a:pt x="322" y="112"/>
                  </a:lnTo>
                  <a:lnTo>
                    <a:pt x="308" y="99"/>
                  </a:lnTo>
                  <a:lnTo>
                    <a:pt x="304" y="83"/>
                  </a:lnTo>
                  <a:lnTo>
                    <a:pt x="291" y="98"/>
                  </a:lnTo>
                  <a:lnTo>
                    <a:pt x="289" y="120"/>
                  </a:lnTo>
                  <a:lnTo>
                    <a:pt x="292" y="141"/>
                  </a:lnTo>
                  <a:lnTo>
                    <a:pt x="302" y="161"/>
                  </a:lnTo>
                  <a:lnTo>
                    <a:pt x="312" y="168"/>
                  </a:lnTo>
                  <a:lnTo>
                    <a:pt x="315" y="199"/>
                  </a:lnTo>
                  <a:lnTo>
                    <a:pt x="332" y="202"/>
                  </a:lnTo>
                  <a:lnTo>
                    <a:pt x="345" y="201"/>
                  </a:lnTo>
                  <a:lnTo>
                    <a:pt x="352" y="212"/>
                  </a:lnTo>
                  <a:lnTo>
                    <a:pt x="378" y="204"/>
                  </a:lnTo>
                  <a:lnTo>
                    <a:pt x="388" y="212"/>
                  </a:lnTo>
                  <a:lnTo>
                    <a:pt x="403" y="213"/>
                  </a:lnTo>
                  <a:lnTo>
                    <a:pt x="410" y="227"/>
                  </a:lnTo>
                  <a:lnTo>
                    <a:pt x="435" y="217"/>
                  </a:lnTo>
                  <a:lnTo>
                    <a:pt x="438" y="226"/>
                  </a:lnTo>
                  <a:lnTo>
                    <a:pt x="448" y="189"/>
                  </a:lnTo>
                  <a:lnTo>
                    <a:pt x="449" y="165"/>
                  </a:lnTo>
                  <a:lnTo>
                    <a:pt x="469" y="149"/>
                  </a:lnTo>
                  <a:lnTo>
                    <a:pt x="468" y="127"/>
                  </a:lnTo>
                  <a:lnTo>
                    <a:pt x="475" y="112"/>
                  </a:lnTo>
                  <a:lnTo>
                    <a:pt x="500" y="109"/>
                  </a:lnTo>
                  <a:lnTo>
                    <a:pt x="476" y="86"/>
                  </a:lnTo>
                  <a:lnTo>
                    <a:pt x="476" y="86"/>
                  </a:lnTo>
                  <a:close/>
                  <a:moveTo>
                    <a:pt x="219" y="269"/>
                  </a:moveTo>
                  <a:lnTo>
                    <a:pt x="222" y="232"/>
                  </a:lnTo>
                  <a:lnTo>
                    <a:pt x="228" y="202"/>
                  </a:lnTo>
                  <a:lnTo>
                    <a:pt x="218" y="187"/>
                  </a:lnTo>
                  <a:lnTo>
                    <a:pt x="203" y="185"/>
                  </a:lnTo>
                  <a:lnTo>
                    <a:pt x="196" y="172"/>
                  </a:lnTo>
                  <a:lnTo>
                    <a:pt x="193" y="156"/>
                  </a:lnTo>
                  <a:lnTo>
                    <a:pt x="185" y="156"/>
                  </a:lnTo>
                  <a:lnTo>
                    <a:pt x="173" y="147"/>
                  </a:lnTo>
                  <a:lnTo>
                    <a:pt x="182" y="127"/>
                  </a:lnTo>
                  <a:lnTo>
                    <a:pt x="166" y="116"/>
                  </a:lnTo>
                  <a:lnTo>
                    <a:pt x="154" y="97"/>
                  </a:lnTo>
                  <a:lnTo>
                    <a:pt x="136" y="81"/>
                  </a:lnTo>
                  <a:lnTo>
                    <a:pt x="114" y="80"/>
                  </a:lnTo>
                  <a:lnTo>
                    <a:pt x="94" y="55"/>
                  </a:lnTo>
                  <a:lnTo>
                    <a:pt x="82" y="44"/>
                  </a:lnTo>
                  <a:lnTo>
                    <a:pt x="65" y="29"/>
                  </a:lnTo>
                  <a:lnTo>
                    <a:pt x="45" y="5"/>
                  </a:lnTo>
                  <a:lnTo>
                    <a:pt x="13" y="1"/>
                  </a:lnTo>
                  <a:lnTo>
                    <a:pt x="0" y="0"/>
                  </a:lnTo>
                  <a:lnTo>
                    <a:pt x="1" y="12"/>
                  </a:lnTo>
                  <a:lnTo>
                    <a:pt x="24" y="38"/>
                  </a:lnTo>
                  <a:lnTo>
                    <a:pt x="41" y="51"/>
                  </a:lnTo>
                  <a:lnTo>
                    <a:pt x="52" y="71"/>
                  </a:lnTo>
                  <a:lnTo>
                    <a:pt x="71" y="86"/>
                  </a:lnTo>
                  <a:lnTo>
                    <a:pt x="80" y="105"/>
                  </a:lnTo>
                  <a:lnTo>
                    <a:pt x="85" y="126"/>
                  </a:lnTo>
                  <a:lnTo>
                    <a:pt x="104" y="145"/>
                  </a:lnTo>
                  <a:lnTo>
                    <a:pt x="119" y="179"/>
                  </a:lnTo>
                  <a:lnTo>
                    <a:pt x="129" y="197"/>
                  </a:lnTo>
                  <a:lnTo>
                    <a:pt x="145" y="216"/>
                  </a:lnTo>
                  <a:lnTo>
                    <a:pt x="153" y="230"/>
                  </a:lnTo>
                  <a:lnTo>
                    <a:pt x="179" y="250"/>
                  </a:lnTo>
                  <a:lnTo>
                    <a:pt x="196" y="269"/>
                  </a:lnTo>
                  <a:lnTo>
                    <a:pt x="219" y="269"/>
                  </a:lnTo>
                  <a:lnTo>
                    <a:pt x="219" y="269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0" name="India">
              <a:extLst>
                <a:ext uri="{FF2B5EF4-FFF2-40B4-BE49-F238E27FC236}">
                  <a16:creationId xmlns:a16="http://schemas.microsoft.com/office/drawing/2014/main" id="{05A8A029-9F70-421C-9740-CC44368CCC7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1344" y="2722336"/>
              <a:ext cx="919162" cy="1039812"/>
            </a:xfrm>
            <a:custGeom>
              <a:avLst/>
              <a:gdLst>
                <a:gd name="T0" fmla="*/ 183 w 579"/>
                <a:gd name="T1" fmla="*/ 95 h 655"/>
                <a:gd name="T2" fmla="*/ 184 w 579"/>
                <a:gd name="T3" fmla="*/ 60 h 655"/>
                <a:gd name="T4" fmla="*/ 141 w 579"/>
                <a:gd name="T5" fmla="*/ 0 h 655"/>
                <a:gd name="T6" fmla="*/ 75 w 579"/>
                <a:gd name="T7" fmla="*/ 18 h 655"/>
                <a:gd name="T8" fmla="*/ 90 w 579"/>
                <a:gd name="T9" fmla="*/ 66 h 655"/>
                <a:gd name="T10" fmla="*/ 99 w 579"/>
                <a:gd name="T11" fmla="*/ 108 h 655"/>
                <a:gd name="T12" fmla="*/ 60 w 579"/>
                <a:gd name="T13" fmla="*/ 180 h 655"/>
                <a:gd name="T14" fmla="*/ 32 w 579"/>
                <a:gd name="T15" fmla="*/ 214 h 655"/>
                <a:gd name="T16" fmla="*/ 57 w 579"/>
                <a:gd name="T17" fmla="*/ 265 h 655"/>
                <a:gd name="T18" fmla="*/ 26 w 579"/>
                <a:gd name="T19" fmla="*/ 301 h 655"/>
                <a:gd name="T20" fmla="*/ 54 w 579"/>
                <a:gd name="T21" fmla="*/ 348 h 655"/>
                <a:gd name="T22" fmla="*/ 105 w 579"/>
                <a:gd name="T23" fmla="*/ 359 h 655"/>
                <a:gd name="T24" fmla="*/ 130 w 579"/>
                <a:gd name="T25" fmla="*/ 464 h 655"/>
                <a:gd name="T26" fmla="*/ 165 w 579"/>
                <a:gd name="T27" fmla="*/ 541 h 655"/>
                <a:gd name="T28" fmla="*/ 194 w 579"/>
                <a:gd name="T29" fmla="*/ 599 h 655"/>
                <a:gd name="T30" fmla="*/ 235 w 579"/>
                <a:gd name="T31" fmla="*/ 648 h 655"/>
                <a:gd name="T32" fmla="*/ 253 w 579"/>
                <a:gd name="T33" fmla="*/ 617 h 655"/>
                <a:gd name="T34" fmla="*/ 269 w 579"/>
                <a:gd name="T35" fmla="*/ 558 h 655"/>
                <a:gd name="T36" fmla="*/ 267 w 579"/>
                <a:gd name="T37" fmla="*/ 485 h 655"/>
                <a:gd name="T38" fmla="*/ 299 w 579"/>
                <a:gd name="T39" fmla="*/ 457 h 655"/>
                <a:gd name="T40" fmla="*/ 326 w 579"/>
                <a:gd name="T41" fmla="*/ 424 h 655"/>
                <a:gd name="T42" fmla="*/ 387 w 579"/>
                <a:gd name="T43" fmla="*/ 365 h 655"/>
                <a:gd name="T44" fmla="*/ 418 w 579"/>
                <a:gd name="T45" fmla="*/ 328 h 655"/>
                <a:gd name="T46" fmla="*/ 427 w 579"/>
                <a:gd name="T47" fmla="*/ 300 h 655"/>
                <a:gd name="T48" fmla="*/ 405 w 579"/>
                <a:gd name="T49" fmla="*/ 262 h 655"/>
                <a:gd name="T50" fmla="*/ 403 w 579"/>
                <a:gd name="T51" fmla="*/ 232 h 655"/>
                <a:gd name="T52" fmla="*/ 435 w 579"/>
                <a:gd name="T53" fmla="*/ 227 h 655"/>
                <a:gd name="T54" fmla="*/ 478 w 579"/>
                <a:gd name="T55" fmla="*/ 247 h 655"/>
                <a:gd name="T56" fmla="*/ 476 w 579"/>
                <a:gd name="T57" fmla="*/ 272 h 655"/>
                <a:gd name="T58" fmla="*/ 486 w 579"/>
                <a:gd name="T59" fmla="*/ 283 h 655"/>
                <a:gd name="T60" fmla="*/ 518 w 579"/>
                <a:gd name="T61" fmla="*/ 315 h 655"/>
                <a:gd name="T62" fmla="*/ 514 w 579"/>
                <a:gd name="T63" fmla="*/ 272 h 655"/>
                <a:gd name="T64" fmla="*/ 535 w 579"/>
                <a:gd name="T65" fmla="*/ 246 h 655"/>
                <a:gd name="T66" fmla="*/ 562 w 579"/>
                <a:gd name="T67" fmla="*/ 196 h 655"/>
                <a:gd name="T68" fmla="*/ 579 w 579"/>
                <a:gd name="T69" fmla="*/ 181 h 655"/>
                <a:gd name="T70" fmla="*/ 558 w 579"/>
                <a:gd name="T71" fmla="*/ 159 h 655"/>
                <a:gd name="T72" fmla="*/ 514 w 579"/>
                <a:gd name="T73" fmla="*/ 149 h 655"/>
                <a:gd name="T74" fmla="*/ 464 w 579"/>
                <a:gd name="T75" fmla="*/ 184 h 655"/>
                <a:gd name="T76" fmla="*/ 460 w 579"/>
                <a:gd name="T77" fmla="*/ 207 h 655"/>
                <a:gd name="T78" fmla="*/ 409 w 579"/>
                <a:gd name="T79" fmla="*/ 200 h 655"/>
                <a:gd name="T80" fmla="*/ 391 w 579"/>
                <a:gd name="T81" fmla="*/ 181 h 655"/>
                <a:gd name="T82" fmla="*/ 397 w 579"/>
                <a:gd name="T83" fmla="*/ 216 h 655"/>
                <a:gd name="T84" fmla="*/ 338 w 579"/>
                <a:gd name="T85" fmla="*/ 208 h 655"/>
                <a:gd name="T86" fmla="*/ 267 w 579"/>
                <a:gd name="T87" fmla="*/ 180 h 655"/>
                <a:gd name="T88" fmla="*/ 227 w 579"/>
                <a:gd name="T89" fmla="*/ 138 h 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79" h="655">
                  <a:moveTo>
                    <a:pt x="237" y="126"/>
                  </a:moveTo>
                  <a:lnTo>
                    <a:pt x="206" y="110"/>
                  </a:lnTo>
                  <a:lnTo>
                    <a:pt x="183" y="95"/>
                  </a:lnTo>
                  <a:lnTo>
                    <a:pt x="171" y="69"/>
                  </a:lnTo>
                  <a:lnTo>
                    <a:pt x="186" y="72"/>
                  </a:lnTo>
                  <a:lnTo>
                    <a:pt x="184" y="60"/>
                  </a:lnTo>
                  <a:lnTo>
                    <a:pt x="173" y="48"/>
                  </a:lnTo>
                  <a:lnTo>
                    <a:pt x="170" y="28"/>
                  </a:lnTo>
                  <a:lnTo>
                    <a:pt x="141" y="0"/>
                  </a:lnTo>
                  <a:lnTo>
                    <a:pt x="127" y="21"/>
                  </a:lnTo>
                  <a:lnTo>
                    <a:pt x="107" y="25"/>
                  </a:lnTo>
                  <a:lnTo>
                    <a:pt x="75" y="18"/>
                  </a:lnTo>
                  <a:lnTo>
                    <a:pt x="67" y="29"/>
                  </a:lnTo>
                  <a:lnTo>
                    <a:pt x="80" y="50"/>
                  </a:lnTo>
                  <a:lnTo>
                    <a:pt x="90" y="66"/>
                  </a:lnTo>
                  <a:lnTo>
                    <a:pt x="109" y="78"/>
                  </a:lnTo>
                  <a:lnTo>
                    <a:pt x="95" y="91"/>
                  </a:lnTo>
                  <a:lnTo>
                    <a:pt x="99" y="108"/>
                  </a:lnTo>
                  <a:lnTo>
                    <a:pt x="84" y="132"/>
                  </a:lnTo>
                  <a:lnTo>
                    <a:pt x="77" y="156"/>
                  </a:lnTo>
                  <a:lnTo>
                    <a:pt x="60" y="180"/>
                  </a:lnTo>
                  <a:lnTo>
                    <a:pt x="36" y="179"/>
                  </a:lnTo>
                  <a:lnTo>
                    <a:pt x="17" y="204"/>
                  </a:lnTo>
                  <a:lnTo>
                    <a:pt x="32" y="214"/>
                  </a:lnTo>
                  <a:lnTo>
                    <a:pt x="38" y="233"/>
                  </a:lnTo>
                  <a:lnTo>
                    <a:pt x="51" y="245"/>
                  </a:lnTo>
                  <a:lnTo>
                    <a:pt x="57" y="265"/>
                  </a:lnTo>
                  <a:lnTo>
                    <a:pt x="12" y="265"/>
                  </a:lnTo>
                  <a:lnTo>
                    <a:pt x="0" y="281"/>
                  </a:lnTo>
                  <a:lnTo>
                    <a:pt x="26" y="301"/>
                  </a:lnTo>
                  <a:lnTo>
                    <a:pt x="34" y="310"/>
                  </a:lnTo>
                  <a:lnTo>
                    <a:pt x="25" y="319"/>
                  </a:lnTo>
                  <a:lnTo>
                    <a:pt x="54" y="348"/>
                  </a:lnTo>
                  <a:lnTo>
                    <a:pt x="69" y="350"/>
                  </a:lnTo>
                  <a:lnTo>
                    <a:pt x="98" y="336"/>
                  </a:lnTo>
                  <a:lnTo>
                    <a:pt x="105" y="359"/>
                  </a:lnTo>
                  <a:lnTo>
                    <a:pt x="108" y="388"/>
                  </a:lnTo>
                  <a:lnTo>
                    <a:pt x="117" y="418"/>
                  </a:lnTo>
                  <a:lnTo>
                    <a:pt x="130" y="464"/>
                  </a:lnTo>
                  <a:lnTo>
                    <a:pt x="152" y="497"/>
                  </a:lnTo>
                  <a:lnTo>
                    <a:pt x="157" y="511"/>
                  </a:lnTo>
                  <a:lnTo>
                    <a:pt x="165" y="541"/>
                  </a:lnTo>
                  <a:lnTo>
                    <a:pt x="177" y="564"/>
                  </a:lnTo>
                  <a:lnTo>
                    <a:pt x="185" y="575"/>
                  </a:lnTo>
                  <a:lnTo>
                    <a:pt x="194" y="599"/>
                  </a:lnTo>
                  <a:lnTo>
                    <a:pt x="206" y="632"/>
                  </a:lnTo>
                  <a:lnTo>
                    <a:pt x="226" y="655"/>
                  </a:lnTo>
                  <a:lnTo>
                    <a:pt x="235" y="648"/>
                  </a:lnTo>
                  <a:lnTo>
                    <a:pt x="241" y="631"/>
                  </a:lnTo>
                  <a:lnTo>
                    <a:pt x="260" y="625"/>
                  </a:lnTo>
                  <a:lnTo>
                    <a:pt x="253" y="617"/>
                  </a:lnTo>
                  <a:lnTo>
                    <a:pt x="262" y="599"/>
                  </a:lnTo>
                  <a:lnTo>
                    <a:pt x="272" y="598"/>
                  </a:lnTo>
                  <a:lnTo>
                    <a:pt x="269" y="558"/>
                  </a:lnTo>
                  <a:lnTo>
                    <a:pt x="277" y="535"/>
                  </a:lnTo>
                  <a:lnTo>
                    <a:pt x="274" y="515"/>
                  </a:lnTo>
                  <a:lnTo>
                    <a:pt x="267" y="485"/>
                  </a:lnTo>
                  <a:lnTo>
                    <a:pt x="271" y="466"/>
                  </a:lnTo>
                  <a:lnTo>
                    <a:pt x="280" y="465"/>
                  </a:lnTo>
                  <a:lnTo>
                    <a:pt x="299" y="457"/>
                  </a:lnTo>
                  <a:lnTo>
                    <a:pt x="308" y="450"/>
                  </a:lnTo>
                  <a:lnTo>
                    <a:pt x="307" y="440"/>
                  </a:lnTo>
                  <a:lnTo>
                    <a:pt x="326" y="424"/>
                  </a:lnTo>
                  <a:lnTo>
                    <a:pt x="340" y="409"/>
                  </a:lnTo>
                  <a:lnTo>
                    <a:pt x="360" y="381"/>
                  </a:lnTo>
                  <a:lnTo>
                    <a:pt x="387" y="365"/>
                  </a:lnTo>
                  <a:lnTo>
                    <a:pt x="396" y="351"/>
                  </a:lnTo>
                  <a:lnTo>
                    <a:pt x="392" y="334"/>
                  </a:lnTo>
                  <a:lnTo>
                    <a:pt x="418" y="328"/>
                  </a:lnTo>
                  <a:lnTo>
                    <a:pt x="432" y="329"/>
                  </a:lnTo>
                  <a:lnTo>
                    <a:pt x="433" y="320"/>
                  </a:lnTo>
                  <a:lnTo>
                    <a:pt x="427" y="300"/>
                  </a:lnTo>
                  <a:lnTo>
                    <a:pt x="418" y="282"/>
                  </a:lnTo>
                  <a:lnTo>
                    <a:pt x="419" y="268"/>
                  </a:lnTo>
                  <a:lnTo>
                    <a:pt x="405" y="262"/>
                  </a:lnTo>
                  <a:lnTo>
                    <a:pt x="408" y="253"/>
                  </a:lnTo>
                  <a:lnTo>
                    <a:pt x="419" y="244"/>
                  </a:lnTo>
                  <a:lnTo>
                    <a:pt x="403" y="232"/>
                  </a:lnTo>
                  <a:lnTo>
                    <a:pt x="407" y="216"/>
                  </a:lnTo>
                  <a:lnTo>
                    <a:pt x="425" y="225"/>
                  </a:lnTo>
                  <a:lnTo>
                    <a:pt x="435" y="227"/>
                  </a:lnTo>
                  <a:lnTo>
                    <a:pt x="439" y="244"/>
                  </a:lnTo>
                  <a:lnTo>
                    <a:pt x="460" y="247"/>
                  </a:lnTo>
                  <a:lnTo>
                    <a:pt x="478" y="247"/>
                  </a:lnTo>
                  <a:lnTo>
                    <a:pt x="491" y="250"/>
                  </a:lnTo>
                  <a:lnTo>
                    <a:pt x="485" y="270"/>
                  </a:lnTo>
                  <a:lnTo>
                    <a:pt x="476" y="272"/>
                  </a:lnTo>
                  <a:lnTo>
                    <a:pt x="472" y="285"/>
                  </a:lnTo>
                  <a:lnTo>
                    <a:pt x="485" y="298"/>
                  </a:lnTo>
                  <a:lnTo>
                    <a:pt x="486" y="283"/>
                  </a:lnTo>
                  <a:lnTo>
                    <a:pt x="491" y="282"/>
                  </a:lnTo>
                  <a:lnTo>
                    <a:pt x="508" y="321"/>
                  </a:lnTo>
                  <a:lnTo>
                    <a:pt x="518" y="315"/>
                  </a:lnTo>
                  <a:lnTo>
                    <a:pt x="514" y="305"/>
                  </a:lnTo>
                  <a:lnTo>
                    <a:pt x="518" y="296"/>
                  </a:lnTo>
                  <a:lnTo>
                    <a:pt x="514" y="272"/>
                  </a:lnTo>
                  <a:lnTo>
                    <a:pt x="531" y="278"/>
                  </a:lnTo>
                  <a:lnTo>
                    <a:pt x="536" y="258"/>
                  </a:lnTo>
                  <a:lnTo>
                    <a:pt x="535" y="246"/>
                  </a:lnTo>
                  <a:lnTo>
                    <a:pt x="544" y="226"/>
                  </a:lnTo>
                  <a:lnTo>
                    <a:pt x="540" y="212"/>
                  </a:lnTo>
                  <a:lnTo>
                    <a:pt x="562" y="196"/>
                  </a:lnTo>
                  <a:lnTo>
                    <a:pt x="578" y="200"/>
                  </a:lnTo>
                  <a:lnTo>
                    <a:pt x="574" y="186"/>
                  </a:lnTo>
                  <a:lnTo>
                    <a:pt x="579" y="181"/>
                  </a:lnTo>
                  <a:lnTo>
                    <a:pt x="575" y="172"/>
                  </a:lnTo>
                  <a:lnTo>
                    <a:pt x="553" y="169"/>
                  </a:lnTo>
                  <a:lnTo>
                    <a:pt x="558" y="159"/>
                  </a:lnTo>
                  <a:lnTo>
                    <a:pt x="545" y="144"/>
                  </a:lnTo>
                  <a:lnTo>
                    <a:pt x="532" y="154"/>
                  </a:lnTo>
                  <a:lnTo>
                    <a:pt x="514" y="149"/>
                  </a:lnTo>
                  <a:lnTo>
                    <a:pt x="494" y="164"/>
                  </a:lnTo>
                  <a:lnTo>
                    <a:pt x="480" y="181"/>
                  </a:lnTo>
                  <a:lnTo>
                    <a:pt x="464" y="184"/>
                  </a:lnTo>
                  <a:lnTo>
                    <a:pt x="475" y="192"/>
                  </a:lnTo>
                  <a:lnTo>
                    <a:pt x="475" y="207"/>
                  </a:lnTo>
                  <a:lnTo>
                    <a:pt x="460" y="207"/>
                  </a:lnTo>
                  <a:lnTo>
                    <a:pt x="442" y="206"/>
                  </a:lnTo>
                  <a:lnTo>
                    <a:pt x="430" y="209"/>
                  </a:lnTo>
                  <a:lnTo>
                    <a:pt x="409" y="200"/>
                  </a:lnTo>
                  <a:lnTo>
                    <a:pt x="408" y="195"/>
                  </a:lnTo>
                  <a:lnTo>
                    <a:pt x="403" y="177"/>
                  </a:lnTo>
                  <a:lnTo>
                    <a:pt x="391" y="181"/>
                  </a:lnTo>
                  <a:lnTo>
                    <a:pt x="391" y="192"/>
                  </a:lnTo>
                  <a:lnTo>
                    <a:pt x="397" y="207"/>
                  </a:lnTo>
                  <a:lnTo>
                    <a:pt x="397" y="216"/>
                  </a:lnTo>
                  <a:lnTo>
                    <a:pt x="379" y="217"/>
                  </a:lnTo>
                  <a:lnTo>
                    <a:pt x="354" y="211"/>
                  </a:lnTo>
                  <a:lnTo>
                    <a:pt x="338" y="208"/>
                  </a:lnTo>
                  <a:lnTo>
                    <a:pt x="324" y="197"/>
                  </a:lnTo>
                  <a:lnTo>
                    <a:pt x="295" y="194"/>
                  </a:lnTo>
                  <a:lnTo>
                    <a:pt x="267" y="180"/>
                  </a:lnTo>
                  <a:lnTo>
                    <a:pt x="245" y="169"/>
                  </a:lnTo>
                  <a:lnTo>
                    <a:pt x="224" y="160"/>
                  </a:lnTo>
                  <a:lnTo>
                    <a:pt x="227" y="138"/>
                  </a:lnTo>
                  <a:lnTo>
                    <a:pt x="237" y="126"/>
                  </a:lnTo>
                  <a:lnTo>
                    <a:pt x="237" y="126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1" name="Ireland">
              <a:extLst>
                <a:ext uri="{FF2B5EF4-FFF2-40B4-BE49-F238E27FC236}">
                  <a16:creationId xmlns:a16="http://schemas.microsoft.com/office/drawing/2014/main" id="{89CD4781-397E-4B9C-8AAA-DA918D99E6E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1031" y="1998437"/>
              <a:ext cx="114300" cy="123825"/>
            </a:xfrm>
            <a:custGeom>
              <a:avLst/>
              <a:gdLst>
                <a:gd name="T0" fmla="*/ 69 w 72"/>
                <a:gd name="T1" fmla="*/ 29 h 78"/>
                <a:gd name="T2" fmla="*/ 56 w 72"/>
                <a:gd name="T3" fmla="*/ 24 h 78"/>
                <a:gd name="T4" fmla="*/ 46 w 72"/>
                <a:gd name="T5" fmla="*/ 24 h 78"/>
                <a:gd name="T6" fmla="*/ 50 w 72"/>
                <a:gd name="T7" fmla="*/ 12 h 78"/>
                <a:gd name="T8" fmla="*/ 47 w 72"/>
                <a:gd name="T9" fmla="*/ 0 h 78"/>
                <a:gd name="T10" fmla="*/ 33 w 72"/>
                <a:gd name="T11" fmla="*/ 11 h 78"/>
                <a:gd name="T12" fmla="*/ 8 w 72"/>
                <a:gd name="T13" fmla="*/ 28 h 78"/>
                <a:gd name="T14" fmla="*/ 16 w 72"/>
                <a:gd name="T15" fmla="*/ 51 h 78"/>
                <a:gd name="T16" fmla="*/ 0 w 72"/>
                <a:gd name="T17" fmla="*/ 74 h 78"/>
                <a:gd name="T18" fmla="*/ 25 w 72"/>
                <a:gd name="T19" fmla="*/ 78 h 78"/>
                <a:gd name="T20" fmla="*/ 57 w 72"/>
                <a:gd name="T21" fmla="*/ 65 h 78"/>
                <a:gd name="T22" fmla="*/ 72 w 72"/>
                <a:gd name="T23" fmla="*/ 45 h 78"/>
                <a:gd name="T24" fmla="*/ 69 w 72"/>
                <a:gd name="T25" fmla="*/ 29 h 78"/>
                <a:gd name="T26" fmla="*/ 69 w 72"/>
                <a:gd name="T27" fmla="*/ 2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2" h="78">
                  <a:moveTo>
                    <a:pt x="69" y="29"/>
                  </a:moveTo>
                  <a:lnTo>
                    <a:pt x="56" y="24"/>
                  </a:lnTo>
                  <a:lnTo>
                    <a:pt x="46" y="24"/>
                  </a:lnTo>
                  <a:lnTo>
                    <a:pt x="50" y="12"/>
                  </a:lnTo>
                  <a:lnTo>
                    <a:pt x="47" y="0"/>
                  </a:lnTo>
                  <a:lnTo>
                    <a:pt x="33" y="11"/>
                  </a:lnTo>
                  <a:lnTo>
                    <a:pt x="8" y="28"/>
                  </a:lnTo>
                  <a:lnTo>
                    <a:pt x="16" y="51"/>
                  </a:lnTo>
                  <a:lnTo>
                    <a:pt x="0" y="74"/>
                  </a:lnTo>
                  <a:lnTo>
                    <a:pt x="25" y="78"/>
                  </a:lnTo>
                  <a:lnTo>
                    <a:pt x="57" y="65"/>
                  </a:lnTo>
                  <a:lnTo>
                    <a:pt x="72" y="45"/>
                  </a:lnTo>
                  <a:lnTo>
                    <a:pt x="69" y="29"/>
                  </a:lnTo>
                  <a:lnTo>
                    <a:pt x="69" y="29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2" name="Iran">
              <a:extLst>
                <a:ext uri="{FF2B5EF4-FFF2-40B4-BE49-F238E27FC236}">
                  <a16:creationId xmlns:a16="http://schemas.microsoft.com/office/drawing/2014/main" id="{428A85B1-4C56-4204-94AB-8BC3D7ABAAF9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4094" y="2560412"/>
              <a:ext cx="685800" cy="555625"/>
            </a:xfrm>
            <a:custGeom>
              <a:avLst/>
              <a:gdLst>
                <a:gd name="T0" fmla="*/ 16 w 432"/>
                <a:gd name="T1" fmla="*/ 10 h 350"/>
                <a:gd name="T2" fmla="*/ 0 w 432"/>
                <a:gd name="T3" fmla="*/ 8 h 350"/>
                <a:gd name="T4" fmla="*/ 8 w 432"/>
                <a:gd name="T5" fmla="*/ 42 h 350"/>
                <a:gd name="T6" fmla="*/ 22 w 432"/>
                <a:gd name="T7" fmla="*/ 62 h 350"/>
                <a:gd name="T8" fmla="*/ 53 w 432"/>
                <a:gd name="T9" fmla="*/ 98 h 350"/>
                <a:gd name="T10" fmla="*/ 48 w 432"/>
                <a:gd name="T11" fmla="*/ 120 h 350"/>
                <a:gd name="T12" fmla="*/ 64 w 432"/>
                <a:gd name="T13" fmla="*/ 162 h 350"/>
                <a:gd name="T14" fmla="*/ 103 w 432"/>
                <a:gd name="T15" fmla="*/ 193 h 350"/>
                <a:gd name="T16" fmla="*/ 109 w 432"/>
                <a:gd name="T17" fmla="*/ 210 h 350"/>
                <a:gd name="T18" fmla="*/ 123 w 432"/>
                <a:gd name="T19" fmla="*/ 235 h 350"/>
                <a:gd name="T20" fmla="*/ 143 w 432"/>
                <a:gd name="T21" fmla="*/ 234 h 350"/>
                <a:gd name="T22" fmla="*/ 172 w 432"/>
                <a:gd name="T23" fmla="*/ 261 h 350"/>
                <a:gd name="T24" fmla="*/ 210 w 432"/>
                <a:gd name="T25" fmla="*/ 291 h 350"/>
                <a:gd name="T26" fmla="*/ 258 w 432"/>
                <a:gd name="T27" fmla="*/ 317 h 350"/>
                <a:gd name="T28" fmla="*/ 292 w 432"/>
                <a:gd name="T29" fmla="*/ 301 h 350"/>
                <a:gd name="T30" fmla="*/ 314 w 432"/>
                <a:gd name="T31" fmla="*/ 335 h 350"/>
                <a:gd name="T32" fmla="*/ 361 w 432"/>
                <a:gd name="T33" fmla="*/ 343 h 350"/>
                <a:gd name="T34" fmla="*/ 404 w 432"/>
                <a:gd name="T35" fmla="*/ 323 h 350"/>
                <a:gd name="T36" fmla="*/ 428 w 432"/>
                <a:gd name="T37" fmla="*/ 299 h 350"/>
                <a:gd name="T38" fmla="*/ 415 w 432"/>
                <a:gd name="T39" fmla="*/ 274 h 350"/>
                <a:gd name="T40" fmla="*/ 383 w 432"/>
                <a:gd name="T41" fmla="*/ 250 h 350"/>
                <a:gd name="T42" fmla="*/ 386 w 432"/>
                <a:gd name="T43" fmla="*/ 215 h 350"/>
                <a:gd name="T44" fmla="*/ 366 w 432"/>
                <a:gd name="T45" fmla="*/ 197 h 350"/>
                <a:gd name="T46" fmla="*/ 352 w 432"/>
                <a:gd name="T47" fmla="*/ 163 h 350"/>
                <a:gd name="T48" fmla="*/ 348 w 432"/>
                <a:gd name="T49" fmla="*/ 146 h 350"/>
                <a:gd name="T50" fmla="*/ 352 w 432"/>
                <a:gd name="T51" fmla="*/ 99 h 350"/>
                <a:gd name="T52" fmla="*/ 331 w 432"/>
                <a:gd name="T53" fmla="*/ 77 h 350"/>
                <a:gd name="T54" fmla="*/ 288 w 432"/>
                <a:gd name="T55" fmla="*/ 54 h 350"/>
                <a:gd name="T56" fmla="*/ 250 w 432"/>
                <a:gd name="T57" fmla="*/ 39 h 350"/>
                <a:gd name="T58" fmla="*/ 228 w 432"/>
                <a:gd name="T59" fmla="*/ 42 h 350"/>
                <a:gd name="T60" fmla="*/ 201 w 432"/>
                <a:gd name="T61" fmla="*/ 61 h 350"/>
                <a:gd name="T62" fmla="*/ 171 w 432"/>
                <a:gd name="T63" fmla="*/ 73 h 350"/>
                <a:gd name="T64" fmla="*/ 127 w 432"/>
                <a:gd name="T65" fmla="*/ 57 h 350"/>
                <a:gd name="T66" fmla="*/ 98 w 432"/>
                <a:gd name="T67" fmla="*/ 34 h 350"/>
                <a:gd name="T68" fmla="*/ 79 w 432"/>
                <a:gd name="T69" fmla="*/ 23 h 350"/>
                <a:gd name="T70" fmla="*/ 76 w 432"/>
                <a:gd name="T71" fmla="*/ 4 h 350"/>
                <a:gd name="T72" fmla="*/ 49 w 432"/>
                <a:gd name="T73" fmla="*/ 23 h 350"/>
                <a:gd name="T74" fmla="*/ 29 w 432"/>
                <a:gd name="T75" fmla="*/ 21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32" h="350">
                  <a:moveTo>
                    <a:pt x="29" y="21"/>
                  </a:moveTo>
                  <a:lnTo>
                    <a:pt x="16" y="10"/>
                  </a:lnTo>
                  <a:lnTo>
                    <a:pt x="12" y="0"/>
                  </a:lnTo>
                  <a:lnTo>
                    <a:pt x="0" y="8"/>
                  </a:lnTo>
                  <a:lnTo>
                    <a:pt x="11" y="35"/>
                  </a:lnTo>
                  <a:lnTo>
                    <a:pt x="8" y="42"/>
                  </a:lnTo>
                  <a:lnTo>
                    <a:pt x="22" y="62"/>
                  </a:lnTo>
                  <a:lnTo>
                    <a:pt x="22" y="62"/>
                  </a:lnTo>
                  <a:lnTo>
                    <a:pt x="40" y="91"/>
                  </a:lnTo>
                  <a:lnTo>
                    <a:pt x="53" y="98"/>
                  </a:lnTo>
                  <a:lnTo>
                    <a:pt x="57" y="113"/>
                  </a:lnTo>
                  <a:lnTo>
                    <a:pt x="48" y="120"/>
                  </a:lnTo>
                  <a:lnTo>
                    <a:pt x="46" y="139"/>
                  </a:lnTo>
                  <a:lnTo>
                    <a:pt x="64" y="162"/>
                  </a:lnTo>
                  <a:lnTo>
                    <a:pt x="90" y="174"/>
                  </a:lnTo>
                  <a:lnTo>
                    <a:pt x="103" y="193"/>
                  </a:lnTo>
                  <a:lnTo>
                    <a:pt x="102" y="210"/>
                  </a:lnTo>
                  <a:lnTo>
                    <a:pt x="109" y="210"/>
                  </a:lnTo>
                  <a:lnTo>
                    <a:pt x="111" y="223"/>
                  </a:lnTo>
                  <a:lnTo>
                    <a:pt x="123" y="235"/>
                  </a:lnTo>
                  <a:lnTo>
                    <a:pt x="129" y="225"/>
                  </a:lnTo>
                  <a:lnTo>
                    <a:pt x="143" y="234"/>
                  </a:lnTo>
                  <a:lnTo>
                    <a:pt x="154" y="230"/>
                  </a:lnTo>
                  <a:lnTo>
                    <a:pt x="172" y="261"/>
                  </a:lnTo>
                  <a:lnTo>
                    <a:pt x="189" y="284"/>
                  </a:lnTo>
                  <a:lnTo>
                    <a:pt x="210" y="291"/>
                  </a:lnTo>
                  <a:lnTo>
                    <a:pt x="232" y="309"/>
                  </a:lnTo>
                  <a:lnTo>
                    <a:pt x="258" y="317"/>
                  </a:lnTo>
                  <a:lnTo>
                    <a:pt x="277" y="305"/>
                  </a:lnTo>
                  <a:lnTo>
                    <a:pt x="292" y="301"/>
                  </a:lnTo>
                  <a:lnTo>
                    <a:pt x="302" y="305"/>
                  </a:lnTo>
                  <a:lnTo>
                    <a:pt x="314" y="335"/>
                  </a:lnTo>
                  <a:lnTo>
                    <a:pt x="338" y="338"/>
                  </a:lnTo>
                  <a:lnTo>
                    <a:pt x="361" y="343"/>
                  </a:lnTo>
                  <a:lnTo>
                    <a:pt x="400" y="350"/>
                  </a:lnTo>
                  <a:lnTo>
                    <a:pt x="404" y="323"/>
                  </a:lnTo>
                  <a:lnTo>
                    <a:pt x="432" y="310"/>
                  </a:lnTo>
                  <a:lnTo>
                    <a:pt x="428" y="299"/>
                  </a:lnTo>
                  <a:lnTo>
                    <a:pt x="419" y="296"/>
                  </a:lnTo>
                  <a:lnTo>
                    <a:pt x="415" y="274"/>
                  </a:lnTo>
                  <a:lnTo>
                    <a:pt x="394" y="264"/>
                  </a:lnTo>
                  <a:lnTo>
                    <a:pt x="383" y="250"/>
                  </a:lnTo>
                  <a:lnTo>
                    <a:pt x="371" y="238"/>
                  </a:lnTo>
                  <a:lnTo>
                    <a:pt x="386" y="215"/>
                  </a:lnTo>
                  <a:lnTo>
                    <a:pt x="382" y="200"/>
                  </a:lnTo>
                  <a:lnTo>
                    <a:pt x="366" y="197"/>
                  </a:lnTo>
                  <a:lnTo>
                    <a:pt x="362" y="182"/>
                  </a:lnTo>
                  <a:lnTo>
                    <a:pt x="352" y="163"/>
                  </a:lnTo>
                  <a:lnTo>
                    <a:pt x="357" y="150"/>
                  </a:lnTo>
                  <a:lnTo>
                    <a:pt x="348" y="146"/>
                  </a:lnTo>
                  <a:lnTo>
                    <a:pt x="350" y="128"/>
                  </a:lnTo>
                  <a:lnTo>
                    <a:pt x="352" y="99"/>
                  </a:lnTo>
                  <a:lnTo>
                    <a:pt x="346" y="78"/>
                  </a:lnTo>
                  <a:lnTo>
                    <a:pt x="331" y="77"/>
                  </a:lnTo>
                  <a:lnTo>
                    <a:pt x="304" y="57"/>
                  </a:lnTo>
                  <a:lnTo>
                    <a:pt x="288" y="54"/>
                  </a:lnTo>
                  <a:lnTo>
                    <a:pt x="264" y="42"/>
                  </a:lnTo>
                  <a:lnTo>
                    <a:pt x="250" y="39"/>
                  </a:lnTo>
                  <a:lnTo>
                    <a:pt x="241" y="43"/>
                  </a:lnTo>
                  <a:lnTo>
                    <a:pt x="228" y="42"/>
                  </a:lnTo>
                  <a:lnTo>
                    <a:pt x="217" y="57"/>
                  </a:lnTo>
                  <a:lnTo>
                    <a:pt x="201" y="61"/>
                  </a:lnTo>
                  <a:lnTo>
                    <a:pt x="200" y="67"/>
                  </a:lnTo>
                  <a:lnTo>
                    <a:pt x="171" y="73"/>
                  </a:lnTo>
                  <a:lnTo>
                    <a:pt x="143" y="70"/>
                  </a:lnTo>
                  <a:lnTo>
                    <a:pt x="127" y="57"/>
                  </a:lnTo>
                  <a:lnTo>
                    <a:pt x="107" y="52"/>
                  </a:lnTo>
                  <a:lnTo>
                    <a:pt x="98" y="34"/>
                  </a:lnTo>
                  <a:lnTo>
                    <a:pt x="93" y="35"/>
                  </a:lnTo>
                  <a:lnTo>
                    <a:pt x="79" y="23"/>
                  </a:lnTo>
                  <a:lnTo>
                    <a:pt x="83" y="11"/>
                  </a:lnTo>
                  <a:lnTo>
                    <a:pt x="76" y="4"/>
                  </a:lnTo>
                  <a:lnTo>
                    <a:pt x="69" y="6"/>
                  </a:lnTo>
                  <a:lnTo>
                    <a:pt x="49" y="23"/>
                  </a:lnTo>
                  <a:lnTo>
                    <a:pt x="43" y="24"/>
                  </a:lnTo>
                  <a:lnTo>
                    <a:pt x="29" y="21"/>
                  </a:lnTo>
                  <a:lnTo>
                    <a:pt x="29" y="21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3" name="Irak">
              <a:extLst>
                <a:ext uri="{FF2B5EF4-FFF2-40B4-BE49-F238E27FC236}">
                  <a16:creationId xmlns:a16="http://schemas.microsoft.com/office/drawing/2014/main" id="{45F5CF97-67C6-4230-A242-40AA70E37F0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2331" y="2650899"/>
              <a:ext cx="327025" cy="312738"/>
            </a:xfrm>
            <a:custGeom>
              <a:avLst/>
              <a:gdLst>
                <a:gd name="T0" fmla="*/ 88 w 206"/>
                <a:gd name="T1" fmla="*/ 3 h 197"/>
                <a:gd name="T2" fmla="*/ 65 w 206"/>
                <a:gd name="T3" fmla="*/ 0 h 197"/>
                <a:gd name="T4" fmla="*/ 57 w 206"/>
                <a:gd name="T5" fmla="*/ 3 h 197"/>
                <a:gd name="T6" fmla="*/ 50 w 206"/>
                <a:gd name="T7" fmla="*/ 18 h 197"/>
                <a:gd name="T8" fmla="*/ 40 w 206"/>
                <a:gd name="T9" fmla="*/ 25 h 197"/>
                <a:gd name="T10" fmla="*/ 44 w 206"/>
                <a:gd name="T11" fmla="*/ 42 h 197"/>
                <a:gd name="T12" fmla="*/ 41 w 206"/>
                <a:gd name="T13" fmla="*/ 71 h 197"/>
                <a:gd name="T14" fmla="*/ 0 w 206"/>
                <a:gd name="T15" fmla="*/ 97 h 197"/>
                <a:gd name="T16" fmla="*/ 11 w 206"/>
                <a:gd name="T17" fmla="*/ 125 h 197"/>
                <a:gd name="T18" fmla="*/ 36 w 206"/>
                <a:gd name="T19" fmla="*/ 131 h 197"/>
                <a:gd name="T20" fmla="*/ 68 w 206"/>
                <a:gd name="T21" fmla="*/ 148 h 197"/>
                <a:gd name="T22" fmla="*/ 130 w 206"/>
                <a:gd name="T23" fmla="*/ 196 h 197"/>
                <a:gd name="T24" fmla="*/ 169 w 206"/>
                <a:gd name="T25" fmla="*/ 197 h 197"/>
                <a:gd name="T26" fmla="*/ 181 w 206"/>
                <a:gd name="T27" fmla="*/ 175 h 197"/>
                <a:gd name="T28" fmla="*/ 194 w 206"/>
                <a:gd name="T29" fmla="*/ 177 h 197"/>
                <a:gd name="T30" fmla="*/ 206 w 206"/>
                <a:gd name="T31" fmla="*/ 178 h 197"/>
                <a:gd name="T32" fmla="*/ 194 w 206"/>
                <a:gd name="T33" fmla="*/ 166 h 197"/>
                <a:gd name="T34" fmla="*/ 192 w 206"/>
                <a:gd name="T35" fmla="*/ 153 h 197"/>
                <a:gd name="T36" fmla="*/ 185 w 206"/>
                <a:gd name="T37" fmla="*/ 153 h 197"/>
                <a:gd name="T38" fmla="*/ 186 w 206"/>
                <a:gd name="T39" fmla="*/ 136 h 197"/>
                <a:gd name="T40" fmla="*/ 173 w 206"/>
                <a:gd name="T41" fmla="*/ 117 h 197"/>
                <a:gd name="T42" fmla="*/ 147 w 206"/>
                <a:gd name="T43" fmla="*/ 105 h 197"/>
                <a:gd name="T44" fmla="*/ 129 w 206"/>
                <a:gd name="T45" fmla="*/ 82 h 197"/>
                <a:gd name="T46" fmla="*/ 131 w 206"/>
                <a:gd name="T47" fmla="*/ 63 h 197"/>
                <a:gd name="T48" fmla="*/ 140 w 206"/>
                <a:gd name="T49" fmla="*/ 56 h 197"/>
                <a:gd name="T50" fmla="*/ 136 w 206"/>
                <a:gd name="T51" fmla="*/ 41 h 197"/>
                <a:gd name="T52" fmla="*/ 123 w 206"/>
                <a:gd name="T53" fmla="*/ 34 h 197"/>
                <a:gd name="T54" fmla="*/ 105 w 206"/>
                <a:gd name="T55" fmla="*/ 5 h 197"/>
                <a:gd name="T56" fmla="*/ 105 w 206"/>
                <a:gd name="T57" fmla="*/ 5 h 197"/>
                <a:gd name="T58" fmla="*/ 97 w 206"/>
                <a:gd name="T59" fmla="*/ 9 h 197"/>
                <a:gd name="T60" fmla="*/ 88 w 206"/>
                <a:gd name="T61" fmla="*/ 3 h 197"/>
                <a:gd name="T62" fmla="*/ 88 w 206"/>
                <a:gd name="T63" fmla="*/ 3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06" h="197">
                  <a:moveTo>
                    <a:pt x="88" y="3"/>
                  </a:moveTo>
                  <a:lnTo>
                    <a:pt x="65" y="0"/>
                  </a:lnTo>
                  <a:lnTo>
                    <a:pt x="57" y="3"/>
                  </a:lnTo>
                  <a:lnTo>
                    <a:pt x="50" y="18"/>
                  </a:lnTo>
                  <a:lnTo>
                    <a:pt x="40" y="25"/>
                  </a:lnTo>
                  <a:lnTo>
                    <a:pt x="44" y="42"/>
                  </a:lnTo>
                  <a:lnTo>
                    <a:pt x="41" y="71"/>
                  </a:lnTo>
                  <a:lnTo>
                    <a:pt x="0" y="97"/>
                  </a:lnTo>
                  <a:lnTo>
                    <a:pt x="11" y="125"/>
                  </a:lnTo>
                  <a:lnTo>
                    <a:pt x="36" y="131"/>
                  </a:lnTo>
                  <a:lnTo>
                    <a:pt x="68" y="148"/>
                  </a:lnTo>
                  <a:lnTo>
                    <a:pt x="130" y="196"/>
                  </a:lnTo>
                  <a:lnTo>
                    <a:pt x="169" y="197"/>
                  </a:lnTo>
                  <a:lnTo>
                    <a:pt x="181" y="175"/>
                  </a:lnTo>
                  <a:lnTo>
                    <a:pt x="194" y="177"/>
                  </a:lnTo>
                  <a:lnTo>
                    <a:pt x="206" y="178"/>
                  </a:lnTo>
                  <a:lnTo>
                    <a:pt x="194" y="166"/>
                  </a:lnTo>
                  <a:lnTo>
                    <a:pt x="192" y="153"/>
                  </a:lnTo>
                  <a:lnTo>
                    <a:pt x="185" y="153"/>
                  </a:lnTo>
                  <a:lnTo>
                    <a:pt x="186" y="136"/>
                  </a:lnTo>
                  <a:lnTo>
                    <a:pt x="173" y="117"/>
                  </a:lnTo>
                  <a:lnTo>
                    <a:pt x="147" y="105"/>
                  </a:lnTo>
                  <a:lnTo>
                    <a:pt x="129" y="82"/>
                  </a:lnTo>
                  <a:lnTo>
                    <a:pt x="131" y="63"/>
                  </a:lnTo>
                  <a:lnTo>
                    <a:pt x="140" y="56"/>
                  </a:lnTo>
                  <a:lnTo>
                    <a:pt x="136" y="41"/>
                  </a:lnTo>
                  <a:lnTo>
                    <a:pt x="123" y="34"/>
                  </a:lnTo>
                  <a:lnTo>
                    <a:pt x="105" y="5"/>
                  </a:lnTo>
                  <a:lnTo>
                    <a:pt x="105" y="5"/>
                  </a:lnTo>
                  <a:lnTo>
                    <a:pt x="97" y="9"/>
                  </a:lnTo>
                  <a:lnTo>
                    <a:pt x="88" y="3"/>
                  </a:lnTo>
                  <a:lnTo>
                    <a:pt x="88" y="3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4" name="Iceland">
              <a:extLst>
                <a:ext uri="{FF2B5EF4-FFF2-40B4-BE49-F238E27FC236}">
                  <a16:creationId xmlns:a16="http://schemas.microsoft.com/office/drawing/2014/main" id="{E99480C9-8125-41EC-AAC2-6D8ABBF06D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4006" y="1607911"/>
              <a:ext cx="268287" cy="100013"/>
            </a:xfrm>
            <a:custGeom>
              <a:avLst/>
              <a:gdLst>
                <a:gd name="T0" fmla="*/ 158 w 169"/>
                <a:gd name="T1" fmla="*/ 1 h 63"/>
                <a:gd name="T2" fmla="*/ 131 w 169"/>
                <a:gd name="T3" fmla="*/ 0 h 63"/>
                <a:gd name="T4" fmla="*/ 104 w 169"/>
                <a:gd name="T5" fmla="*/ 10 h 63"/>
                <a:gd name="T6" fmla="*/ 86 w 169"/>
                <a:gd name="T7" fmla="*/ 5 h 63"/>
                <a:gd name="T8" fmla="*/ 60 w 169"/>
                <a:gd name="T9" fmla="*/ 16 h 63"/>
                <a:gd name="T10" fmla="*/ 37 w 169"/>
                <a:gd name="T11" fmla="*/ 2 h 63"/>
                <a:gd name="T12" fmla="*/ 13 w 169"/>
                <a:gd name="T13" fmla="*/ 5 h 63"/>
                <a:gd name="T14" fmla="*/ 0 w 169"/>
                <a:gd name="T15" fmla="*/ 19 h 63"/>
                <a:gd name="T16" fmla="*/ 33 w 169"/>
                <a:gd name="T17" fmla="*/ 23 h 63"/>
                <a:gd name="T18" fmla="*/ 32 w 169"/>
                <a:gd name="T19" fmla="*/ 30 h 63"/>
                <a:gd name="T20" fmla="*/ 3 w 169"/>
                <a:gd name="T21" fmla="*/ 34 h 63"/>
                <a:gd name="T22" fmla="*/ 35 w 169"/>
                <a:gd name="T23" fmla="*/ 44 h 63"/>
                <a:gd name="T24" fmla="*/ 19 w 169"/>
                <a:gd name="T25" fmla="*/ 53 h 63"/>
                <a:gd name="T26" fmla="*/ 62 w 169"/>
                <a:gd name="T27" fmla="*/ 60 h 63"/>
                <a:gd name="T28" fmla="*/ 83 w 169"/>
                <a:gd name="T29" fmla="*/ 63 h 63"/>
                <a:gd name="T30" fmla="*/ 98 w 169"/>
                <a:gd name="T31" fmla="*/ 59 h 63"/>
                <a:gd name="T32" fmla="*/ 145 w 169"/>
                <a:gd name="T33" fmla="*/ 45 h 63"/>
                <a:gd name="T34" fmla="*/ 169 w 169"/>
                <a:gd name="T35" fmla="*/ 29 h 63"/>
                <a:gd name="T36" fmla="*/ 152 w 169"/>
                <a:gd name="T37" fmla="*/ 15 h 63"/>
                <a:gd name="T38" fmla="*/ 158 w 169"/>
                <a:gd name="T39" fmla="*/ 1 h 63"/>
                <a:gd name="T40" fmla="*/ 158 w 169"/>
                <a:gd name="T41" fmla="*/ 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9" h="63">
                  <a:moveTo>
                    <a:pt x="158" y="1"/>
                  </a:moveTo>
                  <a:lnTo>
                    <a:pt x="131" y="0"/>
                  </a:lnTo>
                  <a:lnTo>
                    <a:pt x="104" y="10"/>
                  </a:lnTo>
                  <a:lnTo>
                    <a:pt x="86" y="5"/>
                  </a:lnTo>
                  <a:lnTo>
                    <a:pt x="60" y="16"/>
                  </a:lnTo>
                  <a:lnTo>
                    <a:pt x="37" y="2"/>
                  </a:lnTo>
                  <a:lnTo>
                    <a:pt x="13" y="5"/>
                  </a:lnTo>
                  <a:lnTo>
                    <a:pt x="0" y="19"/>
                  </a:lnTo>
                  <a:lnTo>
                    <a:pt x="33" y="23"/>
                  </a:lnTo>
                  <a:lnTo>
                    <a:pt x="32" y="30"/>
                  </a:lnTo>
                  <a:lnTo>
                    <a:pt x="3" y="34"/>
                  </a:lnTo>
                  <a:lnTo>
                    <a:pt x="35" y="44"/>
                  </a:lnTo>
                  <a:lnTo>
                    <a:pt x="19" y="53"/>
                  </a:lnTo>
                  <a:lnTo>
                    <a:pt x="62" y="60"/>
                  </a:lnTo>
                  <a:lnTo>
                    <a:pt x="83" y="63"/>
                  </a:lnTo>
                  <a:lnTo>
                    <a:pt x="98" y="59"/>
                  </a:lnTo>
                  <a:lnTo>
                    <a:pt x="145" y="45"/>
                  </a:lnTo>
                  <a:lnTo>
                    <a:pt x="169" y="29"/>
                  </a:lnTo>
                  <a:lnTo>
                    <a:pt x="152" y="15"/>
                  </a:lnTo>
                  <a:lnTo>
                    <a:pt x="158" y="1"/>
                  </a:lnTo>
                  <a:lnTo>
                    <a:pt x="158" y="1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5" name="Israel">
              <a:extLst>
                <a:ext uri="{FF2B5EF4-FFF2-40B4-BE49-F238E27FC236}">
                  <a16:creationId xmlns:a16="http://schemas.microsoft.com/office/drawing/2014/main" id="{A8EC7A0E-C9D6-4659-B601-492B60A55774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7394" y="2806473"/>
              <a:ext cx="42862" cy="142875"/>
            </a:xfrm>
            <a:custGeom>
              <a:avLst/>
              <a:gdLst>
                <a:gd name="T0" fmla="*/ 26 w 27"/>
                <a:gd name="T1" fmla="*/ 0 h 90"/>
                <a:gd name="T2" fmla="*/ 21 w 27"/>
                <a:gd name="T3" fmla="*/ 0 h 90"/>
                <a:gd name="T4" fmla="*/ 19 w 27"/>
                <a:gd name="T5" fmla="*/ 5 h 90"/>
                <a:gd name="T6" fmla="*/ 13 w 27"/>
                <a:gd name="T7" fmla="*/ 5 h 90"/>
                <a:gd name="T8" fmla="*/ 12 w 27"/>
                <a:gd name="T9" fmla="*/ 5 h 90"/>
                <a:gd name="T10" fmla="*/ 10 w 27"/>
                <a:gd name="T11" fmla="*/ 12 h 90"/>
                <a:gd name="T12" fmla="*/ 8 w 27"/>
                <a:gd name="T13" fmla="*/ 29 h 90"/>
                <a:gd name="T14" fmla="*/ 3 w 27"/>
                <a:gd name="T15" fmla="*/ 40 h 90"/>
                <a:gd name="T16" fmla="*/ 5 w 27"/>
                <a:gd name="T17" fmla="*/ 42 h 90"/>
                <a:gd name="T18" fmla="*/ 0 w 27"/>
                <a:gd name="T19" fmla="*/ 49 h 90"/>
                <a:gd name="T20" fmla="*/ 0 w 27"/>
                <a:gd name="T21" fmla="*/ 49 h 90"/>
                <a:gd name="T22" fmla="*/ 15 w 27"/>
                <a:gd name="T23" fmla="*/ 84 h 90"/>
                <a:gd name="T24" fmla="*/ 17 w 27"/>
                <a:gd name="T25" fmla="*/ 90 h 90"/>
                <a:gd name="T26" fmla="*/ 23 w 27"/>
                <a:gd name="T27" fmla="*/ 52 h 90"/>
                <a:gd name="T28" fmla="*/ 22 w 27"/>
                <a:gd name="T29" fmla="*/ 43 h 90"/>
                <a:gd name="T30" fmla="*/ 13 w 27"/>
                <a:gd name="T31" fmla="*/ 46 h 90"/>
                <a:gd name="T32" fmla="*/ 14 w 27"/>
                <a:gd name="T33" fmla="*/ 40 h 90"/>
                <a:gd name="T34" fmla="*/ 17 w 27"/>
                <a:gd name="T35" fmla="*/ 37 h 90"/>
                <a:gd name="T36" fmla="*/ 13 w 27"/>
                <a:gd name="T37" fmla="*/ 34 h 90"/>
                <a:gd name="T38" fmla="*/ 15 w 27"/>
                <a:gd name="T39" fmla="*/ 18 h 90"/>
                <a:gd name="T40" fmla="*/ 23 w 27"/>
                <a:gd name="T41" fmla="*/ 21 h 90"/>
                <a:gd name="T42" fmla="*/ 25 w 27"/>
                <a:gd name="T43" fmla="*/ 14 h 90"/>
                <a:gd name="T44" fmla="*/ 25 w 27"/>
                <a:gd name="T45" fmla="*/ 14 h 90"/>
                <a:gd name="T46" fmla="*/ 27 w 27"/>
                <a:gd name="T47" fmla="*/ 10 h 90"/>
                <a:gd name="T48" fmla="*/ 26 w 27"/>
                <a:gd name="T49" fmla="*/ 0 h 90"/>
                <a:gd name="T50" fmla="*/ 26 w 27"/>
                <a:gd name="T51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7" h="90">
                  <a:moveTo>
                    <a:pt x="26" y="0"/>
                  </a:moveTo>
                  <a:lnTo>
                    <a:pt x="21" y="0"/>
                  </a:lnTo>
                  <a:lnTo>
                    <a:pt x="19" y="5"/>
                  </a:lnTo>
                  <a:lnTo>
                    <a:pt x="13" y="5"/>
                  </a:lnTo>
                  <a:lnTo>
                    <a:pt x="12" y="5"/>
                  </a:lnTo>
                  <a:lnTo>
                    <a:pt x="10" y="12"/>
                  </a:lnTo>
                  <a:lnTo>
                    <a:pt x="8" y="29"/>
                  </a:lnTo>
                  <a:lnTo>
                    <a:pt x="3" y="40"/>
                  </a:lnTo>
                  <a:lnTo>
                    <a:pt x="5" y="42"/>
                  </a:lnTo>
                  <a:lnTo>
                    <a:pt x="0" y="49"/>
                  </a:lnTo>
                  <a:lnTo>
                    <a:pt x="0" y="49"/>
                  </a:lnTo>
                  <a:lnTo>
                    <a:pt x="15" y="84"/>
                  </a:lnTo>
                  <a:lnTo>
                    <a:pt x="17" y="90"/>
                  </a:lnTo>
                  <a:lnTo>
                    <a:pt x="23" y="52"/>
                  </a:lnTo>
                  <a:lnTo>
                    <a:pt x="22" y="43"/>
                  </a:lnTo>
                  <a:lnTo>
                    <a:pt x="13" y="46"/>
                  </a:lnTo>
                  <a:lnTo>
                    <a:pt x="14" y="40"/>
                  </a:lnTo>
                  <a:lnTo>
                    <a:pt x="17" y="37"/>
                  </a:lnTo>
                  <a:lnTo>
                    <a:pt x="13" y="34"/>
                  </a:lnTo>
                  <a:lnTo>
                    <a:pt x="15" y="18"/>
                  </a:lnTo>
                  <a:lnTo>
                    <a:pt x="23" y="21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7" y="10"/>
                  </a:lnTo>
                  <a:lnTo>
                    <a:pt x="26" y="0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6" name="Italy">
              <a:extLst>
                <a:ext uri="{FF2B5EF4-FFF2-40B4-BE49-F238E27FC236}">
                  <a16:creationId xmlns:a16="http://schemas.microsoft.com/office/drawing/2014/main" id="{4EA56028-C659-4CCA-AF64-2BF3D9C36B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96806" y="2290536"/>
              <a:ext cx="365125" cy="388938"/>
            </a:xfrm>
            <a:custGeom>
              <a:avLst/>
              <a:gdLst>
                <a:gd name="T0" fmla="*/ 161 w 230"/>
                <a:gd name="T1" fmla="*/ 208 h 245"/>
                <a:gd name="T2" fmla="*/ 119 w 230"/>
                <a:gd name="T3" fmla="*/ 209 h 245"/>
                <a:gd name="T4" fmla="*/ 144 w 230"/>
                <a:gd name="T5" fmla="*/ 234 h 245"/>
                <a:gd name="T6" fmla="*/ 170 w 230"/>
                <a:gd name="T7" fmla="*/ 245 h 245"/>
                <a:gd name="T8" fmla="*/ 170 w 230"/>
                <a:gd name="T9" fmla="*/ 226 h 245"/>
                <a:gd name="T10" fmla="*/ 50 w 230"/>
                <a:gd name="T11" fmla="*/ 136 h 245"/>
                <a:gd name="T12" fmla="*/ 30 w 230"/>
                <a:gd name="T13" fmla="*/ 142 h 245"/>
                <a:gd name="T14" fmla="*/ 37 w 230"/>
                <a:gd name="T15" fmla="*/ 184 h 245"/>
                <a:gd name="T16" fmla="*/ 52 w 230"/>
                <a:gd name="T17" fmla="*/ 182 h 245"/>
                <a:gd name="T18" fmla="*/ 63 w 230"/>
                <a:gd name="T19" fmla="*/ 152 h 245"/>
                <a:gd name="T20" fmla="*/ 50 w 230"/>
                <a:gd name="T21" fmla="*/ 136 h 245"/>
                <a:gd name="T22" fmla="*/ 98 w 230"/>
                <a:gd name="T23" fmla="*/ 0 h 245"/>
                <a:gd name="T24" fmla="*/ 79 w 230"/>
                <a:gd name="T25" fmla="*/ 8 h 245"/>
                <a:gd name="T26" fmla="*/ 67 w 230"/>
                <a:gd name="T27" fmla="*/ 14 h 245"/>
                <a:gd name="T28" fmla="*/ 44 w 230"/>
                <a:gd name="T29" fmla="*/ 15 h 245"/>
                <a:gd name="T30" fmla="*/ 32 w 230"/>
                <a:gd name="T31" fmla="*/ 25 h 245"/>
                <a:gd name="T32" fmla="*/ 18 w 230"/>
                <a:gd name="T33" fmla="*/ 29 h 245"/>
                <a:gd name="T34" fmla="*/ 1 w 230"/>
                <a:gd name="T35" fmla="*/ 26 h 245"/>
                <a:gd name="T36" fmla="*/ 7 w 230"/>
                <a:gd name="T37" fmla="*/ 41 h 245"/>
                <a:gd name="T38" fmla="*/ 6 w 230"/>
                <a:gd name="T39" fmla="*/ 66 h 245"/>
                <a:gd name="T40" fmla="*/ 14 w 230"/>
                <a:gd name="T41" fmla="*/ 79 h 245"/>
                <a:gd name="T42" fmla="*/ 32 w 230"/>
                <a:gd name="T43" fmla="*/ 66 h 245"/>
                <a:gd name="T44" fmla="*/ 56 w 230"/>
                <a:gd name="T45" fmla="*/ 71 h 245"/>
                <a:gd name="T46" fmla="*/ 73 w 230"/>
                <a:gd name="T47" fmla="*/ 96 h 245"/>
                <a:gd name="T48" fmla="*/ 105 w 230"/>
                <a:gd name="T49" fmla="*/ 124 h 245"/>
                <a:gd name="T50" fmla="*/ 136 w 230"/>
                <a:gd name="T51" fmla="*/ 136 h 245"/>
                <a:gd name="T52" fmla="*/ 156 w 230"/>
                <a:gd name="T53" fmla="*/ 150 h 245"/>
                <a:gd name="T54" fmla="*/ 171 w 230"/>
                <a:gd name="T55" fmla="*/ 163 h 245"/>
                <a:gd name="T56" fmla="*/ 186 w 230"/>
                <a:gd name="T57" fmla="*/ 189 h 245"/>
                <a:gd name="T58" fmla="*/ 180 w 230"/>
                <a:gd name="T59" fmla="*/ 207 h 245"/>
                <a:gd name="T60" fmla="*/ 188 w 230"/>
                <a:gd name="T61" fmla="*/ 212 h 245"/>
                <a:gd name="T62" fmla="*/ 205 w 230"/>
                <a:gd name="T63" fmla="*/ 190 h 245"/>
                <a:gd name="T64" fmla="*/ 192 w 230"/>
                <a:gd name="T65" fmla="*/ 169 h 245"/>
                <a:gd name="T66" fmla="*/ 216 w 230"/>
                <a:gd name="T67" fmla="*/ 157 h 245"/>
                <a:gd name="T68" fmla="*/ 230 w 230"/>
                <a:gd name="T69" fmla="*/ 160 h 245"/>
                <a:gd name="T70" fmla="*/ 210 w 230"/>
                <a:gd name="T71" fmla="*/ 143 h 245"/>
                <a:gd name="T72" fmla="*/ 178 w 230"/>
                <a:gd name="T73" fmla="*/ 128 h 245"/>
                <a:gd name="T74" fmla="*/ 178 w 230"/>
                <a:gd name="T75" fmla="*/ 118 h 245"/>
                <a:gd name="T76" fmla="*/ 140 w 230"/>
                <a:gd name="T77" fmla="*/ 100 h 245"/>
                <a:gd name="T78" fmla="*/ 112 w 230"/>
                <a:gd name="T79" fmla="*/ 70 h 245"/>
                <a:gd name="T80" fmla="*/ 106 w 230"/>
                <a:gd name="T81" fmla="*/ 51 h 245"/>
                <a:gd name="T82" fmla="*/ 119 w 230"/>
                <a:gd name="T83" fmla="*/ 31 h 245"/>
                <a:gd name="T84" fmla="*/ 129 w 230"/>
                <a:gd name="T85" fmla="*/ 25 h 245"/>
                <a:gd name="T86" fmla="*/ 104 w 230"/>
                <a:gd name="T87" fmla="*/ 8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30" h="245">
                  <a:moveTo>
                    <a:pt x="176" y="206"/>
                  </a:moveTo>
                  <a:lnTo>
                    <a:pt x="161" y="208"/>
                  </a:lnTo>
                  <a:lnTo>
                    <a:pt x="141" y="211"/>
                  </a:lnTo>
                  <a:lnTo>
                    <a:pt x="119" y="209"/>
                  </a:lnTo>
                  <a:lnTo>
                    <a:pt x="116" y="221"/>
                  </a:lnTo>
                  <a:lnTo>
                    <a:pt x="144" y="234"/>
                  </a:lnTo>
                  <a:lnTo>
                    <a:pt x="154" y="236"/>
                  </a:lnTo>
                  <a:lnTo>
                    <a:pt x="170" y="245"/>
                  </a:lnTo>
                  <a:lnTo>
                    <a:pt x="173" y="233"/>
                  </a:lnTo>
                  <a:lnTo>
                    <a:pt x="170" y="226"/>
                  </a:lnTo>
                  <a:lnTo>
                    <a:pt x="176" y="206"/>
                  </a:lnTo>
                  <a:close/>
                  <a:moveTo>
                    <a:pt x="50" y="136"/>
                  </a:moveTo>
                  <a:lnTo>
                    <a:pt x="41" y="142"/>
                  </a:lnTo>
                  <a:lnTo>
                    <a:pt x="30" y="142"/>
                  </a:lnTo>
                  <a:lnTo>
                    <a:pt x="35" y="156"/>
                  </a:lnTo>
                  <a:lnTo>
                    <a:pt x="37" y="184"/>
                  </a:lnTo>
                  <a:lnTo>
                    <a:pt x="44" y="190"/>
                  </a:lnTo>
                  <a:lnTo>
                    <a:pt x="52" y="182"/>
                  </a:lnTo>
                  <a:lnTo>
                    <a:pt x="61" y="184"/>
                  </a:lnTo>
                  <a:lnTo>
                    <a:pt x="63" y="152"/>
                  </a:lnTo>
                  <a:lnTo>
                    <a:pt x="50" y="136"/>
                  </a:lnTo>
                  <a:lnTo>
                    <a:pt x="50" y="136"/>
                  </a:lnTo>
                  <a:close/>
                  <a:moveTo>
                    <a:pt x="104" y="8"/>
                  </a:moveTo>
                  <a:lnTo>
                    <a:pt x="98" y="0"/>
                  </a:lnTo>
                  <a:lnTo>
                    <a:pt x="81" y="3"/>
                  </a:lnTo>
                  <a:lnTo>
                    <a:pt x="79" y="8"/>
                  </a:lnTo>
                  <a:lnTo>
                    <a:pt x="68" y="4"/>
                  </a:lnTo>
                  <a:lnTo>
                    <a:pt x="67" y="14"/>
                  </a:lnTo>
                  <a:lnTo>
                    <a:pt x="58" y="18"/>
                  </a:lnTo>
                  <a:lnTo>
                    <a:pt x="44" y="15"/>
                  </a:lnTo>
                  <a:lnTo>
                    <a:pt x="41" y="25"/>
                  </a:lnTo>
                  <a:lnTo>
                    <a:pt x="32" y="25"/>
                  </a:lnTo>
                  <a:lnTo>
                    <a:pt x="28" y="21"/>
                  </a:lnTo>
                  <a:lnTo>
                    <a:pt x="18" y="29"/>
                  </a:lnTo>
                  <a:lnTo>
                    <a:pt x="10" y="30"/>
                  </a:lnTo>
                  <a:lnTo>
                    <a:pt x="1" y="26"/>
                  </a:lnTo>
                  <a:lnTo>
                    <a:pt x="0" y="32"/>
                  </a:lnTo>
                  <a:lnTo>
                    <a:pt x="7" y="41"/>
                  </a:lnTo>
                  <a:lnTo>
                    <a:pt x="0" y="47"/>
                  </a:lnTo>
                  <a:lnTo>
                    <a:pt x="6" y="66"/>
                  </a:lnTo>
                  <a:lnTo>
                    <a:pt x="16" y="69"/>
                  </a:lnTo>
                  <a:lnTo>
                    <a:pt x="14" y="79"/>
                  </a:lnTo>
                  <a:lnTo>
                    <a:pt x="22" y="77"/>
                  </a:lnTo>
                  <a:lnTo>
                    <a:pt x="32" y="66"/>
                  </a:lnTo>
                  <a:lnTo>
                    <a:pt x="41" y="63"/>
                  </a:lnTo>
                  <a:lnTo>
                    <a:pt x="56" y="71"/>
                  </a:lnTo>
                  <a:lnTo>
                    <a:pt x="67" y="73"/>
                  </a:lnTo>
                  <a:lnTo>
                    <a:pt x="73" y="96"/>
                  </a:lnTo>
                  <a:lnTo>
                    <a:pt x="87" y="109"/>
                  </a:lnTo>
                  <a:lnTo>
                    <a:pt x="105" y="124"/>
                  </a:lnTo>
                  <a:lnTo>
                    <a:pt x="121" y="135"/>
                  </a:lnTo>
                  <a:lnTo>
                    <a:pt x="136" y="136"/>
                  </a:lnTo>
                  <a:lnTo>
                    <a:pt x="144" y="145"/>
                  </a:lnTo>
                  <a:lnTo>
                    <a:pt x="156" y="150"/>
                  </a:lnTo>
                  <a:lnTo>
                    <a:pt x="163" y="160"/>
                  </a:lnTo>
                  <a:lnTo>
                    <a:pt x="171" y="163"/>
                  </a:lnTo>
                  <a:lnTo>
                    <a:pt x="178" y="175"/>
                  </a:lnTo>
                  <a:lnTo>
                    <a:pt x="186" y="189"/>
                  </a:lnTo>
                  <a:lnTo>
                    <a:pt x="182" y="194"/>
                  </a:lnTo>
                  <a:lnTo>
                    <a:pt x="180" y="207"/>
                  </a:lnTo>
                  <a:lnTo>
                    <a:pt x="180" y="214"/>
                  </a:lnTo>
                  <a:lnTo>
                    <a:pt x="188" y="212"/>
                  </a:lnTo>
                  <a:lnTo>
                    <a:pt x="197" y="191"/>
                  </a:lnTo>
                  <a:lnTo>
                    <a:pt x="205" y="190"/>
                  </a:lnTo>
                  <a:lnTo>
                    <a:pt x="207" y="178"/>
                  </a:lnTo>
                  <a:lnTo>
                    <a:pt x="192" y="169"/>
                  </a:lnTo>
                  <a:lnTo>
                    <a:pt x="199" y="154"/>
                  </a:lnTo>
                  <a:lnTo>
                    <a:pt x="216" y="157"/>
                  </a:lnTo>
                  <a:lnTo>
                    <a:pt x="227" y="169"/>
                  </a:lnTo>
                  <a:lnTo>
                    <a:pt x="230" y="160"/>
                  </a:lnTo>
                  <a:lnTo>
                    <a:pt x="228" y="156"/>
                  </a:lnTo>
                  <a:lnTo>
                    <a:pt x="210" y="143"/>
                  </a:lnTo>
                  <a:lnTo>
                    <a:pt x="196" y="137"/>
                  </a:lnTo>
                  <a:lnTo>
                    <a:pt x="178" y="128"/>
                  </a:lnTo>
                  <a:lnTo>
                    <a:pt x="183" y="124"/>
                  </a:lnTo>
                  <a:lnTo>
                    <a:pt x="178" y="118"/>
                  </a:lnTo>
                  <a:lnTo>
                    <a:pt x="163" y="118"/>
                  </a:lnTo>
                  <a:lnTo>
                    <a:pt x="140" y="100"/>
                  </a:lnTo>
                  <a:lnTo>
                    <a:pt x="130" y="81"/>
                  </a:lnTo>
                  <a:lnTo>
                    <a:pt x="112" y="70"/>
                  </a:lnTo>
                  <a:lnTo>
                    <a:pt x="104" y="58"/>
                  </a:lnTo>
                  <a:lnTo>
                    <a:pt x="106" y="51"/>
                  </a:lnTo>
                  <a:lnTo>
                    <a:pt x="105" y="40"/>
                  </a:lnTo>
                  <a:lnTo>
                    <a:pt x="119" y="31"/>
                  </a:lnTo>
                  <a:lnTo>
                    <a:pt x="135" y="35"/>
                  </a:lnTo>
                  <a:lnTo>
                    <a:pt x="129" y="25"/>
                  </a:lnTo>
                  <a:lnTo>
                    <a:pt x="130" y="14"/>
                  </a:lnTo>
                  <a:lnTo>
                    <a:pt x="104" y="8"/>
                  </a:lnTo>
                  <a:lnTo>
                    <a:pt x="104" y="8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7" name="Jamaica">
              <a:extLst>
                <a:ext uri="{FF2B5EF4-FFF2-40B4-BE49-F238E27FC236}">
                  <a16:creationId xmlns:a16="http://schemas.microsoft.com/office/drawing/2014/main" id="{49448A40-3DD3-42BB-A7BE-8EAC8988F40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5031" y="3363686"/>
              <a:ext cx="66675" cy="30163"/>
            </a:xfrm>
            <a:custGeom>
              <a:avLst/>
              <a:gdLst>
                <a:gd name="T0" fmla="*/ 28 w 42"/>
                <a:gd name="T1" fmla="*/ 15 h 19"/>
                <a:gd name="T2" fmla="*/ 42 w 42"/>
                <a:gd name="T3" fmla="*/ 15 h 19"/>
                <a:gd name="T4" fmla="*/ 40 w 42"/>
                <a:gd name="T5" fmla="*/ 8 h 19"/>
                <a:gd name="T6" fmla="*/ 29 w 42"/>
                <a:gd name="T7" fmla="*/ 2 h 19"/>
                <a:gd name="T8" fmla="*/ 16 w 42"/>
                <a:gd name="T9" fmla="*/ 1 h 19"/>
                <a:gd name="T10" fmla="*/ 12 w 42"/>
                <a:gd name="T11" fmla="*/ 0 h 19"/>
                <a:gd name="T12" fmla="*/ 2 w 42"/>
                <a:gd name="T13" fmla="*/ 1 h 19"/>
                <a:gd name="T14" fmla="*/ 0 w 42"/>
                <a:gd name="T15" fmla="*/ 7 h 19"/>
                <a:gd name="T16" fmla="*/ 11 w 42"/>
                <a:gd name="T17" fmla="*/ 15 h 19"/>
                <a:gd name="T18" fmla="*/ 22 w 42"/>
                <a:gd name="T19" fmla="*/ 19 h 19"/>
                <a:gd name="T20" fmla="*/ 28 w 42"/>
                <a:gd name="T21" fmla="*/ 15 h 19"/>
                <a:gd name="T22" fmla="*/ 28 w 42"/>
                <a:gd name="T23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" h="19">
                  <a:moveTo>
                    <a:pt x="28" y="15"/>
                  </a:moveTo>
                  <a:lnTo>
                    <a:pt x="42" y="15"/>
                  </a:lnTo>
                  <a:lnTo>
                    <a:pt x="40" y="8"/>
                  </a:lnTo>
                  <a:lnTo>
                    <a:pt x="29" y="2"/>
                  </a:lnTo>
                  <a:lnTo>
                    <a:pt x="16" y="1"/>
                  </a:lnTo>
                  <a:lnTo>
                    <a:pt x="12" y="0"/>
                  </a:lnTo>
                  <a:lnTo>
                    <a:pt x="2" y="1"/>
                  </a:lnTo>
                  <a:lnTo>
                    <a:pt x="0" y="7"/>
                  </a:lnTo>
                  <a:lnTo>
                    <a:pt x="11" y="15"/>
                  </a:lnTo>
                  <a:lnTo>
                    <a:pt x="22" y="19"/>
                  </a:lnTo>
                  <a:lnTo>
                    <a:pt x="28" y="15"/>
                  </a:lnTo>
                  <a:lnTo>
                    <a:pt x="28" y="15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8" name="Jordan">
              <a:extLst>
                <a:ext uri="{FF2B5EF4-FFF2-40B4-BE49-F238E27FC236}">
                  <a16:creationId xmlns:a16="http://schemas.microsoft.com/office/drawing/2014/main" id="{382A7399-6B4C-4F27-B2AD-F973D3A944F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4381" y="2804887"/>
              <a:ext cx="125412" cy="157163"/>
            </a:xfrm>
            <a:custGeom>
              <a:avLst/>
              <a:gdLst>
                <a:gd name="T0" fmla="*/ 79 w 79"/>
                <a:gd name="T1" fmla="*/ 28 h 99"/>
                <a:gd name="T2" fmla="*/ 68 w 79"/>
                <a:gd name="T3" fmla="*/ 0 h 99"/>
                <a:gd name="T4" fmla="*/ 32 w 79"/>
                <a:gd name="T5" fmla="*/ 24 h 99"/>
                <a:gd name="T6" fmla="*/ 8 w 79"/>
                <a:gd name="T7" fmla="*/ 15 h 99"/>
                <a:gd name="T8" fmla="*/ 6 w 79"/>
                <a:gd name="T9" fmla="*/ 22 h 99"/>
                <a:gd name="T10" fmla="*/ 7 w 79"/>
                <a:gd name="T11" fmla="*/ 37 h 99"/>
                <a:gd name="T12" fmla="*/ 5 w 79"/>
                <a:gd name="T13" fmla="*/ 44 h 99"/>
                <a:gd name="T14" fmla="*/ 6 w 79"/>
                <a:gd name="T15" fmla="*/ 53 h 99"/>
                <a:gd name="T16" fmla="*/ 0 w 79"/>
                <a:gd name="T17" fmla="*/ 91 h 99"/>
                <a:gd name="T18" fmla="*/ 1 w 79"/>
                <a:gd name="T19" fmla="*/ 95 h 99"/>
                <a:gd name="T20" fmla="*/ 24 w 79"/>
                <a:gd name="T21" fmla="*/ 99 h 99"/>
                <a:gd name="T22" fmla="*/ 32 w 79"/>
                <a:gd name="T23" fmla="*/ 91 h 99"/>
                <a:gd name="T24" fmla="*/ 36 w 79"/>
                <a:gd name="T25" fmla="*/ 82 h 99"/>
                <a:gd name="T26" fmla="*/ 51 w 79"/>
                <a:gd name="T27" fmla="*/ 79 h 99"/>
                <a:gd name="T28" fmla="*/ 54 w 79"/>
                <a:gd name="T29" fmla="*/ 71 h 99"/>
                <a:gd name="T30" fmla="*/ 60 w 79"/>
                <a:gd name="T31" fmla="*/ 67 h 99"/>
                <a:gd name="T32" fmla="*/ 37 w 79"/>
                <a:gd name="T33" fmla="*/ 43 h 99"/>
                <a:gd name="T34" fmla="*/ 76 w 79"/>
                <a:gd name="T35" fmla="*/ 31 h 99"/>
                <a:gd name="T36" fmla="*/ 79 w 79"/>
                <a:gd name="T37" fmla="*/ 28 h 99"/>
                <a:gd name="T38" fmla="*/ 79 w 79"/>
                <a:gd name="T39" fmla="*/ 28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9" h="99">
                  <a:moveTo>
                    <a:pt x="79" y="28"/>
                  </a:moveTo>
                  <a:lnTo>
                    <a:pt x="68" y="0"/>
                  </a:lnTo>
                  <a:lnTo>
                    <a:pt x="32" y="24"/>
                  </a:lnTo>
                  <a:lnTo>
                    <a:pt x="8" y="15"/>
                  </a:lnTo>
                  <a:lnTo>
                    <a:pt x="6" y="22"/>
                  </a:lnTo>
                  <a:lnTo>
                    <a:pt x="7" y="37"/>
                  </a:lnTo>
                  <a:lnTo>
                    <a:pt x="5" y="44"/>
                  </a:lnTo>
                  <a:lnTo>
                    <a:pt x="6" y="53"/>
                  </a:lnTo>
                  <a:lnTo>
                    <a:pt x="0" y="91"/>
                  </a:lnTo>
                  <a:lnTo>
                    <a:pt x="1" y="95"/>
                  </a:lnTo>
                  <a:lnTo>
                    <a:pt x="24" y="99"/>
                  </a:lnTo>
                  <a:lnTo>
                    <a:pt x="32" y="91"/>
                  </a:lnTo>
                  <a:lnTo>
                    <a:pt x="36" y="82"/>
                  </a:lnTo>
                  <a:lnTo>
                    <a:pt x="51" y="79"/>
                  </a:lnTo>
                  <a:lnTo>
                    <a:pt x="54" y="71"/>
                  </a:lnTo>
                  <a:lnTo>
                    <a:pt x="60" y="67"/>
                  </a:lnTo>
                  <a:lnTo>
                    <a:pt x="37" y="43"/>
                  </a:lnTo>
                  <a:lnTo>
                    <a:pt x="76" y="31"/>
                  </a:lnTo>
                  <a:lnTo>
                    <a:pt x="79" y="28"/>
                  </a:lnTo>
                  <a:lnTo>
                    <a:pt x="79" y="28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9" name="Japan">
              <a:extLst>
                <a:ext uri="{FF2B5EF4-FFF2-40B4-BE49-F238E27FC236}">
                  <a16:creationId xmlns:a16="http://schemas.microsoft.com/office/drawing/2014/main" id="{30F315F2-77FC-4EC7-897C-2B3471CCAF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87769" y="2347686"/>
              <a:ext cx="314325" cy="544513"/>
            </a:xfrm>
            <a:custGeom>
              <a:avLst/>
              <a:gdLst>
                <a:gd name="T0" fmla="*/ 79 w 198"/>
                <a:gd name="T1" fmla="*/ 263 h 343"/>
                <a:gd name="T2" fmla="*/ 62 w 198"/>
                <a:gd name="T3" fmla="*/ 271 h 343"/>
                <a:gd name="T4" fmla="*/ 62 w 198"/>
                <a:gd name="T5" fmla="*/ 296 h 343"/>
                <a:gd name="T6" fmla="*/ 77 w 198"/>
                <a:gd name="T7" fmla="*/ 289 h 343"/>
                <a:gd name="T8" fmla="*/ 96 w 198"/>
                <a:gd name="T9" fmla="*/ 291 h 343"/>
                <a:gd name="T10" fmla="*/ 96 w 198"/>
                <a:gd name="T11" fmla="*/ 269 h 343"/>
                <a:gd name="T12" fmla="*/ 187 w 198"/>
                <a:gd name="T13" fmla="*/ 196 h 343"/>
                <a:gd name="T14" fmla="*/ 178 w 198"/>
                <a:gd name="T15" fmla="*/ 148 h 343"/>
                <a:gd name="T16" fmla="*/ 138 w 198"/>
                <a:gd name="T17" fmla="*/ 95 h 343"/>
                <a:gd name="T18" fmla="*/ 120 w 198"/>
                <a:gd name="T19" fmla="*/ 115 h 343"/>
                <a:gd name="T20" fmla="*/ 143 w 198"/>
                <a:gd name="T21" fmla="*/ 171 h 343"/>
                <a:gd name="T22" fmla="*/ 120 w 198"/>
                <a:gd name="T23" fmla="*/ 205 h 343"/>
                <a:gd name="T24" fmla="*/ 101 w 198"/>
                <a:gd name="T25" fmla="*/ 235 h 343"/>
                <a:gd name="T26" fmla="*/ 41 w 198"/>
                <a:gd name="T27" fmla="*/ 238 h 343"/>
                <a:gd name="T28" fmla="*/ 20 w 198"/>
                <a:gd name="T29" fmla="*/ 267 h 343"/>
                <a:gd name="T30" fmla="*/ 0 w 198"/>
                <a:gd name="T31" fmla="*/ 289 h 343"/>
                <a:gd name="T32" fmla="*/ 30 w 198"/>
                <a:gd name="T33" fmla="*/ 312 h 343"/>
                <a:gd name="T34" fmla="*/ 47 w 198"/>
                <a:gd name="T35" fmla="*/ 343 h 343"/>
                <a:gd name="T36" fmla="*/ 53 w 198"/>
                <a:gd name="T37" fmla="*/ 292 h 343"/>
                <a:gd name="T38" fmla="*/ 49 w 198"/>
                <a:gd name="T39" fmla="*/ 275 h 343"/>
                <a:gd name="T40" fmla="*/ 99 w 198"/>
                <a:gd name="T41" fmla="*/ 258 h 343"/>
                <a:gd name="T42" fmla="*/ 125 w 198"/>
                <a:gd name="T43" fmla="*/ 285 h 343"/>
                <a:gd name="T44" fmla="*/ 176 w 198"/>
                <a:gd name="T45" fmla="*/ 256 h 343"/>
                <a:gd name="T46" fmla="*/ 198 w 198"/>
                <a:gd name="T47" fmla="*/ 228 h 343"/>
                <a:gd name="T48" fmla="*/ 187 w 198"/>
                <a:gd name="T49" fmla="*/ 196 h 343"/>
                <a:gd name="T50" fmla="*/ 142 w 198"/>
                <a:gd name="T51" fmla="*/ 32 h 343"/>
                <a:gd name="T52" fmla="*/ 84 w 198"/>
                <a:gd name="T53" fmla="*/ 0 h 343"/>
                <a:gd name="T54" fmla="*/ 107 w 198"/>
                <a:gd name="T55" fmla="*/ 50 h 343"/>
                <a:gd name="T56" fmla="*/ 90 w 198"/>
                <a:gd name="T57" fmla="*/ 68 h 343"/>
                <a:gd name="T58" fmla="*/ 128 w 198"/>
                <a:gd name="T59" fmla="*/ 92 h 343"/>
                <a:gd name="T60" fmla="*/ 163 w 198"/>
                <a:gd name="T61" fmla="*/ 81 h 343"/>
                <a:gd name="T62" fmla="*/ 188 w 198"/>
                <a:gd name="T63" fmla="*/ 52 h 343"/>
                <a:gd name="T64" fmla="*/ 159 w 198"/>
                <a:gd name="T65" fmla="*/ 36 h 343"/>
                <a:gd name="T66" fmla="*/ 142 w 198"/>
                <a:gd name="T67" fmla="*/ 32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98" h="343">
                  <a:moveTo>
                    <a:pt x="96" y="269"/>
                  </a:moveTo>
                  <a:lnTo>
                    <a:pt x="79" y="263"/>
                  </a:lnTo>
                  <a:lnTo>
                    <a:pt x="75" y="274"/>
                  </a:lnTo>
                  <a:lnTo>
                    <a:pt x="62" y="271"/>
                  </a:lnTo>
                  <a:lnTo>
                    <a:pt x="57" y="285"/>
                  </a:lnTo>
                  <a:lnTo>
                    <a:pt x="62" y="296"/>
                  </a:lnTo>
                  <a:lnTo>
                    <a:pt x="78" y="303"/>
                  </a:lnTo>
                  <a:lnTo>
                    <a:pt x="77" y="289"/>
                  </a:lnTo>
                  <a:lnTo>
                    <a:pt x="85" y="284"/>
                  </a:lnTo>
                  <a:lnTo>
                    <a:pt x="96" y="291"/>
                  </a:lnTo>
                  <a:lnTo>
                    <a:pt x="101" y="276"/>
                  </a:lnTo>
                  <a:lnTo>
                    <a:pt x="96" y="269"/>
                  </a:lnTo>
                  <a:lnTo>
                    <a:pt x="96" y="269"/>
                  </a:lnTo>
                  <a:close/>
                  <a:moveTo>
                    <a:pt x="187" y="196"/>
                  </a:moveTo>
                  <a:lnTo>
                    <a:pt x="173" y="172"/>
                  </a:lnTo>
                  <a:lnTo>
                    <a:pt x="178" y="148"/>
                  </a:lnTo>
                  <a:lnTo>
                    <a:pt x="167" y="128"/>
                  </a:lnTo>
                  <a:lnTo>
                    <a:pt x="138" y="95"/>
                  </a:lnTo>
                  <a:lnTo>
                    <a:pt x="120" y="100"/>
                  </a:lnTo>
                  <a:lnTo>
                    <a:pt x="120" y="115"/>
                  </a:lnTo>
                  <a:lnTo>
                    <a:pt x="139" y="141"/>
                  </a:lnTo>
                  <a:lnTo>
                    <a:pt x="143" y="171"/>
                  </a:lnTo>
                  <a:lnTo>
                    <a:pt x="137" y="180"/>
                  </a:lnTo>
                  <a:lnTo>
                    <a:pt x="120" y="205"/>
                  </a:lnTo>
                  <a:lnTo>
                    <a:pt x="101" y="192"/>
                  </a:lnTo>
                  <a:lnTo>
                    <a:pt x="101" y="235"/>
                  </a:lnTo>
                  <a:lnTo>
                    <a:pt x="78" y="231"/>
                  </a:lnTo>
                  <a:lnTo>
                    <a:pt x="41" y="238"/>
                  </a:lnTo>
                  <a:lnTo>
                    <a:pt x="35" y="254"/>
                  </a:lnTo>
                  <a:lnTo>
                    <a:pt x="20" y="267"/>
                  </a:lnTo>
                  <a:lnTo>
                    <a:pt x="16" y="282"/>
                  </a:lnTo>
                  <a:lnTo>
                    <a:pt x="0" y="289"/>
                  </a:lnTo>
                  <a:lnTo>
                    <a:pt x="15" y="305"/>
                  </a:lnTo>
                  <a:lnTo>
                    <a:pt x="30" y="312"/>
                  </a:lnTo>
                  <a:lnTo>
                    <a:pt x="34" y="333"/>
                  </a:lnTo>
                  <a:lnTo>
                    <a:pt x="47" y="343"/>
                  </a:lnTo>
                  <a:lnTo>
                    <a:pt x="56" y="332"/>
                  </a:lnTo>
                  <a:lnTo>
                    <a:pt x="53" y="292"/>
                  </a:lnTo>
                  <a:lnTo>
                    <a:pt x="25" y="275"/>
                  </a:lnTo>
                  <a:lnTo>
                    <a:pt x="49" y="275"/>
                  </a:lnTo>
                  <a:lnTo>
                    <a:pt x="67" y="263"/>
                  </a:lnTo>
                  <a:lnTo>
                    <a:pt x="99" y="258"/>
                  </a:lnTo>
                  <a:lnTo>
                    <a:pt x="109" y="276"/>
                  </a:lnTo>
                  <a:lnTo>
                    <a:pt x="125" y="285"/>
                  </a:lnTo>
                  <a:lnTo>
                    <a:pt x="142" y="258"/>
                  </a:lnTo>
                  <a:lnTo>
                    <a:pt x="176" y="256"/>
                  </a:lnTo>
                  <a:lnTo>
                    <a:pt x="196" y="245"/>
                  </a:lnTo>
                  <a:lnTo>
                    <a:pt x="198" y="228"/>
                  </a:lnTo>
                  <a:lnTo>
                    <a:pt x="189" y="216"/>
                  </a:lnTo>
                  <a:lnTo>
                    <a:pt x="187" y="196"/>
                  </a:lnTo>
                  <a:lnTo>
                    <a:pt x="187" y="196"/>
                  </a:lnTo>
                  <a:close/>
                  <a:moveTo>
                    <a:pt x="142" y="32"/>
                  </a:moveTo>
                  <a:lnTo>
                    <a:pt x="123" y="23"/>
                  </a:lnTo>
                  <a:lnTo>
                    <a:pt x="84" y="0"/>
                  </a:lnTo>
                  <a:lnTo>
                    <a:pt x="91" y="18"/>
                  </a:lnTo>
                  <a:lnTo>
                    <a:pt x="107" y="50"/>
                  </a:lnTo>
                  <a:lnTo>
                    <a:pt x="88" y="50"/>
                  </a:lnTo>
                  <a:lnTo>
                    <a:pt x="90" y="68"/>
                  </a:lnTo>
                  <a:lnTo>
                    <a:pt x="107" y="92"/>
                  </a:lnTo>
                  <a:lnTo>
                    <a:pt x="128" y="92"/>
                  </a:lnTo>
                  <a:lnTo>
                    <a:pt x="123" y="65"/>
                  </a:lnTo>
                  <a:lnTo>
                    <a:pt x="163" y="81"/>
                  </a:lnTo>
                  <a:lnTo>
                    <a:pt x="165" y="59"/>
                  </a:lnTo>
                  <a:lnTo>
                    <a:pt x="188" y="52"/>
                  </a:lnTo>
                  <a:lnTo>
                    <a:pt x="166" y="26"/>
                  </a:lnTo>
                  <a:lnTo>
                    <a:pt x="159" y="36"/>
                  </a:lnTo>
                  <a:lnTo>
                    <a:pt x="142" y="32"/>
                  </a:lnTo>
                  <a:lnTo>
                    <a:pt x="142" y="32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0" name="Kazakhstan">
              <a:extLst>
                <a:ext uri="{FF2B5EF4-FFF2-40B4-BE49-F238E27FC236}">
                  <a16:creationId xmlns:a16="http://schemas.microsoft.com/office/drawing/2014/main" id="{53314CA8-1785-4E27-92D9-1D1DD5816EC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4094" y="1988911"/>
              <a:ext cx="1181100" cy="536575"/>
            </a:xfrm>
            <a:custGeom>
              <a:avLst/>
              <a:gdLst>
                <a:gd name="T0" fmla="*/ 351 w 744"/>
                <a:gd name="T1" fmla="*/ 0 h 338"/>
                <a:gd name="T2" fmla="*/ 299 w 744"/>
                <a:gd name="T3" fmla="*/ 18 h 338"/>
                <a:gd name="T4" fmla="*/ 230 w 744"/>
                <a:gd name="T5" fmla="*/ 31 h 338"/>
                <a:gd name="T6" fmla="*/ 243 w 744"/>
                <a:gd name="T7" fmla="*/ 54 h 338"/>
                <a:gd name="T8" fmla="*/ 234 w 744"/>
                <a:gd name="T9" fmla="*/ 66 h 338"/>
                <a:gd name="T10" fmla="*/ 256 w 744"/>
                <a:gd name="T11" fmla="*/ 93 h 338"/>
                <a:gd name="T12" fmla="*/ 229 w 744"/>
                <a:gd name="T13" fmla="*/ 103 h 338"/>
                <a:gd name="T14" fmla="*/ 199 w 744"/>
                <a:gd name="T15" fmla="*/ 98 h 338"/>
                <a:gd name="T16" fmla="*/ 155 w 744"/>
                <a:gd name="T17" fmla="*/ 108 h 338"/>
                <a:gd name="T18" fmla="*/ 86 w 744"/>
                <a:gd name="T19" fmla="*/ 83 h 338"/>
                <a:gd name="T20" fmla="*/ 28 w 744"/>
                <a:gd name="T21" fmla="*/ 108 h 338"/>
                <a:gd name="T22" fmla="*/ 8 w 744"/>
                <a:gd name="T23" fmla="*/ 112 h 338"/>
                <a:gd name="T24" fmla="*/ 6 w 744"/>
                <a:gd name="T25" fmla="*/ 142 h 338"/>
                <a:gd name="T26" fmla="*/ 19 w 744"/>
                <a:gd name="T27" fmla="*/ 176 h 338"/>
                <a:gd name="T28" fmla="*/ 49 w 744"/>
                <a:gd name="T29" fmla="*/ 191 h 338"/>
                <a:gd name="T30" fmla="*/ 60 w 744"/>
                <a:gd name="T31" fmla="*/ 205 h 338"/>
                <a:gd name="T32" fmla="*/ 95 w 744"/>
                <a:gd name="T33" fmla="*/ 191 h 338"/>
                <a:gd name="T34" fmla="*/ 131 w 744"/>
                <a:gd name="T35" fmla="*/ 195 h 338"/>
                <a:gd name="T36" fmla="*/ 141 w 744"/>
                <a:gd name="T37" fmla="*/ 233 h 338"/>
                <a:gd name="T38" fmla="*/ 108 w 744"/>
                <a:gd name="T39" fmla="*/ 233 h 338"/>
                <a:gd name="T40" fmla="*/ 93 w 744"/>
                <a:gd name="T41" fmla="*/ 248 h 338"/>
                <a:gd name="T42" fmla="*/ 107 w 744"/>
                <a:gd name="T43" fmla="*/ 261 h 338"/>
                <a:gd name="T44" fmla="*/ 144 w 744"/>
                <a:gd name="T45" fmla="*/ 290 h 338"/>
                <a:gd name="T46" fmla="*/ 148 w 744"/>
                <a:gd name="T47" fmla="*/ 306 h 338"/>
                <a:gd name="T48" fmla="*/ 157 w 744"/>
                <a:gd name="T49" fmla="*/ 304 h 338"/>
                <a:gd name="T50" fmla="*/ 192 w 744"/>
                <a:gd name="T51" fmla="*/ 306 h 338"/>
                <a:gd name="T52" fmla="*/ 219 w 744"/>
                <a:gd name="T53" fmla="*/ 323 h 338"/>
                <a:gd name="T54" fmla="*/ 241 w 744"/>
                <a:gd name="T55" fmla="*/ 225 h 338"/>
                <a:gd name="T56" fmla="*/ 279 w 744"/>
                <a:gd name="T57" fmla="*/ 244 h 338"/>
                <a:gd name="T58" fmla="*/ 321 w 744"/>
                <a:gd name="T59" fmla="*/ 273 h 338"/>
                <a:gd name="T60" fmla="*/ 374 w 744"/>
                <a:gd name="T61" fmla="*/ 267 h 338"/>
                <a:gd name="T62" fmla="*/ 408 w 744"/>
                <a:gd name="T63" fmla="*/ 307 h 338"/>
                <a:gd name="T64" fmla="*/ 427 w 744"/>
                <a:gd name="T65" fmla="*/ 327 h 338"/>
                <a:gd name="T66" fmla="*/ 460 w 744"/>
                <a:gd name="T67" fmla="*/ 338 h 338"/>
                <a:gd name="T68" fmla="*/ 471 w 744"/>
                <a:gd name="T69" fmla="*/ 321 h 338"/>
                <a:gd name="T70" fmla="*/ 500 w 744"/>
                <a:gd name="T71" fmla="*/ 301 h 338"/>
                <a:gd name="T72" fmla="*/ 513 w 744"/>
                <a:gd name="T73" fmla="*/ 288 h 338"/>
                <a:gd name="T74" fmla="*/ 545 w 744"/>
                <a:gd name="T75" fmla="*/ 282 h 338"/>
                <a:gd name="T76" fmla="*/ 585 w 744"/>
                <a:gd name="T77" fmla="*/ 288 h 338"/>
                <a:gd name="T78" fmla="*/ 622 w 744"/>
                <a:gd name="T79" fmla="*/ 286 h 338"/>
                <a:gd name="T80" fmla="*/ 664 w 744"/>
                <a:gd name="T81" fmla="*/ 296 h 338"/>
                <a:gd name="T82" fmla="*/ 671 w 744"/>
                <a:gd name="T83" fmla="*/ 286 h 338"/>
                <a:gd name="T84" fmla="*/ 649 w 744"/>
                <a:gd name="T85" fmla="*/ 240 h 338"/>
                <a:gd name="T86" fmla="*/ 691 w 744"/>
                <a:gd name="T87" fmla="*/ 226 h 338"/>
                <a:gd name="T88" fmla="*/ 727 w 744"/>
                <a:gd name="T89" fmla="*/ 192 h 338"/>
                <a:gd name="T90" fmla="*/ 723 w 744"/>
                <a:gd name="T91" fmla="*/ 159 h 338"/>
                <a:gd name="T92" fmla="*/ 744 w 744"/>
                <a:gd name="T93" fmla="*/ 140 h 338"/>
                <a:gd name="T94" fmla="*/ 706 w 744"/>
                <a:gd name="T95" fmla="*/ 130 h 338"/>
                <a:gd name="T96" fmla="*/ 678 w 744"/>
                <a:gd name="T97" fmla="*/ 116 h 338"/>
                <a:gd name="T98" fmla="*/ 651 w 744"/>
                <a:gd name="T99" fmla="*/ 98 h 338"/>
                <a:gd name="T100" fmla="*/ 597 w 744"/>
                <a:gd name="T101" fmla="*/ 91 h 338"/>
                <a:gd name="T102" fmla="*/ 525 w 744"/>
                <a:gd name="T103" fmla="*/ 45 h 338"/>
                <a:gd name="T104" fmla="*/ 497 w 744"/>
                <a:gd name="T105" fmla="*/ 21 h 338"/>
                <a:gd name="T106" fmla="*/ 447 w 744"/>
                <a:gd name="T107" fmla="*/ 43 h 338"/>
                <a:gd name="T108" fmla="*/ 417 w 744"/>
                <a:gd name="T109" fmla="*/ 22 h 338"/>
                <a:gd name="T110" fmla="*/ 384 w 744"/>
                <a:gd name="T111" fmla="*/ 5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44" h="338">
                  <a:moveTo>
                    <a:pt x="384" y="5"/>
                  </a:moveTo>
                  <a:lnTo>
                    <a:pt x="351" y="0"/>
                  </a:lnTo>
                  <a:lnTo>
                    <a:pt x="340" y="9"/>
                  </a:lnTo>
                  <a:lnTo>
                    <a:pt x="299" y="18"/>
                  </a:lnTo>
                  <a:lnTo>
                    <a:pt x="293" y="23"/>
                  </a:lnTo>
                  <a:lnTo>
                    <a:pt x="230" y="31"/>
                  </a:lnTo>
                  <a:lnTo>
                    <a:pt x="225" y="39"/>
                  </a:lnTo>
                  <a:lnTo>
                    <a:pt x="243" y="54"/>
                  </a:lnTo>
                  <a:lnTo>
                    <a:pt x="228" y="60"/>
                  </a:lnTo>
                  <a:lnTo>
                    <a:pt x="234" y="66"/>
                  </a:lnTo>
                  <a:lnTo>
                    <a:pt x="221" y="78"/>
                  </a:lnTo>
                  <a:lnTo>
                    <a:pt x="256" y="93"/>
                  </a:lnTo>
                  <a:lnTo>
                    <a:pt x="255" y="105"/>
                  </a:lnTo>
                  <a:lnTo>
                    <a:pt x="229" y="103"/>
                  </a:lnTo>
                  <a:lnTo>
                    <a:pt x="227" y="110"/>
                  </a:lnTo>
                  <a:lnTo>
                    <a:pt x="199" y="98"/>
                  </a:lnTo>
                  <a:lnTo>
                    <a:pt x="171" y="99"/>
                  </a:lnTo>
                  <a:lnTo>
                    <a:pt x="155" y="108"/>
                  </a:lnTo>
                  <a:lnTo>
                    <a:pt x="130" y="99"/>
                  </a:lnTo>
                  <a:lnTo>
                    <a:pt x="86" y="83"/>
                  </a:lnTo>
                  <a:lnTo>
                    <a:pt x="58" y="84"/>
                  </a:lnTo>
                  <a:lnTo>
                    <a:pt x="28" y="108"/>
                  </a:lnTo>
                  <a:lnTo>
                    <a:pt x="30" y="125"/>
                  </a:lnTo>
                  <a:lnTo>
                    <a:pt x="8" y="112"/>
                  </a:lnTo>
                  <a:lnTo>
                    <a:pt x="0" y="137"/>
                  </a:lnTo>
                  <a:lnTo>
                    <a:pt x="6" y="142"/>
                  </a:lnTo>
                  <a:lnTo>
                    <a:pt x="0" y="160"/>
                  </a:lnTo>
                  <a:lnTo>
                    <a:pt x="19" y="176"/>
                  </a:lnTo>
                  <a:lnTo>
                    <a:pt x="33" y="175"/>
                  </a:lnTo>
                  <a:lnTo>
                    <a:pt x="49" y="191"/>
                  </a:lnTo>
                  <a:lnTo>
                    <a:pt x="49" y="202"/>
                  </a:lnTo>
                  <a:lnTo>
                    <a:pt x="60" y="205"/>
                  </a:lnTo>
                  <a:lnTo>
                    <a:pt x="76" y="201"/>
                  </a:lnTo>
                  <a:lnTo>
                    <a:pt x="95" y="191"/>
                  </a:lnTo>
                  <a:lnTo>
                    <a:pt x="113" y="196"/>
                  </a:lnTo>
                  <a:lnTo>
                    <a:pt x="131" y="195"/>
                  </a:lnTo>
                  <a:lnTo>
                    <a:pt x="138" y="210"/>
                  </a:lnTo>
                  <a:lnTo>
                    <a:pt x="141" y="233"/>
                  </a:lnTo>
                  <a:lnTo>
                    <a:pt x="123" y="229"/>
                  </a:lnTo>
                  <a:lnTo>
                    <a:pt x="108" y="233"/>
                  </a:lnTo>
                  <a:lnTo>
                    <a:pt x="112" y="249"/>
                  </a:lnTo>
                  <a:lnTo>
                    <a:pt x="93" y="248"/>
                  </a:lnTo>
                  <a:lnTo>
                    <a:pt x="95" y="255"/>
                  </a:lnTo>
                  <a:lnTo>
                    <a:pt x="107" y="261"/>
                  </a:lnTo>
                  <a:lnTo>
                    <a:pt x="121" y="281"/>
                  </a:lnTo>
                  <a:lnTo>
                    <a:pt x="144" y="290"/>
                  </a:lnTo>
                  <a:lnTo>
                    <a:pt x="150" y="297"/>
                  </a:lnTo>
                  <a:lnTo>
                    <a:pt x="148" y="306"/>
                  </a:lnTo>
                  <a:lnTo>
                    <a:pt x="150" y="312"/>
                  </a:lnTo>
                  <a:lnTo>
                    <a:pt x="157" y="304"/>
                  </a:lnTo>
                  <a:lnTo>
                    <a:pt x="178" y="300"/>
                  </a:lnTo>
                  <a:lnTo>
                    <a:pt x="192" y="306"/>
                  </a:lnTo>
                  <a:lnTo>
                    <a:pt x="210" y="325"/>
                  </a:lnTo>
                  <a:lnTo>
                    <a:pt x="219" y="323"/>
                  </a:lnTo>
                  <a:lnTo>
                    <a:pt x="197" y="238"/>
                  </a:lnTo>
                  <a:lnTo>
                    <a:pt x="241" y="225"/>
                  </a:lnTo>
                  <a:lnTo>
                    <a:pt x="245" y="227"/>
                  </a:lnTo>
                  <a:lnTo>
                    <a:pt x="279" y="244"/>
                  </a:lnTo>
                  <a:lnTo>
                    <a:pt x="297" y="252"/>
                  </a:lnTo>
                  <a:lnTo>
                    <a:pt x="321" y="273"/>
                  </a:lnTo>
                  <a:lnTo>
                    <a:pt x="342" y="269"/>
                  </a:lnTo>
                  <a:lnTo>
                    <a:pt x="374" y="267"/>
                  </a:lnTo>
                  <a:lnTo>
                    <a:pt x="402" y="284"/>
                  </a:lnTo>
                  <a:lnTo>
                    <a:pt x="408" y="307"/>
                  </a:lnTo>
                  <a:lnTo>
                    <a:pt x="417" y="308"/>
                  </a:lnTo>
                  <a:lnTo>
                    <a:pt x="427" y="327"/>
                  </a:lnTo>
                  <a:lnTo>
                    <a:pt x="452" y="327"/>
                  </a:lnTo>
                  <a:lnTo>
                    <a:pt x="460" y="338"/>
                  </a:lnTo>
                  <a:lnTo>
                    <a:pt x="467" y="338"/>
                  </a:lnTo>
                  <a:lnTo>
                    <a:pt x="471" y="321"/>
                  </a:lnTo>
                  <a:lnTo>
                    <a:pt x="491" y="305"/>
                  </a:lnTo>
                  <a:lnTo>
                    <a:pt x="500" y="301"/>
                  </a:lnTo>
                  <a:lnTo>
                    <a:pt x="501" y="291"/>
                  </a:lnTo>
                  <a:lnTo>
                    <a:pt x="513" y="288"/>
                  </a:lnTo>
                  <a:lnTo>
                    <a:pt x="547" y="296"/>
                  </a:lnTo>
                  <a:lnTo>
                    <a:pt x="545" y="282"/>
                  </a:lnTo>
                  <a:lnTo>
                    <a:pt x="554" y="277"/>
                  </a:lnTo>
                  <a:lnTo>
                    <a:pt x="585" y="288"/>
                  </a:lnTo>
                  <a:lnTo>
                    <a:pt x="591" y="285"/>
                  </a:lnTo>
                  <a:lnTo>
                    <a:pt x="622" y="286"/>
                  </a:lnTo>
                  <a:lnTo>
                    <a:pt x="652" y="288"/>
                  </a:lnTo>
                  <a:lnTo>
                    <a:pt x="664" y="296"/>
                  </a:lnTo>
                  <a:lnTo>
                    <a:pt x="678" y="299"/>
                  </a:lnTo>
                  <a:lnTo>
                    <a:pt x="671" y="286"/>
                  </a:lnTo>
                  <a:lnTo>
                    <a:pt x="682" y="280"/>
                  </a:lnTo>
                  <a:lnTo>
                    <a:pt x="649" y="240"/>
                  </a:lnTo>
                  <a:lnTo>
                    <a:pt x="683" y="232"/>
                  </a:lnTo>
                  <a:lnTo>
                    <a:pt x="691" y="226"/>
                  </a:lnTo>
                  <a:lnTo>
                    <a:pt x="687" y="185"/>
                  </a:lnTo>
                  <a:lnTo>
                    <a:pt x="727" y="192"/>
                  </a:lnTo>
                  <a:lnTo>
                    <a:pt x="733" y="181"/>
                  </a:lnTo>
                  <a:lnTo>
                    <a:pt x="723" y="159"/>
                  </a:lnTo>
                  <a:lnTo>
                    <a:pt x="737" y="156"/>
                  </a:lnTo>
                  <a:lnTo>
                    <a:pt x="744" y="140"/>
                  </a:lnTo>
                  <a:lnTo>
                    <a:pt x="728" y="126"/>
                  </a:lnTo>
                  <a:lnTo>
                    <a:pt x="706" y="130"/>
                  </a:lnTo>
                  <a:lnTo>
                    <a:pt x="693" y="120"/>
                  </a:lnTo>
                  <a:lnTo>
                    <a:pt x="678" y="116"/>
                  </a:lnTo>
                  <a:lnTo>
                    <a:pt x="664" y="102"/>
                  </a:lnTo>
                  <a:lnTo>
                    <a:pt x="651" y="98"/>
                  </a:lnTo>
                  <a:lnTo>
                    <a:pt x="628" y="104"/>
                  </a:lnTo>
                  <a:lnTo>
                    <a:pt x="597" y="91"/>
                  </a:lnTo>
                  <a:lnTo>
                    <a:pt x="593" y="103"/>
                  </a:lnTo>
                  <a:lnTo>
                    <a:pt x="525" y="45"/>
                  </a:lnTo>
                  <a:lnTo>
                    <a:pt x="495" y="27"/>
                  </a:lnTo>
                  <a:lnTo>
                    <a:pt x="497" y="21"/>
                  </a:lnTo>
                  <a:lnTo>
                    <a:pt x="464" y="41"/>
                  </a:lnTo>
                  <a:lnTo>
                    <a:pt x="447" y="43"/>
                  </a:lnTo>
                  <a:lnTo>
                    <a:pt x="443" y="31"/>
                  </a:lnTo>
                  <a:lnTo>
                    <a:pt x="417" y="22"/>
                  </a:lnTo>
                  <a:lnTo>
                    <a:pt x="400" y="28"/>
                  </a:lnTo>
                  <a:lnTo>
                    <a:pt x="384" y="5"/>
                  </a:lnTo>
                  <a:lnTo>
                    <a:pt x="384" y="5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1" name="Kenya">
              <a:extLst>
                <a:ext uri="{FF2B5EF4-FFF2-40B4-BE49-F238E27FC236}">
                  <a16:creationId xmlns:a16="http://schemas.microsoft.com/office/drawing/2014/main" id="{91C91F51-00D4-4196-8907-D90699AAB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5494" y="3854223"/>
              <a:ext cx="263525" cy="384175"/>
            </a:xfrm>
            <a:custGeom>
              <a:avLst/>
              <a:gdLst>
                <a:gd name="T0" fmla="*/ 166 w 166"/>
                <a:gd name="T1" fmla="*/ 38 h 242"/>
                <a:gd name="T2" fmla="*/ 152 w 166"/>
                <a:gd name="T3" fmla="*/ 38 h 242"/>
                <a:gd name="T4" fmla="*/ 143 w 166"/>
                <a:gd name="T5" fmla="*/ 30 h 242"/>
                <a:gd name="T6" fmla="*/ 124 w 166"/>
                <a:gd name="T7" fmla="*/ 40 h 242"/>
                <a:gd name="T8" fmla="*/ 118 w 166"/>
                <a:gd name="T9" fmla="*/ 50 h 242"/>
                <a:gd name="T10" fmla="*/ 104 w 166"/>
                <a:gd name="T11" fmla="*/ 48 h 242"/>
                <a:gd name="T12" fmla="*/ 100 w 166"/>
                <a:gd name="T13" fmla="*/ 45 h 242"/>
                <a:gd name="T14" fmla="*/ 94 w 166"/>
                <a:gd name="T15" fmla="*/ 45 h 242"/>
                <a:gd name="T16" fmla="*/ 88 w 166"/>
                <a:gd name="T17" fmla="*/ 45 h 242"/>
                <a:gd name="T18" fmla="*/ 61 w 166"/>
                <a:gd name="T19" fmla="*/ 26 h 242"/>
                <a:gd name="T20" fmla="*/ 47 w 166"/>
                <a:gd name="T21" fmla="*/ 26 h 242"/>
                <a:gd name="T22" fmla="*/ 39 w 166"/>
                <a:gd name="T23" fmla="*/ 17 h 242"/>
                <a:gd name="T24" fmla="*/ 39 w 166"/>
                <a:gd name="T25" fmla="*/ 4 h 242"/>
                <a:gd name="T26" fmla="*/ 28 w 166"/>
                <a:gd name="T27" fmla="*/ 0 h 242"/>
                <a:gd name="T28" fmla="*/ 14 w 166"/>
                <a:gd name="T29" fmla="*/ 16 h 242"/>
                <a:gd name="T30" fmla="*/ 1 w 166"/>
                <a:gd name="T31" fmla="*/ 30 h 242"/>
                <a:gd name="T32" fmla="*/ 11 w 166"/>
                <a:gd name="T33" fmla="*/ 46 h 242"/>
                <a:gd name="T34" fmla="*/ 14 w 166"/>
                <a:gd name="T35" fmla="*/ 58 h 242"/>
                <a:gd name="T36" fmla="*/ 23 w 166"/>
                <a:gd name="T37" fmla="*/ 86 h 242"/>
                <a:gd name="T38" fmla="*/ 16 w 166"/>
                <a:gd name="T39" fmla="*/ 103 h 242"/>
                <a:gd name="T40" fmla="*/ 5 w 166"/>
                <a:gd name="T41" fmla="*/ 119 h 242"/>
                <a:gd name="T42" fmla="*/ 0 w 166"/>
                <a:gd name="T43" fmla="*/ 128 h 242"/>
                <a:gd name="T44" fmla="*/ 0 w 166"/>
                <a:gd name="T45" fmla="*/ 129 h 242"/>
                <a:gd name="T46" fmla="*/ 5 w 166"/>
                <a:gd name="T47" fmla="*/ 139 h 242"/>
                <a:gd name="T48" fmla="*/ 4 w 166"/>
                <a:gd name="T49" fmla="*/ 157 h 242"/>
                <a:gd name="T50" fmla="*/ 79 w 166"/>
                <a:gd name="T51" fmla="*/ 205 h 242"/>
                <a:gd name="T52" fmla="*/ 80 w 166"/>
                <a:gd name="T53" fmla="*/ 218 h 242"/>
                <a:gd name="T54" fmla="*/ 110 w 166"/>
                <a:gd name="T55" fmla="*/ 242 h 242"/>
                <a:gd name="T56" fmla="*/ 118 w 166"/>
                <a:gd name="T57" fmla="*/ 234 h 242"/>
                <a:gd name="T58" fmla="*/ 123 w 166"/>
                <a:gd name="T59" fmla="*/ 218 h 242"/>
                <a:gd name="T60" fmla="*/ 130 w 166"/>
                <a:gd name="T61" fmla="*/ 209 h 242"/>
                <a:gd name="T62" fmla="*/ 133 w 166"/>
                <a:gd name="T63" fmla="*/ 192 h 242"/>
                <a:gd name="T64" fmla="*/ 141 w 166"/>
                <a:gd name="T65" fmla="*/ 190 h 242"/>
                <a:gd name="T66" fmla="*/ 146 w 166"/>
                <a:gd name="T67" fmla="*/ 181 h 242"/>
                <a:gd name="T68" fmla="*/ 161 w 166"/>
                <a:gd name="T69" fmla="*/ 171 h 242"/>
                <a:gd name="T70" fmla="*/ 148 w 166"/>
                <a:gd name="T71" fmla="*/ 151 h 242"/>
                <a:gd name="T72" fmla="*/ 148 w 166"/>
                <a:gd name="T73" fmla="*/ 65 h 242"/>
                <a:gd name="T74" fmla="*/ 166 w 166"/>
                <a:gd name="T75" fmla="*/ 38 h 242"/>
                <a:gd name="T76" fmla="*/ 166 w 166"/>
                <a:gd name="T77" fmla="*/ 38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66" h="242">
                  <a:moveTo>
                    <a:pt x="166" y="38"/>
                  </a:moveTo>
                  <a:lnTo>
                    <a:pt x="152" y="38"/>
                  </a:lnTo>
                  <a:lnTo>
                    <a:pt x="143" y="30"/>
                  </a:lnTo>
                  <a:lnTo>
                    <a:pt x="124" y="40"/>
                  </a:lnTo>
                  <a:lnTo>
                    <a:pt x="118" y="50"/>
                  </a:lnTo>
                  <a:lnTo>
                    <a:pt x="104" y="48"/>
                  </a:lnTo>
                  <a:lnTo>
                    <a:pt x="100" y="45"/>
                  </a:lnTo>
                  <a:lnTo>
                    <a:pt x="94" y="45"/>
                  </a:lnTo>
                  <a:lnTo>
                    <a:pt x="88" y="45"/>
                  </a:lnTo>
                  <a:lnTo>
                    <a:pt x="61" y="26"/>
                  </a:lnTo>
                  <a:lnTo>
                    <a:pt x="47" y="26"/>
                  </a:lnTo>
                  <a:lnTo>
                    <a:pt x="39" y="17"/>
                  </a:lnTo>
                  <a:lnTo>
                    <a:pt x="39" y="4"/>
                  </a:lnTo>
                  <a:lnTo>
                    <a:pt x="28" y="0"/>
                  </a:lnTo>
                  <a:lnTo>
                    <a:pt x="14" y="16"/>
                  </a:lnTo>
                  <a:lnTo>
                    <a:pt x="1" y="30"/>
                  </a:lnTo>
                  <a:lnTo>
                    <a:pt x="11" y="46"/>
                  </a:lnTo>
                  <a:lnTo>
                    <a:pt x="14" y="58"/>
                  </a:lnTo>
                  <a:lnTo>
                    <a:pt x="23" y="86"/>
                  </a:lnTo>
                  <a:lnTo>
                    <a:pt x="16" y="103"/>
                  </a:lnTo>
                  <a:lnTo>
                    <a:pt x="5" y="119"/>
                  </a:lnTo>
                  <a:lnTo>
                    <a:pt x="0" y="128"/>
                  </a:lnTo>
                  <a:lnTo>
                    <a:pt x="0" y="129"/>
                  </a:lnTo>
                  <a:lnTo>
                    <a:pt x="5" y="139"/>
                  </a:lnTo>
                  <a:lnTo>
                    <a:pt x="4" y="157"/>
                  </a:lnTo>
                  <a:lnTo>
                    <a:pt x="79" y="205"/>
                  </a:lnTo>
                  <a:lnTo>
                    <a:pt x="80" y="218"/>
                  </a:lnTo>
                  <a:lnTo>
                    <a:pt x="110" y="242"/>
                  </a:lnTo>
                  <a:lnTo>
                    <a:pt x="118" y="234"/>
                  </a:lnTo>
                  <a:lnTo>
                    <a:pt x="123" y="218"/>
                  </a:lnTo>
                  <a:lnTo>
                    <a:pt x="130" y="209"/>
                  </a:lnTo>
                  <a:lnTo>
                    <a:pt x="133" y="192"/>
                  </a:lnTo>
                  <a:lnTo>
                    <a:pt x="141" y="190"/>
                  </a:lnTo>
                  <a:lnTo>
                    <a:pt x="146" y="181"/>
                  </a:lnTo>
                  <a:lnTo>
                    <a:pt x="161" y="171"/>
                  </a:lnTo>
                  <a:lnTo>
                    <a:pt x="148" y="151"/>
                  </a:lnTo>
                  <a:lnTo>
                    <a:pt x="148" y="65"/>
                  </a:lnTo>
                  <a:lnTo>
                    <a:pt x="166" y="38"/>
                  </a:lnTo>
                  <a:lnTo>
                    <a:pt x="166" y="38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2" name="Kyrgyzstan">
              <a:extLst>
                <a:ext uri="{FF2B5EF4-FFF2-40B4-BE49-F238E27FC236}">
                  <a16:creationId xmlns:a16="http://schemas.microsoft.com/office/drawing/2014/main" id="{043191E0-3EA9-46F3-8B29-E7E29A294F7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30381" y="2428648"/>
              <a:ext cx="300037" cy="149225"/>
            </a:xfrm>
            <a:custGeom>
              <a:avLst/>
              <a:gdLst>
                <a:gd name="T0" fmla="*/ 189 w 189"/>
                <a:gd name="T1" fmla="*/ 22 h 94"/>
                <a:gd name="T2" fmla="*/ 175 w 189"/>
                <a:gd name="T3" fmla="*/ 19 h 94"/>
                <a:gd name="T4" fmla="*/ 163 w 189"/>
                <a:gd name="T5" fmla="*/ 11 h 94"/>
                <a:gd name="T6" fmla="*/ 133 w 189"/>
                <a:gd name="T7" fmla="*/ 9 h 94"/>
                <a:gd name="T8" fmla="*/ 102 w 189"/>
                <a:gd name="T9" fmla="*/ 8 h 94"/>
                <a:gd name="T10" fmla="*/ 96 w 189"/>
                <a:gd name="T11" fmla="*/ 11 h 94"/>
                <a:gd name="T12" fmla="*/ 65 w 189"/>
                <a:gd name="T13" fmla="*/ 0 h 94"/>
                <a:gd name="T14" fmla="*/ 56 w 189"/>
                <a:gd name="T15" fmla="*/ 5 h 94"/>
                <a:gd name="T16" fmla="*/ 58 w 189"/>
                <a:gd name="T17" fmla="*/ 19 h 94"/>
                <a:gd name="T18" fmla="*/ 24 w 189"/>
                <a:gd name="T19" fmla="*/ 11 h 94"/>
                <a:gd name="T20" fmla="*/ 12 w 189"/>
                <a:gd name="T21" fmla="*/ 14 h 94"/>
                <a:gd name="T22" fmla="*/ 11 w 189"/>
                <a:gd name="T23" fmla="*/ 24 h 94"/>
                <a:gd name="T24" fmla="*/ 18 w 189"/>
                <a:gd name="T25" fmla="*/ 27 h 94"/>
                <a:gd name="T26" fmla="*/ 6 w 189"/>
                <a:gd name="T27" fmla="*/ 41 h 94"/>
                <a:gd name="T28" fmla="*/ 23 w 189"/>
                <a:gd name="T29" fmla="*/ 50 h 94"/>
                <a:gd name="T30" fmla="*/ 35 w 189"/>
                <a:gd name="T31" fmla="*/ 44 h 94"/>
                <a:gd name="T32" fmla="*/ 62 w 189"/>
                <a:gd name="T33" fmla="*/ 56 h 94"/>
                <a:gd name="T34" fmla="*/ 43 w 189"/>
                <a:gd name="T35" fmla="*/ 73 h 94"/>
                <a:gd name="T36" fmla="*/ 27 w 189"/>
                <a:gd name="T37" fmla="*/ 71 h 94"/>
                <a:gd name="T38" fmla="*/ 22 w 189"/>
                <a:gd name="T39" fmla="*/ 79 h 94"/>
                <a:gd name="T40" fmla="*/ 0 w 189"/>
                <a:gd name="T41" fmla="*/ 74 h 94"/>
                <a:gd name="T42" fmla="*/ 3 w 189"/>
                <a:gd name="T43" fmla="*/ 88 h 94"/>
                <a:gd name="T44" fmla="*/ 22 w 189"/>
                <a:gd name="T45" fmla="*/ 86 h 94"/>
                <a:gd name="T46" fmla="*/ 49 w 189"/>
                <a:gd name="T47" fmla="*/ 94 h 94"/>
                <a:gd name="T48" fmla="*/ 85 w 189"/>
                <a:gd name="T49" fmla="*/ 91 h 94"/>
                <a:gd name="T50" fmla="*/ 89 w 189"/>
                <a:gd name="T51" fmla="*/ 85 h 94"/>
                <a:gd name="T52" fmla="*/ 84 w 189"/>
                <a:gd name="T53" fmla="*/ 80 h 94"/>
                <a:gd name="T54" fmla="*/ 99 w 189"/>
                <a:gd name="T55" fmla="*/ 69 h 94"/>
                <a:gd name="T56" fmla="*/ 111 w 189"/>
                <a:gd name="T57" fmla="*/ 64 h 94"/>
                <a:gd name="T58" fmla="*/ 132 w 189"/>
                <a:gd name="T59" fmla="*/ 67 h 94"/>
                <a:gd name="T60" fmla="*/ 134 w 189"/>
                <a:gd name="T61" fmla="*/ 52 h 94"/>
                <a:gd name="T62" fmla="*/ 159 w 189"/>
                <a:gd name="T63" fmla="*/ 49 h 94"/>
                <a:gd name="T64" fmla="*/ 162 w 189"/>
                <a:gd name="T65" fmla="*/ 41 h 94"/>
                <a:gd name="T66" fmla="*/ 188 w 189"/>
                <a:gd name="T67" fmla="*/ 27 h 94"/>
                <a:gd name="T68" fmla="*/ 189 w 189"/>
                <a:gd name="T69" fmla="*/ 22 h 94"/>
                <a:gd name="T70" fmla="*/ 189 w 189"/>
                <a:gd name="T71" fmla="*/ 22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9" h="94">
                  <a:moveTo>
                    <a:pt x="189" y="22"/>
                  </a:moveTo>
                  <a:lnTo>
                    <a:pt x="175" y="19"/>
                  </a:lnTo>
                  <a:lnTo>
                    <a:pt x="163" y="11"/>
                  </a:lnTo>
                  <a:lnTo>
                    <a:pt x="133" y="9"/>
                  </a:lnTo>
                  <a:lnTo>
                    <a:pt x="102" y="8"/>
                  </a:lnTo>
                  <a:lnTo>
                    <a:pt x="96" y="11"/>
                  </a:lnTo>
                  <a:lnTo>
                    <a:pt x="65" y="0"/>
                  </a:lnTo>
                  <a:lnTo>
                    <a:pt x="56" y="5"/>
                  </a:lnTo>
                  <a:lnTo>
                    <a:pt x="58" y="19"/>
                  </a:lnTo>
                  <a:lnTo>
                    <a:pt x="24" y="11"/>
                  </a:lnTo>
                  <a:lnTo>
                    <a:pt x="12" y="14"/>
                  </a:lnTo>
                  <a:lnTo>
                    <a:pt x="11" y="24"/>
                  </a:lnTo>
                  <a:lnTo>
                    <a:pt x="18" y="27"/>
                  </a:lnTo>
                  <a:lnTo>
                    <a:pt x="6" y="41"/>
                  </a:lnTo>
                  <a:lnTo>
                    <a:pt x="23" y="50"/>
                  </a:lnTo>
                  <a:lnTo>
                    <a:pt x="35" y="44"/>
                  </a:lnTo>
                  <a:lnTo>
                    <a:pt x="62" y="56"/>
                  </a:lnTo>
                  <a:lnTo>
                    <a:pt x="43" y="73"/>
                  </a:lnTo>
                  <a:lnTo>
                    <a:pt x="27" y="71"/>
                  </a:lnTo>
                  <a:lnTo>
                    <a:pt x="22" y="79"/>
                  </a:lnTo>
                  <a:lnTo>
                    <a:pt x="0" y="74"/>
                  </a:lnTo>
                  <a:lnTo>
                    <a:pt x="3" y="88"/>
                  </a:lnTo>
                  <a:lnTo>
                    <a:pt x="22" y="86"/>
                  </a:lnTo>
                  <a:lnTo>
                    <a:pt x="49" y="94"/>
                  </a:lnTo>
                  <a:lnTo>
                    <a:pt x="85" y="91"/>
                  </a:lnTo>
                  <a:lnTo>
                    <a:pt x="89" y="85"/>
                  </a:lnTo>
                  <a:lnTo>
                    <a:pt x="84" y="80"/>
                  </a:lnTo>
                  <a:lnTo>
                    <a:pt x="99" y="69"/>
                  </a:lnTo>
                  <a:lnTo>
                    <a:pt x="111" y="64"/>
                  </a:lnTo>
                  <a:lnTo>
                    <a:pt x="132" y="67"/>
                  </a:lnTo>
                  <a:lnTo>
                    <a:pt x="134" y="52"/>
                  </a:lnTo>
                  <a:lnTo>
                    <a:pt x="159" y="49"/>
                  </a:lnTo>
                  <a:lnTo>
                    <a:pt x="162" y="41"/>
                  </a:lnTo>
                  <a:lnTo>
                    <a:pt x="188" y="27"/>
                  </a:lnTo>
                  <a:lnTo>
                    <a:pt x="189" y="22"/>
                  </a:lnTo>
                  <a:lnTo>
                    <a:pt x="189" y="22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3" name="Cambodia">
              <a:extLst>
                <a:ext uri="{FF2B5EF4-FFF2-40B4-BE49-F238E27FC236}">
                  <a16:creationId xmlns:a16="http://schemas.microsoft.com/office/drawing/2014/main" id="{1742C566-68A2-468C-B566-2E9A0EDF2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8156" y="3512911"/>
              <a:ext cx="174625" cy="153988"/>
            </a:xfrm>
            <a:custGeom>
              <a:avLst/>
              <a:gdLst>
                <a:gd name="T0" fmla="*/ 103 w 110"/>
                <a:gd name="T1" fmla="*/ 8 h 97"/>
                <a:gd name="T2" fmla="*/ 83 w 110"/>
                <a:gd name="T3" fmla="*/ 0 h 97"/>
                <a:gd name="T4" fmla="*/ 76 w 110"/>
                <a:gd name="T5" fmla="*/ 16 h 97"/>
                <a:gd name="T6" fmla="*/ 58 w 110"/>
                <a:gd name="T7" fmla="*/ 7 h 97"/>
                <a:gd name="T8" fmla="*/ 38 w 110"/>
                <a:gd name="T9" fmla="*/ 4 h 97"/>
                <a:gd name="T10" fmla="*/ 11 w 110"/>
                <a:gd name="T11" fmla="*/ 8 h 97"/>
                <a:gd name="T12" fmla="*/ 0 w 110"/>
                <a:gd name="T13" fmla="*/ 28 h 97"/>
                <a:gd name="T14" fmla="*/ 8 w 110"/>
                <a:gd name="T15" fmla="*/ 56 h 97"/>
                <a:gd name="T16" fmla="*/ 21 w 110"/>
                <a:gd name="T17" fmla="*/ 81 h 97"/>
                <a:gd name="T18" fmla="*/ 31 w 110"/>
                <a:gd name="T19" fmla="*/ 93 h 97"/>
                <a:gd name="T20" fmla="*/ 48 w 110"/>
                <a:gd name="T21" fmla="*/ 97 h 97"/>
                <a:gd name="T22" fmla="*/ 65 w 110"/>
                <a:gd name="T23" fmla="*/ 88 h 97"/>
                <a:gd name="T24" fmla="*/ 87 w 110"/>
                <a:gd name="T25" fmla="*/ 86 h 97"/>
                <a:gd name="T26" fmla="*/ 77 w 110"/>
                <a:gd name="T27" fmla="*/ 71 h 97"/>
                <a:gd name="T28" fmla="*/ 110 w 110"/>
                <a:gd name="T29" fmla="*/ 53 h 97"/>
                <a:gd name="T30" fmla="*/ 109 w 110"/>
                <a:gd name="T31" fmla="*/ 24 h 97"/>
                <a:gd name="T32" fmla="*/ 103 w 110"/>
                <a:gd name="T33" fmla="*/ 8 h 97"/>
                <a:gd name="T34" fmla="*/ 103 w 110"/>
                <a:gd name="T35" fmla="*/ 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0" h="97">
                  <a:moveTo>
                    <a:pt x="103" y="8"/>
                  </a:moveTo>
                  <a:lnTo>
                    <a:pt x="83" y="0"/>
                  </a:lnTo>
                  <a:lnTo>
                    <a:pt x="76" y="16"/>
                  </a:lnTo>
                  <a:lnTo>
                    <a:pt x="58" y="7"/>
                  </a:lnTo>
                  <a:lnTo>
                    <a:pt x="38" y="4"/>
                  </a:lnTo>
                  <a:lnTo>
                    <a:pt x="11" y="8"/>
                  </a:lnTo>
                  <a:lnTo>
                    <a:pt x="0" y="28"/>
                  </a:lnTo>
                  <a:lnTo>
                    <a:pt x="8" y="56"/>
                  </a:lnTo>
                  <a:lnTo>
                    <a:pt x="21" y="81"/>
                  </a:lnTo>
                  <a:lnTo>
                    <a:pt x="31" y="93"/>
                  </a:lnTo>
                  <a:lnTo>
                    <a:pt x="48" y="97"/>
                  </a:lnTo>
                  <a:lnTo>
                    <a:pt x="65" y="88"/>
                  </a:lnTo>
                  <a:lnTo>
                    <a:pt x="87" y="86"/>
                  </a:lnTo>
                  <a:lnTo>
                    <a:pt x="77" y="71"/>
                  </a:lnTo>
                  <a:lnTo>
                    <a:pt x="110" y="53"/>
                  </a:lnTo>
                  <a:lnTo>
                    <a:pt x="109" y="24"/>
                  </a:lnTo>
                  <a:lnTo>
                    <a:pt x="103" y="8"/>
                  </a:lnTo>
                  <a:lnTo>
                    <a:pt x="103" y="8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4" name="South Korea">
              <a:extLst>
                <a:ext uri="{FF2B5EF4-FFF2-40B4-BE49-F238E27FC236}">
                  <a16:creationId xmlns:a16="http://schemas.microsoft.com/office/drawing/2014/main" id="{5C400512-8E61-4E0B-9C3F-FE1486B622E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1556" y="2603274"/>
              <a:ext cx="141287" cy="161925"/>
            </a:xfrm>
            <a:custGeom>
              <a:avLst/>
              <a:gdLst>
                <a:gd name="T0" fmla="*/ 0 w 89"/>
                <a:gd name="T1" fmla="*/ 21 h 102"/>
                <a:gd name="T2" fmla="*/ 24 w 89"/>
                <a:gd name="T3" fmla="*/ 42 h 102"/>
                <a:gd name="T4" fmla="*/ 10 w 89"/>
                <a:gd name="T5" fmla="*/ 45 h 102"/>
                <a:gd name="T6" fmla="*/ 30 w 89"/>
                <a:gd name="T7" fmla="*/ 71 h 102"/>
                <a:gd name="T8" fmla="*/ 35 w 89"/>
                <a:gd name="T9" fmla="*/ 89 h 102"/>
                <a:gd name="T10" fmla="*/ 42 w 89"/>
                <a:gd name="T11" fmla="*/ 102 h 102"/>
                <a:gd name="T12" fmla="*/ 59 w 89"/>
                <a:gd name="T13" fmla="*/ 100 h 102"/>
                <a:gd name="T14" fmla="*/ 71 w 89"/>
                <a:gd name="T15" fmla="*/ 90 h 102"/>
                <a:gd name="T16" fmla="*/ 87 w 89"/>
                <a:gd name="T17" fmla="*/ 86 h 102"/>
                <a:gd name="T18" fmla="*/ 89 w 89"/>
                <a:gd name="T19" fmla="*/ 72 h 102"/>
                <a:gd name="T20" fmla="*/ 76 w 89"/>
                <a:gd name="T21" fmla="*/ 44 h 102"/>
                <a:gd name="T22" fmla="*/ 64 w 89"/>
                <a:gd name="T23" fmla="*/ 29 h 102"/>
                <a:gd name="T24" fmla="*/ 33 w 89"/>
                <a:gd name="T25" fmla="*/ 0 h 102"/>
                <a:gd name="T26" fmla="*/ 33 w 89"/>
                <a:gd name="T27" fmla="*/ 6 h 102"/>
                <a:gd name="T28" fmla="*/ 25 w 89"/>
                <a:gd name="T29" fmla="*/ 7 h 102"/>
                <a:gd name="T30" fmla="*/ 12 w 89"/>
                <a:gd name="T31" fmla="*/ 9 h 102"/>
                <a:gd name="T32" fmla="*/ 10 w 89"/>
                <a:gd name="T33" fmla="*/ 19 h 102"/>
                <a:gd name="T34" fmla="*/ 1 w 89"/>
                <a:gd name="T35" fmla="*/ 18 h 102"/>
                <a:gd name="T36" fmla="*/ 0 w 89"/>
                <a:gd name="T37" fmla="*/ 21 h 102"/>
                <a:gd name="T38" fmla="*/ 0 w 89"/>
                <a:gd name="T39" fmla="*/ 21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9" h="102">
                  <a:moveTo>
                    <a:pt x="0" y="21"/>
                  </a:moveTo>
                  <a:lnTo>
                    <a:pt x="24" y="42"/>
                  </a:lnTo>
                  <a:lnTo>
                    <a:pt x="10" y="45"/>
                  </a:lnTo>
                  <a:lnTo>
                    <a:pt x="30" y="71"/>
                  </a:lnTo>
                  <a:lnTo>
                    <a:pt x="35" y="89"/>
                  </a:lnTo>
                  <a:lnTo>
                    <a:pt x="42" y="102"/>
                  </a:lnTo>
                  <a:lnTo>
                    <a:pt x="59" y="100"/>
                  </a:lnTo>
                  <a:lnTo>
                    <a:pt x="71" y="90"/>
                  </a:lnTo>
                  <a:lnTo>
                    <a:pt x="87" y="86"/>
                  </a:lnTo>
                  <a:lnTo>
                    <a:pt x="89" y="72"/>
                  </a:lnTo>
                  <a:lnTo>
                    <a:pt x="76" y="44"/>
                  </a:lnTo>
                  <a:lnTo>
                    <a:pt x="64" y="29"/>
                  </a:lnTo>
                  <a:lnTo>
                    <a:pt x="33" y="0"/>
                  </a:lnTo>
                  <a:lnTo>
                    <a:pt x="33" y="6"/>
                  </a:lnTo>
                  <a:lnTo>
                    <a:pt x="25" y="7"/>
                  </a:lnTo>
                  <a:lnTo>
                    <a:pt x="12" y="9"/>
                  </a:lnTo>
                  <a:lnTo>
                    <a:pt x="10" y="19"/>
                  </a:lnTo>
                  <a:lnTo>
                    <a:pt x="1" y="18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5" name="Kuwait">
              <a:extLst>
                <a:ext uri="{FF2B5EF4-FFF2-40B4-BE49-F238E27FC236}">
                  <a16:creationId xmlns:a16="http://schemas.microsoft.com/office/drawing/2014/main" id="{B8A16BB0-30FF-4211-92A7-703A166B0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0619" y="2928712"/>
              <a:ext cx="60325" cy="57150"/>
            </a:xfrm>
            <a:custGeom>
              <a:avLst/>
              <a:gdLst>
                <a:gd name="T0" fmla="*/ 25 w 38"/>
                <a:gd name="T1" fmla="*/ 2 h 36"/>
                <a:gd name="T2" fmla="*/ 12 w 38"/>
                <a:gd name="T3" fmla="*/ 0 h 36"/>
                <a:gd name="T4" fmla="*/ 0 w 38"/>
                <a:gd name="T5" fmla="*/ 22 h 36"/>
                <a:gd name="T6" fmla="*/ 17 w 38"/>
                <a:gd name="T7" fmla="*/ 24 h 36"/>
                <a:gd name="T8" fmla="*/ 24 w 38"/>
                <a:gd name="T9" fmla="*/ 36 h 36"/>
                <a:gd name="T10" fmla="*/ 38 w 38"/>
                <a:gd name="T11" fmla="*/ 36 h 36"/>
                <a:gd name="T12" fmla="*/ 29 w 38"/>
                <a:gd name="T13" fmla="*/ 18 h 36"/>
                <a:gd name="T14" fmla="*/ 30 w 38"/>
                <a:gd name="T15" fmla="*/ 12 h 36"/>
                <a:gd name="T16" fmla="*/ 25 w 38"/>
                <a:gd name="T17" fmla="*/ 2 h 36"/>
                <a:gd name="T18" fmla="*/ 25 w 38"/>
                <a:gd name="T19" fmla="*/ 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6">
                  <a:moveTo>
                    <a:pt x="25" y="2"/>
                  </a:moveTo>
                  <a:lnTo>
                    <a:pt x="12" y="0"/>
                  </a:lnTo>
                  <a:lnTo>
                    <a:pt x="0" y="22"/>
                  </a:lnTo>
                  <a:lnTo>
                    <a:pt x="17" y="24"/>
                  </a:lnTo>
                  <a:lnTo>
                    <a:pt x="24" y="36"/>
                  </a:lnTo>
                  <a:lnTo>
                    <a:pt x="38" y="36"/>
                  </a:lnTo>
                  <a:lnTo>
                    <a:pt x="29" y="18"/>
                  </a:lnTo>
                  <a:lnTo>
                    <a:pt x="30" y="12"/>
                  </a:lnTo>
                  <a:lnTo>
                    <a:pt x="25" y="2"/>
                  </a:lnTo>
                  <a:lnTo>
                    <a:pt x="25" y="2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6" name="Laos">
              <a:extLst>
                <a:ext uri="{FF2B5EF4-FFF2-40B4-BE49-F238E27FC236}">
                  <a16:creationId xmlns:a16="http://schemas.microsoft.com/office/drawing/2014/main" id="{A4F04807-8B9C-4592-A24F-4EB044E040C5}"/>
                </a:ext>
              </a:extLst>
            </p:cNvPr>
            <p:cNvSpPr>
              <a:spLocks/>
            </p:cNvSpPr>
            <p:nvPr/>
          </p:nvSpPr>
          <p:spPr bwMode="auto">
            <a:xfrm>
              <a:off x="9270206" y="3214461"/>
              <a:ext cx="273050" cy="323850"/>
            </a:xfrm>
            <a:custGeom>
              <a:avLst/>
              <a:gdLst>
                <a:gd name="T0" fmla="*/ 171 w 172"/>
                <a:gd name="T1" fmla="*/ 196 h 204"/>
                <a:gd name="T2" fmla="*/ 172 w 172"/>
                <a:gd name="T3" fmla="*/ 173 h 204"/>
                <a:gd name="T4" fmla="*/ 164 w 172"/>
                <a:gd name="T5" fmla="*/ 156 h 204"/>
                <a:gd name="T6" fmla="*/ 146 w 172"/>
                <a:gd name="T7" fmla="*/ 139 h 204"/>
                <a:gd name="T8" fmla="*/ 131 w 172"/>
                <a:gd name="T9" fmla="*/ 119 h 204"/>
                <a:gd name="T10" fmla="*/ 109 w 172"/>
                <a:gd name="T11" fmla="*/ 91 h 204"/>
                <a:gd name="T12" fmla="*/ 82 w 172"/>
                <a:gd name="T13" fmla="*/ 76 h 204"/>
                <a:gd name="T14" fmla="*/ 87 w 172"/>
                <a:gd name="T15" fmla="*/ 67 h 204"/>
                <a:gd name="T16" fmla="*/ 99 w 172"/>
                <a:gd name="T17" fmla="*/ 61 h 204"/>
                <a:gd name="T18" fmla="*/ 88 w 172"/>
                <a:gd name="T19" fmla="*/ 40 h 204"/>
                <a:gd name="T20" fmla="*/ 62 w 172"/>
                <a:gd name="T21" fmla="*/ 40 h 204"/>
                <a:gd name="T22" fmla="*/ 49 w 172"/>
                <a:gd name="T23" fmla="*/ 19 h 204"/>
                <a:gd name="T24" fmla="*/ 34 w 172"/>
                <a:gd name="T25" fmla="*/ 0 h 204"/>
                <a:gd name="T26" fmla="*/ 24 w 172"/>
                <a:gd name="T27" fmla="*/ 4 h 204"/>
                <a:gd name="T28" fmla="*/ 32 w 172"/>
                <a:gd name="T29" fmla="*/ 31 h 204"/>
                <a:gd name="T30" fmla="*/ 20 w 172"/>
                <a:gd name="T31" fmla="*/ 30 h 204"/>
                <a:gd name="T32" fmla="*/ 19 w 172"/>
                <a:gd name="T33" fmla="*/ 25 h 204"/>
                <a:gd name="T34" fmla="*/ 3 w 172"/>
                <a:gd name="T35" fmla="*/ 40 h 204"/>
                <a:gd name="T36" fmla="*/ 0 w 172"/>
                <a:gd name="T37" fmla="*/ 49 h 204"/>
                <a:gd name="T38" fmla="*/ 9 w 172"/>
                <a:gd name="T39" fmla="*/ 56 h 204"/>
                <a:gd name="T40" fmla="*/ 13 w 172"/>
                <a:gd name="T41" fmla="*/ 70 h 204"/>
                <a:gd name="T42" fmla="*/ 27 w 172"/>
                <a:gd name="T43" fmla="*/ 71 h 204"/>
                <a:gd name="T44" fmla="*/ 26 w 172"/>
                <a:gd name="T45" fmla="*/ 96 h 204"/>
                <a:gd name="T46" fmla="*/ 30 w 172"/>
                <a:gd name="T47" fmla="*/ 118 h 204"/>
                <a:gd name="T48" fmla="*/ 49 w 172"/>
                <a:gd name="T49" fmla="*/ 104 h 204"/>
                <a:gd name="T50" fmla="*/ 56 w 172"/>
                <a:gd name="T51" fmla="*/ 108 h 204"/>
                <a:gd name="T52" fmla="*/ 68 w 172"/>
                <a:gd name="T53" fmla="*/ 108 h 204"/>
                <a:gd name="T54" fmla="*/ 71 w 172"/>
                <a:gd name="T55" fmla="*/ 99 h 204"/>
                <a:gd name="T56" fmla="*/ 87 w 172"/>
                <a:gd name="T57" fmla="*/ 100 h 204"/>
                <a:gd name="T58" fmla="*/ 105 w 172"/>
                <a:gd name="T59" fmla="*/ 120 h 204"/>
                <a:gd name="T60" fmla="*/ 110 w 172"/>
                <a:gd name="T61" fmla="*/ 143 h 204"/>
                <a:gd name="T62" fmla="*/ 130 w 172"/>
                <a:gd name="T63" fmla="*/ 164 h 204"/>
                <a:gd name="T64" fmla="*/ 132 w 172"/>
                <a:gd name="T65" fmla="*/ 184 h 204"/>
                <a:gd name="T66" fmla="*/ 126 w 172"/>
                <a:gd name="T67" fmla="*/ 195 h 204"/>
                <a:gd name="T68" fmla="*/ 144 w 172"/>
                <a:gd name="T69" fmla="*/ 204 h 204"/>
                <a:gd name="T70" fmla="*/ 151 w 172"/>
                <a:gd name="T71" fmla="*/ 188 h 204"/>
                <a:gd name="T72" fmla="*/ 171 w 172"/>
                <a:gd name="T73" fmla="*/ 196 h 204"/>
                <a:gd name="T74" fmla="*/ 171 w 172"/>
                <a:gd name="T75" fmla="*/ 196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72" h="204">
                  <a:moveTo>
                    <a:pt x="171" y="196"/>
                  </a:moveTo>
                  <a:lnTo>
                    <a:pt x="172" y="173"/>
                  </a:lnTo>
                  <a:lnTo>
                    <a:pt x="164" y="156"/>
                  </a:lnTo>
                  <a:lnTo>
                    <a:pt x="146" y="139"/>
                  </a:lnTo>
                  <a:lnTo>
                    <a:pt x="131" y="119"/>
                  </a:lnTo>
                  <a:lnTo>
                    <a:pt x="109" y="91"/>
                  </a:lnTo>
                  <a:lnTo>
                    <a:pt x="82" y="76"/>
                  </a:lnTo>
                  <a:lnTo>
                    <a:pt x="87" y="67"/>
                  </a:lnTo>
                  <a:lnTo>
                    <a:pt x="99" y="61"/>
                  </a:lnTo>
                  <a:lnTo>
                    <a:pt x="88" y="40"/>
                  </a:lnTo>
                  <a:lnTo>
                    <a:pt x="62" y="40"/>
                  </a:lnTo>
                  <a:lnTo>
                    <a:pt x="49" y="19"/>
                  </a:lnTo>
                  <a:lnTo>
                    <a:pt x="34" y="0"/>
                  </a:lnTo>
                  <a:lnTo>
                    <a:pt x="24" y="4"/>
                  </a:lnTo>
                  <a:lnTo>
                    <a:pt x="32" y="31"/>
                  </a:lnTo>
                  <a:lnTo>
                    <a:pt x="20" y="30"/>
                  </a:lnTo>
                  <a:lnTo>
                    <a:pt x="19" y="25"/>
                  </a:lnTo>
                  <a:lnTo>
                    <a:pt x="3" y="40"/>
                  </a:lnTo>
                  <a:lnTo>
                    <a:pt x="0" y="49"/>
                  </a:lnTo>
                  <a:lnTo>
                    <a:pt x="9" y="56"/>
                  </a:lnTo>
                  <a:lnTo>
                    <a:pt x="13" y="70"/>
                  </a:lnTo>
                  <a:lnTo>
                    <a:pt x="27" y="71"/>
                  </a:lnTo>
                  <a:lnTo>
                    <a:pt x="26" y="96"/>
                  </a:lnTo>
                  <a:lnTo>
                    <a:pt x="30" y="118"/>
                  </a:lnTo>
                  <a:lnTo>
                    <a:pt x="49" y="104"/>
                  </a:lnTo>
                  <a:lnTo>
                    <a:pt x="56" y="108"/>
                  </a:lnTo>
                  <a:lnTo>
                    <a:pt x="68" y="108"/>
                  </a:lnTo>
                  <a:lnTo>
                    <a:pt x="71" y="99"/>
                  </a:lnTo>
                  <a:lnTo>
                    <a:pt x="87" y="100"/>
                  </a:lnTo>
                  <a:lnTo>
                    <a:pt x="105" y="120"/>
                  </a:lnTo>
                  <a:lnTo>
                    <a:pt x="110" y="143"/>
                  </a:lnTo>
                  <a:lnTo>
                    <a:pt x="130" y="164"/>
                  </a:lnTo>
                  <a:lnTo>
                    <a:pt x="132" y="184"/>
                  </a:lnTo>
                  <a:lnTo>
                    <a:pt x="126" y="195"/>
                  </a:lnTo>
                  <a:lnTo>
                    <a:pt x="144" y="204"/>
                  </a:lnTo>
                  <a:lnTo>
                    <a:pt x="151" y="188"/>
                  </a:lnTo>
                  <a:lnTo>
                    <a:pt x="171" y="196"/>
                  </a:lnTo>
                  <a:lnTo>
                    <a:pt x="171" y="196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7" name="Lebanon">
              <a:extLst>
                <a:ext uri="{FF2B5EF4-FFF2-40B4-BE49-F238E27FC236}">
                  <a16:creationId xmlns:a16="http://schemas.microsoft.com/office/drawing/2014/main" id="{BD826D46-5A82-4B33-9ED3-00ADEDE3E0FF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8031" y="2755673"/>
              <a:ext cx="41275" cy="58738"/>
            </a:xfrm>
            <a:custGeom>
              <a:avLst/>
              <a:gdLst>
                <a:gd name="T0" fmla="*/ 13 w 26"/>
                <a:gd name="T1" fmla="*/ 32 h 37"/>
                <a:gd name="T2" fmla="*/ 16 w 26"/>
                <a:gd name="T3" fmla="*/ 19 h 37"/>
                <a:gd name="T4" fmla="*/ 26 w 26"/>
                <a:gd name="T5" fmla="*/ 10 h 37"/>
                <a:gd name="T6" fmla="*/ 21 w 26"/>
                <a:gd name="T7" fmla="*/ 1 h 37"/>
                <a:gd name="T8" fmla="*/ 13 w 26"/>
                <a:gd name="T9" fmla="*/ 0 h 37"/>
                <a:gd name="T10" fmla="*/ 12 w 26"/>
                <a:gd name="T11" fmla="*/ 1 h 37"/>
                <a:gd name="T12" fmla="*/ 4 w 26"/>
                <a:gd name="T13" fmla="*/ 18 h 37"/>
                <a:gd name="T14" fmla="*/ 0 w 26"/>
                <a:gd name="T15" fmla="*/ 37 h 37"/>
                <a:gd name="T16" fmla="*/ 6 w 26"/>
                <a:gd name="T17" fmla="*/ 37 h 37"/>
                <a:gd name="T18" fmla="*/ 8 w 26"/>
                <a:gd name="T19" fmla="*/ 32 h 37"/>
                <a:gd name="T20" fmla="*/ 13 w 26"/>
                <a:gd name="T21" fmla="*/ 32 h 37"/>
                <a:gd name="T22" fmla="*/ 13 w 26"/>
                <a:gd name="T23" fmla="*/ 3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7">
                  <a:moveTo>
                    <a:pt x="13" y="32"/>
                  </a:moveTo>
                  <a:lnTo>
                    <a:pt x="16" y="19"/>
                  </a:lnTo>
                  <a:lnTo>
                    <a:pt x="26" y="10"/>
                  </a:lnTo>
                  <a:lnTo>
                    <a:pt x="21" y="1"/>
                  </a:lnTo>
                  <a:lnTo>
                    <a:pt x="13" y="0"/>
                  </a:lnTo>
                  <a:lnTo>
                    <a:pt x="12" y="1"/>
                  </a:lnTo>
                  <a:lnTo>
                    <a:pt x="4" y="18"/>
                  </a:lnTo>
                  <a:lnTo>
                    <a:pt x="0" y="37"/>
                  </a:lnTo>
                  <a:lnTo>
                    <a:pt x="6" y="37"/>
                  </a:lnTo>
                  <a:lnTo>
                    <a:pt x="8" y="32"/>
                  </a:lnTo>
                  <a:lnTo>
                    <a:pt x="13" y="32"/>
                  </a:lnTo>
                  <a:lnTo>
                    <a:pt x="13" y="32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8" name="Liberia">
              <a:extLst>
                <a:ext uri="{FF2B5EF4-FFF2-40B4-BE49-F238E27FC236}">
                  <a16:creationId xmlns:a16="http://schemas.microsoft.com/office/drawing/2014/main" id="{F754129A-9127-4DBF-A8C2-DC6E8844F4D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4194" y="3739923"/>
              <a:ext cx="131762" cy="158750"/>
            </a:xfrm>
            <a:custGeom>
              <a:avLst/>
              <a:gdLst>
                <a:gd name="T0" fmla="*/ 64 w 83"/>
                <a:gd name="T1" fmla="*/ 20 h 100"/>
                <a:gd name="T2" fmla="*/ 57 w 83"/>
                <a:gd name="T3" fmla="*/ 19 h 100"/>
                <a:gd name="T4" fmla="*/ 54 w 83"/>
                <a:gd name="T5" fmla="*/ 30 h 100"/>
                <a:gd name="T6" fmla="*/ 47 w 83"/>
                <a:gd name="T7" fmla="*/ 29 h 100"/>
                <a:gd name="T8" fmla="*/ 43 w 83"/>
                <a:gd name="T9" fmla="*/ 24 h 100"/>
                <a:gd name="T10" fmla="*/ 45 w 83"/>
                <a:gd name="T11" fmla="*/ 15 h 100"/>
                <a:gd name="T12" fmla="*/ 36 w 83"/>
                <a:gd name="T13" fmla="*/ 0 h 100"/>
                <a:gd name="T14" fmla="*/ 30 w 83"/>
                <a:gd name="T15" fmla="*/ 3 h 100"/>
                <a:gd name="T16" fmla="*/ 27 w 83"/>
                <a:gd name="T17" fmla="*/ 3 h 100"/>
                <a:gd name="T18" fmla="*/ 16 w 83"/>
                <a:gd name="T19" fmla="*/ 15 h 100"/>
                <a:gd name="T20" fmla="*/ 7 w 83"/>
                <a:gd name="T21" fmla="*/ 27 h 100"/>
                <a:gd name="T22" fmla="*/ 6 w 83"/>
                <a:gd name="T23" fmla="*/ 34 h 100"/>
                <a:gd name="T24" fmla="*/ 0 w 83"/>
                <a:gd name="T25" fmla="*/ 42 h 100"/>
                <a:gd name="T26" fmla="*/ 14 w 83"/>
                <a:gd name="T27" fmla="*/ 57 h 100"/>
                <a:gd name="T28" fmla="*/ 32 w 83"/>
                <a:gd name="T29" fmla="*/ 70 h 100"/>
                <a:gd name="T30" fmla="*/ 52 w 83"/>
                <a:gd name="T31" fmla="*/ 88 h 100"/>
                <a:gd name="T32" fmla="*/ 73 w 83"/>
                <a:gd name="T33" fmla="*/ 100 h 100"/>
                <a:gd name="T34" fmla="*/ 79 w 83"/>
                <a:gd name="T35" fmla="*/ 100 h 100"/>
                <a:gd name="T36" fmla="*/ 81 w 83"/>
                <a:gd name="T37" fmla="*/ 80 h 100"/>
                <a:gd name="T38" fmla="*/ 83 w 83"/>
                <a:gd name="T39" fmla="*/ 77 h 100"/>
                <a:gd name="T40" fmla="*/ 82 w 83"/>
                <a:gd name="T41" fmla="*/ 68 h 100"/>
                <a:gd name="T42" fmla="*/ 73 w 83"/>
                <a:gd name="T43" fmla="*/ 58 h 100"/>
                <a:gd name="T44" fmla="*/ 66 w 83"/>
                <a:gd name="T45" fmla="*/ 56 h 100"/>
                <a:gd name="T46" fmla="*/ 60 w 83"/>
                <a:gd name="T47" fmla="*/ 49 h 100"/>
                <a:gd name="T48" fmla="*/ 65 w 83"/>
                <a:gd name="T49" fmla="*/ 39 h 100"/>
                <a:gd name="T50" fmla="*/ 62 w 83"/>
                <a:gd name="T51" fmla="*/ 27 h 100"/>
                <a:gd name="T52" fmla="*/ 64 w 83"/>
                <a:gd name="T53" fmla="*/ 20 h 100"/>
                <a:gd name="T54" fmla="*/ 64 w 83"/>
                <a:gd name="T55" fmla="*/ 2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3" h="100">
                  <a:moveTo>
                    <a:pt x="64" y="20"/>
                  </a:moveTo>
                  <a:lnTo>
                    <a:pt x="57" y="19"/>
                  </a:lnTo>
                  <a:lnTo>
                    <a:pt x="54" y="30"/>
                  </a:lnTo>
                  <a:lnTo>
                    <a:pt x="47" y="29"/>
                  </a:lnTo>
                  <a:lnTo>
                    <a:pt x="43" y="24"/>
                  </a:lnTo>
                  <a:lnTo>
                    <a:pt x="45" y="15"/>
                  </a:lnTo>
                  <a:lnTo>
                    <a:pt x="36" y="0"/>
                  </a:lnTo>
                  <a:lnTo>
                    <a:pt x="30" y="3"/>
                  </a:lnTo>
                  <a:lnTo>
                    <a:pt x="27" y="3"/>
                  </a:lnTo>
                  <a:lnTo>
                    <a:pt x="16" y="15"/>
                  </a:lnTo>
                  <a:lnTo>
                    <a:pt x="7" y="27"/>
                  </a:lnTo>
                  <a:lnTo>
                    <a:pt x="6" y="34"/>
                  </a:lnTo>
                  <a:lnTo>
                    <a:pt x="0" y="42"/>
                  </a:lnTo>
                  <a:lnTo>
                    <a:pt x="14" y="57"/>
                  </a:lnTo>
                  <a:lnTo>
                    <a:pt x="32" y="70"/>
                  </a:lnTo>
                  <a:lnTo>
                    <a:pt x="52" y="88"/>
                  </a:lnTo>
                  <a:lnTo>
                    <a:pt x="73" y="100"/>
                  </a:lnTo>
                  <a:lnTo>
                    <a:pt x="79" y="100"/>
                  </a:lnTo>
                  <a:lnTo>
                    <a:pt x="81" y="80"/>
                  </a:lnTo>
                  <a:lnTo>
                    <a:pt x="83" y="77"/>
                  </a:lnTo>
                  <a:lnTo>
                    <a:pt x="82" y="68"/>
                  </a:lnTo>
                  <a:lnTo>
                    <a:pt x="73" y="58"/>
                  </a:lnTo>
                  <a:lnTo>
                    <a:pt x="66" y="56"/>
                  </a:lnTo>
                  <a:lnTo>
                    <a:pt x="60" y="49"/>
                  </a:lnTo>
                  <a:lnTo>
                    <a:pt x="65" y="39"/>
                  </a:lnTo>
                  <a:lnTo>
                    <a:pt x="62" y="27"/>
                  </a:lnTo>
                  <a:lnTo>
                    <a:pt x="64" y="20"/>
                  </a:lnTo>
                  <a:lnTo>
                    <a:pt x="64" y="2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9" name="Libya">
              <a:extLst>
                <a:ext uri="{FF2B5EF4-FFF2-40B4-BE49-F238E27FC236}">
                  <a16:creationId xmlns:a16="http://schemas.microsoft.com/office/drawing/2014/main" id="{8CCB3C13-BC12-4BC2-B5AA-BD75987C6D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6819" y="2812823"/>
              <a:ext cx="517525" cy="509588"/>
            </a:xfrm>
            <a:custGeom>
              <a:avLst/>
              <a:gdLst>
                <a:gd name="T0" fmla="*/ 315 w 326"/>
                <a:gd name="T1" fmla="*/ 38 h 321"/>
                <a:gd name="T2" fmla="*/ 309 w 326"/>
                <a:gd name="T3" fmla="*/ 29 h 321"/>
                <a:gd name="T4" fmla="*/ 289 w 326"/>
                <a:gd name="T5" fmla="*/ 26 h 321"/>
                <a:gd name="T6" fmla="*/ 282 w 326"/>
                <a:gd name="T7" fmla="*/ 23 h 321"/>
                <a:gd name="T8" fmla="*/ 274 w 326"/>
                <a:gd name="T9" fmla="*/ 23 h 321"/>
                <a:gd name="T10" fmla="*/ 267 w 326"/>
                <a:gd name="T11" fmla="*/ 11 h 321"/>
                <a:gd name="T12" fmla="*/ 240 w 326"/>
                <a:gd name="T13" fmla="*/ 7 h 321"/>
                <a:gd name="T14" fmla="*/ 227 w 326"/>
                <a:gd name="T15" fmla="*/ 10 h 321"/>
                <a:gd name="T16" fmla="*/ 213 w 326"/>
                <a:gd name="T17" fmla="*/ 21 h 321"/>
                <a:gd name="T18" fmla="*/ 207 w 326"/>
                <a:gd name="T19" fmla="*/ 33 h 321"/>
                <a:gd name="T20" fmla="*/ 213 w 326"/>
                <a:gd name="T21" fmla="*/ 51 h 321"/>
                <a:gd name="T22" fmla="*/ 204 w 326"/>
                <a:gd name="T23" fmla="*/ 62 h 321"/>
                <a:gd name="T24" fmla="*/ 194 w 326"/>
                <a:gd name="T25" fmla="*/ 67 h 321"/>
                <a:gd name="T26" fmla="*/ 173 w 326"/>
                <a:gd name="T27" fmla="*/ 56 h 321"/>
                <a:gd name="T28" fmla="*/ 144 w 326"/>
                <a:gd name="T29" fmla="*/ 46 h 321"/>
                <a:gd name="T30" fmla="*/ 125 w 326"/>
                <a:gd name="T31" fmla="*/ 41 h 321"/>
                <a:gd name="T32" fmla="*/ 115 w 326"/>
                <a:gd name="T33" fmla="*/ 21 h 321"/>
                <a:gd name="T34" fmla="*/ 88 w 326"/>
                <a:gd name="T35" fmla="*/ 10 h 321"/>
                <a:gd name="T36" fmla="*/ 71 w 326"/>
                <a:gd name="T37" fmla="*/ 6 h 321"/>
                <a:gd name="T38" fmla="*/ 63 w 326"/>
                <a:gd name="T39" fmla="*/ 8 h 321"/>
                <a:gd name="T40" fmla="*/ 39 w 326"/>
                <a:gd name="T41" fmla="*/ 0 h 321"/>
                <a:gd name="T42" fmla="*/ 39 w 326"/>
                <a:gd name="T43" fmla="*/ 18 h 321"/>
                <a:gd name="T44" fmla="*/ 29 w 326"/>
                <a:gd name="T45" fmla="*/ 24 h 321"/>
                <a:gd name="T46" fmla="*/ 23 w 326"/>
                <a:gd name="T47" fmla="*/ 32 h 321"/>
                <a:gd name="T48" fmla="*/ 9 w 326"/>
                <a:gd name="T49" fmla="*/ 41 h 321"/>
                <a:gd name="T50" fmla="*/ 12 w 326"/>
                <a:gd name="T51" fmla="*/ 52 h 321"/>
                <a:gd name="T52" fmla="*/ 11 w 326"/>
                <a:gd name="T53" fmla="*/ 62 h 321"/>
                <a:gd name="T54" fmla="*/ 1 w 326"/>
                <a:gd name="T55" fmla="*/ 66 h 321"/>
                <a:gd name="T56" fmla="*/ 8 w 326"/>
                <a:gd name="T57" fmla="*/ 88 h 321"/>
                <a:gd name="T58" fmla="*/ 9 w 326"/>
                <a:gd name="T59" fmla="*/ 99 h 321"/>
                <a:gd name="T60" fmla="*/ 7 w 326"/>
                <a:gd name="T61" fmla="*/ 118 h 321"/>
                <a:gd name="T62" fmla="*/ 8 w 326"/>
                <a:gd name="T63" fmla="*/ 129 h 321"/>
                <a:gd name="T64" fmla="*/ 6 w 326"/>
                <a:gd name="T65" fmla="*/ 142 h 321"/>
                <a:gd name="T66" fmla="*/ 7 w 326"/>
                <a:gd name="T67" fmla="*/ 157 h 321"/>
                <a:gd name="T68" fmla="*/ 0 w 326"/>
                <a:gd name="T69" fmla="*/ 166 h 321"/>
                <a:gd name="T70" fmla="*/ 13 w 326"/>
                <a:gd name="T71" fmla="*/ 184 h 321"/>
                <a:gd name="T72" fmla="*/ 13 w 326"/>
                <a:gd name="T73" fmla="*/ 194 h 321"/>
                <a:gd name="T74" fmla="*/ 21 w 326"/>
                <a:gd name="T75" fmla="*/ 207 h 321"/>
                <a:gd name="T76" fmla="*/ 31 w 326"/>
                <a:gd name="T77" fmla="*/ 204 h 321"/>
                <a:gd name="T78" fmla="*/ 47 w 326"/>
                <a:gd name="T79" fmla="*/ 214 h 321"/>
                <a:gd name="T80" fmla="*/ 56 w 326"/>
                <a:gd name="T81" fmla="*/ 229 h 321"/>
                <a:gd name="T82" fmla="*/ 89 w 326"/>
                <a:gd name="T83" fmla="*/ 239 h 321"/>
                <a:gd name="T84" fmla="*/ 101 w 326"/>
                <a:gd name="T85" fmla="*/ 252 h 321"/>
                <a:gd name="T86" fmla="*/ 115 w 326"/>
                <a:gd name="T87" fmla="*/ 244 h 321"/>
                <a:gd name="T88" fmla="*/ 135 w 326"/>
                <a:gd name="T89" fmla="*/ 231 h 321"/>
                <a:gd name="T90" fmla="*/ 218 w 326"/>
                <a:gd name="T91" fmla="*/ 277 h 321"/>
                <a:gd name="T92" fmla="*/ 302 w 326"/>
                <a:gd name="T93" fmla="*/ 321 h 321"/>
                <a:gd name="T94" fmla="*/ 302 w 326"/>
                <a:gd name="T95" fmla="*/ 312 h 321"/>
                <a:gd name="T96" fmla="*/ 326 w 326"/>
                <a:gd name="T97" fmla="*/ 312 h 321"/>
                <a:gd name="T98" fmla="*/ 324 w 326"/>
                <a:gd name="T99" fmla="*/ 264 h 321"/>
                <a:gd name="T100" fmla="*/ 320 w 326"/>
                <a:gd name="T101" fmla="*/ 177 h 321"/>
                <a:gd name="T102" fmla="*/ 316 w 326"/>
                <a:gd name="T103" fmla="*/ 92 h 321"/>
                <a:gd name="T104" fmla="*/ 308 w 326"/>
                <a:gd name="T105" fmla="*/ 73 h 321"/>
                <a:gd name="T106" fmla="*/ 312 w 326"/>
                <a:gd name="T107" fmla="*/ 58 h 321"/>
                <a:gd name="T108" fmla="*/ 308 w 326"/>
                <a:gd name="T109" fmla="*/ 49 h 321"/>
                <a:gd name="T110" fmla="*/ 315 w 326"/>
                <a:gd name="T111" fmla="*/ 38 h 321"/>
                <a:gd name="T112" fmla="*/ 315 w 326"/>
                <a:gd name="T113" fmla="*/ 38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26" h="321">
                  <a:moveTo>
                    <a:pt x="315" y="38"/>
                  </a:moveTo>
                  <a:lnTo>
                    <a:pt x="309" y="29"/>
                  </a:lnTo>
                  <a:lnTo>
                    <a:pt x="289" y="26"/>
                  </a:lnTo>
                  <a:lnTo>
                    <a:pt x="282" y="23"/>
                  </a:lnTo>
                  <a:lnTo>
                    <a:pt x="274" y="23"/>
                  </a:lnTo>
                  <a:lnTo>
                    <a:pt x="267" y="11"/>
                  </a:lnTo>
                  <a:lnTo>
                    <a:pt x="240" y="7"/>
                  </a:lnTo>
                  <a:lnTo>
                    <a:pt x="227" y="10"/>
                  </a:lnTo>
                  <a:lnTo>
                    <a:pt x="213" y="21"/>
                  </a:lnTo>
                  <a:lnTo>
                    <a:pt x="207" y="33"/>
                  </a:lnTo>
                  <a:lnTo>
                    <a:pt x="213" y="51"/>
                  </a:lnTo>
                  <a:lnTo>
                    <a:pt x="204" y="62"/>
                  </a:lnTo>
                  <a:lnTo>
                    <a:pt x="194" y="67"/>
                  </a:lnTo>
                  <a:lnTo>
                    <a:pt x="173" y="56"/>
                  </a:lnTo>
                  <a:lnTo>
                    <a:pt x="144" y="46"/>
                  </a:lnTo>
                  <a:lnTo>
                    <a:pt x="125" y="41"/>
                  </a:lnTo>
                  <a:lnTo>
                    <a:pt x="115" y="21"/>
                  </a:lnTo>
                  <a:lnTo>
                    <a:pt x="88" y="10"/>
                  </a:lnTo>
                  <a:lnTo>
                    <a:pt x="71" y="6"/>
                  </a:lnTo>
                  <a:lnTo>
                    <a:pt x="63" y="8"/>
                  </a:lnTo>
                  <a:lnTo>
                    <a:pt x="39" y="0"/>
                  </a:lnTo>
                  <a:lnTo>
                    <a:pt x="39" y="18"/>
                  </a:lnTo>
                  <a:lnTo>
                    <a:pt x="29" y="24"/>
                  </a:lnTo>
                  <a:lnTo>
                    <a:pt x="23" y="32"/>
                  </a:lnTo>
                  <a:lnTo>
                    <a:pt x="9" y="41"/>
                  </a:lnTo>
                  <a:lnTo>
                    <a:pt x="12" y="52"/>
                  </a:lnTo>
                  <a:lnTo>
                    <a:pt x="11" y="62"/>
                  </a:lnTo>
                  <a:lnTo>
                    <a:pt x="1" y="66"/>
                  </a:lnTo>
                  <a:lnTo>
                    <a:pt x="8" y="88"/>
                  </a:lnTo>
                  <a:lnTo>
                    <a:pt x="9" y="99"/>
                  </a:lnTo>
                  <a:lnTo>
                    <a:pt x="7" y="118"/>
                  </a:lnTo>
                  <a:lnTo>
                    <a:pt x="8" y="129"/>
                  </a:lnTo>
                  <a:lnTo>
                    <a:pt x="6" y="142"/>
                  </a:lnTo>
                  <a:lnTo>
                    <a:pt x="7" y="157"/>
                  </a:lnTo>
                  <a:lnTo>
                    <a:pt x="0" y="166"/>
                  </a:lnTo>
                  <a:lnTo>
                    <a:pt x="13" y="184"/>
                  </a:lnTo>
                  <a:lnTo>
                    <a:pt x="13" y="194"/>
                  </a:lnTo>
                  <a:lnTo>
                    <a:pt x="21" y="207"/>
                  </a:lnTo>
                  <a:lnTo>
                    <a:pt x="31" y="204"/>
                  </a:lnTo>
                  <a:lnTo>
                    <a:pt x="47" y="214"/>
                  </a:lnTo>
                  <a:lnTo>
                    <a:pt x="56" y="229"/>
                  </a:lnTo>
                  <a:lnTo>
                    <a:pt x="89" y="239"/>
                  </a:lnTo>
                  <a:lnTo>
                    <a:pt x="101" y="252"/>
                  </a:lnTo>
                  <a:lnTo>
                    <a:pt x="115" y="244"/>
                  </a:lnTo>
                  <a:lnTo>
                    <a:pt x="135" y="231"/>
                  </a:lnTo>
                  <a:lnTo>
                    <a:pt x="218" y="277"/>
                  </a:lnTo>
                  <a:lnTo>
                    <a:pt x="302" y="321"/>
                  </a:lnTo>
                  <a:lnTo>
                    <a:pt x="302" y="312"/>
                  </a:lnTo>
                  <a:lnTo>
                    <a:pt x="326" y="312"/>
                  </a:lnTo>
                  <a:lnTo>
                    <a:pt x="324" y="264"/>
                  </a:lnTo>
                  <a:lnTo>
                    <a:pt x="320" y="177"/>
                  </a:lnTo>
                  <a:lnTo>
                    <a:pt x="316" y="92"/>
                  </a:lnTo>
                  <a:lnTo>
                    <a:pt x="308" y="73"/>
                  </a:lnTo>
                  <a:lnTo>
                    <a:pt x="312" y="58"/>
                  </a:lnTo>
                  <a:lnTo>
                    <a:pt x="308" y="49"/>
                  </a:lnTo>
                  <a:lnTo>
                    <a:pt x="315" y="38"/>
                  </a:lnTo>
                  <a:lnTo>
                    <a:pt x="315" y="38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0" name="Sri Lanka">
              <a:extLst>
                <a:ext uri="{FF2B5EF4-FFF2-40B4-BE49-F238E27FC236}">
                  <a16:creationId xmlns:a16="http://schemas.microsoft.com/office/drawing/2014/main" id="{BAB0C0D2-167C-4758-860A-40AE97538A45}"/>
                </a:ext>
              </a:extLst>
            </p:cNvPr>
            <p:cNvSpPr>
              <a:spLocks/>
            </p:cNvSpPr>
            <p:nvPr/>
          </p:nvSpPr>
          <p:spPr bwMode="auto">
            <a:xfrm>
              <a:off x="8643144" y="3692298"/>
              <a:ext cx="69850" cy="144463"/>
            </a:xfrm>
            <a:custGeom>
              <a:avLst/>
              <a:gdLst>
                <a:gd name="T0" fmla="*/ 34 w 44"/>
                <a:gd name="T1" fmla="*/ 86 h 91"/>
                <a:gd name="T2" fmla="*/ 42 w 44"/>
                <a:gd name="T3" fmla="*/ 79 h 91"/>
                <a:gd name="T4" fmla="*/ 44 w 44"/>
                <a:gd name="T5" fmla="*/ 54 h 91"/>
                <a:gd name="T6" fmla="*/ 33 w 44"/>
                <a:gd name="T7" fmla="*/ 30 h 91"/>
                <a:gd name="T8" fmla="*/ 22 w 44"/>
                <a:gd name="T9" fmla="*/ 13 h 91"/>
                <a:gd name="T10" fmla="*/ 6 w 44"/>
                <a:gd name="T11" fmla="*/ 0 h 91"/>
                <a:gd name="T12" fmla="*/ 0 w 44"/>
                <a:gd name="T13" fmla="*/ 38 h 91"/>
                <a:gd name="T14" fmla="*/ 5 w 44"/>
                <a:gd name="T15" fmla="*/ 72 h 91"/>
                <a:gd name="T16" fmla="*/ 16 w 44"/>
                <a:gd name="T17" fmla="*/ 91 h 91"/>
                <a:gd name="T18" fmla="*/ 34 w 44"/>
                <a:gd name="T19" fmla="*/ 86 h 91"/>
                <a:gd name="T20" fmla="*/ 34 w 44"/>
                <a:gd name="T21" fmla="*/ 8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4" h="91">
                  <a:moveTo>
                    <a:pt x="34" y="86"/>
                  </a:moveTo>
                  <a:lnTo>
                    <a:pt x="42" y="79"/>
                  </a:lnTo>
                  <a:lnTo>
                    <a:pt x="44" y="54"/>
                  </a:lnTo>
                  <a:lnTo>
                    <a:pt x="33" y="30"/>
                  </a:lnTo>
                  <a:lnTo>
                    <a:pt x="22" y="13"/>
                  </a:lnTo>
                  <a:lnTo>
                    <a:pt x="6" y="0"/>
                  </a:lnTo>
                  <a:lnTo>
                    <a:pt x="0" y="38"/>
                  </a:lnTo>
                  <a:lnTo>
                    <a:pt x="5" y="72"/>
                  </a:lnTo>
                  <a:lnTo>
                    <a:pt x="16" y="91"/>
                  </a:lnTo>
                  <a:lnTo>
                    <a:pt x="34" y="86"/>
                  </a:lnTo>
                  <a:lnTo>
                    <a:pt x="34" y="86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1" name="Lesotho">
              <a:extLst>
                <a:ext uri="{FF2B5EF4-FFF2-40B4-BE49-F238E27FC236}">
                  <a16:creationId xmlns:a16="http://schemas.microsoft.com/office/drawing/2014/main" id="{CCC9C64B-E96B-41EF-93E9-0CEBE75B87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0381" y="5143272"/>
              <a:ext cx="74612" cy="74613"/>
            </a:xfrm>
            <a:custGeom>
              <a:avLst/>
              <a:gdLst>
                <a:gd name="T0" fmla="*/ 20 w 47"/>
                <a:gd name="T1" fmla="*/ 45 h 47"/>
                <a:gd name="T2" fmla="*/ 25 w 47"/>
                <a:gd name="T3" fmla="*/ 37 h 47"/>
                <a:gd name="T4" fmla="*/ 36 w 47"/>
                <a:gd name="T5" fmla="*/ 34 h 47"/>
                <a:gd name="T6" fmla="*/ 41 w 47"/>
                <a:gd name="T7" fmla="*/ 26 h 47"/>
                <a:gd name="T8" fmla="*/ 47 w 47"/>
                <a:gd name="T9" fmla="*/ 14 h 47"/>
                <a:gd name="T10" fmla="*/ 41 w 47"/>
                <a:gd name="T11" fmla="*/ 7 h 47"/>
                <a:gd name="T12" fmla="*/ 32 w 47"/>
                <a:gd name="T13" fmla="*/ 0 h 47"/>
                <a:gd name="T14" fmla="*/ 23 w 47"/>
                <a:gd name="T15" fmla="*/ 5 h 47"/>
                <a:gd name="T16" fmla="*/ 11 w 47"/>
                <a:gd name="T17" fmla="*/ 14 h 47"/>
                <a:gd name="T18" fmla="*/ 0 w 47"/>
                <a:gd name="T19" fmla="*/ 29 h 47"/>
                <a:gd name="T20" fmla="*/ 13 w 47"/>
                <a:gd name="T21" fmla="*/ 47 h 47"/>
                <a:gd name="T22" fmla="*/ 20 w 47"/>
                <a:gd name="T23" fmla="*/ 45 h 47"/>
                <a:gd name="T24" fmla="*/ 20 w 47"/>
                <a:gd name="T25" fmla="*/ 45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7" h="47">
                  <a:moveTo>
                    <a:pt x="20" y="45"/>
                  </a:moveTo>
                  <a:lnTo>
                    <a:pt x="25" y="37"/>
                  </a:lnTo>
                  <a:lnTo>
                    <a:pt x="36" y="34"/>
                  </a:lnTo>
                  <a:lnTo>
                    <a:pt x="41" y="26"/>
                  </a:lnTo>
                  <a:lnTo>
                    <a:pt x="47" y="14"/>
                  </a:lnTo>
                  <a:lnTo>
                    <a:pt x="41" y="7"/>
                  </a:lnTo>
                  <a:lnTo>
                    <a:pt x="32" y="0"/>
                  </a:lnTo>
                  <a:lnTo>
                    <a:pt x="23" y="5"/>
                  </a:lnTo>
                  <a:lnTo>
                    <a:pt x="11" y="14"/>
                  </a:lnTo>
                  <a:lnTo>
                    <a:pt x="0" y="29"/>
                  </a:lnTo>
                  <a:lnTo>
                    <a:pt x="13" y="47"/>
                  </a:lnTo>
                  <a:lnTo>
                    <a:pt x="20" y="45"/>
                  </a:lnTo>
                  <a:lnTo>
                    <a:pt x="20" y="45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2" name="Lithuania">
              <a:extLst>
                <a:ext uri="{FF2B5EF4-FFF2-40B4-BE49-F238E27FC236}">
                  <a16:creationId xmlns:a16="http://schemas.microsoft.com/office/drawing/2014/main" id="{B74A627C-CE1E-4566-AA74-6E3D7F7B08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6219" y="1953987"/>
              <a:ext cx="157162" cy="88900"/>
            </a:xfrm>
            <a:custGeom>
              <a:avLst/>
              <a:gdLst>
                <a:gd name="T0" fmla="*/ 97 w 99"/>
                <a:gd name="T1" fmla="*/ 17 h 56"/>
                <a:gd name="T2" fmla="*/ 78 w 99"/>
                <a:gd name="T3" fmla="*/ 6 h 56"/>
                <a:gd name="T4" fmla="*/ 69 w 99"/>
                <a:gd name="T5" fmla="*/ 5 h 56"/>
                <a:gd name="T6" fmla="*/ 65 w 99"/>
                <a:gd name="T7" fmla="*/ 0 h 56"/>
                <a:gd name="T8" fmla="*/ 48 w 99"/>
                <a:gd name="T9" fmla="*/ 2 h 56"/>
                <a:gd name="T10" fmla="*/ 19 w 99"/>
                <a:gd name="T11" fmla="*/ 1 h 56"/>
                <a:gd name="T12" fmla="*/ 0 w 99"/>
                <a:gd name="T13" fmla="*/ 8 h 56"/>
                <a:gd name="T14" fmla="*/ 7 w 99"/>
                <a:gd name="T15" fmla="*/ 27 h 56"/>
                <a:gd name="T16" fmla="*/ 26 w 99"/>
                <a:gd name="T17" fmla="*/ 30 h 56"/>
                <a:gd name="T18" fmla="*/ 33 w 99"/>
                <a:gd name="T19" fmla="*/ 34 h 56"/>
                <a:gd name="T20" fmla="*/ 33 w 99"/>
                <a:gd name="T21" fmla="*/ 41 h 56"/>
                <a:gd name="T22" fmla="*/ 35 w 99"/>
                <a:gd name="T23" fmla="*/ 46 h 56"/>
                <a:gd name="T24" fmla="*/ 44 w 99"/>
                <a:gd name="T25" fmla="*/ 48 h 56"/>
                <a:gd name="T26" fmla="*/ 50 w 99"/>
                <a:gd name="T27" fmla="*/ 56 h 56"/>
                <a:gd name="T28" fmla="*/ 67 w 99"/>
                <a:gd name="T29" fmla="*/ 56 h 56"/>
                <a:gd name="T30" fmla="*/ 84 w 99"/>
                <a:gd name="T31" fmla="*/ 47 h 56"/>
                <a:gd name="T32" fmla="*/ 86 w 99"/>
                <a:gd name="T33" fmla="*/ 34 h 56"/>
                <a:gd name="T34" fmla="*/ 99 w 99"/>
                <a:gd name="T35" fmla="*/ 27 h 56"/>
                <a:gd name="T36" fmla="*/ 97 w 99"/>
                <a:gd name="T37" fmla="*/ 17 h 56"/>
                <a:gd name="T38" fmla="*/ 97 w 99"/>
                <a:gd name="T39" fmla="*/ 17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9" h="56">
                  <a:moveTo>
                    <a:pt x="97" y="17"/>
                  </a:moveTo>
                  <a:lnTo>
                    <a:pt x="78" y="6"/>
                  </a:lnTo>
                  <a:lnTo>
                    <a:pt x="69" y="5"/>
                  </a:lnTo>
                  <a:lnTo>
                    <a:pt x="65" y="0"/>
                  </a:lnTo>
                  <a:lnTo>
                    <a:pt x="48" y="2"/>
                  </a:lnTo>
                  <a:lnTo>
                    <a:pt x="19" y="1"/>
                  </a:lnTo>
                  <a:lnTo>
                    <a:pt x="0" y="8"/>
                  </a:lnTo>
                  <a:lnTo>
                    <a:pt x="7" y="27"/>
                  </a:lnTo>
                  <a:lnTo>
                    <a:pt x="26" y="30"/>
                  </a:lnTo>
                  <a:lnTo>
                    <a:pt x="33" y="34"/>
                  </a:lnTo>
                  <a:lnTo>
                    <a:pt x="33" y="41"/>
                  </a:lnTo>
                  <a:lnTo>
                    <a:pt x="35" y="46"/>
                  </a:lnTo>
                  <a:lnTo>
                    <a:pt x="44" y="48"/>
                  </a:lnTo>
                  <a:lnTo>
                    <a:pt x="50" y="56"/>
                  </a:lnTo>
                  <a:lnTo>
                    <a:pt x="67" y="56"/>
                  </a:lnTo>
                  <a:lnTo>
                    <a:pt x="84" y="47"/>
                  </a:lnTo>
                  <a:lnTo>
                    <a:pt x="86" y="34"/>
                  </a:lnTo>
                  <a:lnTo>
                    <a:pt x="99" y="27"/>
                  </a:lnTo>
                  <a:lnTo>
                    <a:pt x="97" y="17"/>
                  </a:lnTo>
                  <a:lnTo>
                    <a:pt x="97" y="17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3" name="Luxembourg">
              <a:extLst>
                <a:ext uri="{FF2B5EF4-FFF2-40B4-BE49-F238E27FC236}">
                  <a16:creationId xmlns:a16="http://schemas.microsoft.com/office/drawing/2014/main" id="{B958DB62-E285-4719-B240-4C17BF8BF1B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0294" y="2179411"/>
              <a:ext cx="15875" cy="23813"/>
            </a:xfrm>
            <a:custGeom>
              <a:avLst/>
              <a:gdLst>
                <a:gd name="T0" fmla="*/ 9 w 10"/>
                <a:gd name="T1" fmla="*/ 15 h 15"/>
                <a:gd name="T2" fmla="*/ 10 w 10"/>
                <a:gd name="T3" fmla="*/ 5 h 15"/>
                <a:gd name="T4" fmla="*/ 7 w 10"/>
                <a:gd name="T5" fmla="*/ 0 h 15"/>
                <a:gd name="T6" fmla="*/ 2 w 10"/>
                <a:gd name="T7" fmla="*/ 1 h 15"/>
                <a:gd name="T8" fmla="*/ 0 w 10"/>
                <a:gd name="T9" fmla="*/ 14 h 15"/>
                <a:gd name="T10" fmla="*/ 4 w 10"/>
                <a:gd name="T11" fmla="*/ 15 h 15"/>
                <a:gd name="T12" fmla="*/ 9 w 10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5">
                  <a:moveTo>
                    <a:pt x="9" y="15"/>
                  </a:moveTo>
                  <a:lnTo>
                    <a:pt x="10" y="5"/>
                  </a:lnTo>
                  <a:lnTo>
                    <a:pt x="7" y="0"/>
                  </a:lnTo>
                  <a:lnTo>
                    <a:pt x="2" y="1"/>
                  </a:lnTo>
                  <a:lnTo>
                    <a:pt x="0" y="14"/>
                  </a:lnTo>
                  <a:lnTo>
                    <a:pt x="4" y="15"/>
                  </a:lnTo>
                  <a:lnTo>
                    <a:pt x="9" y="15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4" name="Latvia">
              <a:extLst>
                <a:ext uri="{FF2B5EF4-FFF2-40B4-BE49-F238E27FC236}">
                  <a16:creationId xmlns:a16="http://schemas.microsoft.com/office/drawing/2014/main" id="{4C4F051E-4612-43D9-96BB-C5031A572E7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4631" y="1898423"/>
              <a:ext cx="196850" cy="82550"/>
            </a:xfrm>
            <a:custGeom>
              <a:avLst/>
              <a:gdLst>
                <a:gd name="T0" fmla="*/ 103 w 124"/>
                <a:gd name="T1" fmla="*/ 10 h 52"/>
                <a:gd name="T2" fmla="*/ 89 w 124"/>
                <a:gd name="T3" fmla="*/ 10 h 52"/>
                <a:gd name="T4" fmla="*/ 73 w 124"/>
                <a:gd name="T5" fmla="*/ 3 h 52"/>
                <a:gd name="T6" fmla="*/ 65 w 124"/>
                <a:gd name="T7" fmla="*/ 0 h 52"/>
                <a:gd name="T8" fmla="*/ 51 w 124"/>
                <a:gd name="T9" fmla="*/ 4 h 52"/>
                <a:gd name="T10" fmla="*/ 51 w 124"/>
                <a:gd name="T11" fmla="*/ 21 h 52"/>
                <a:gd name="T12" fmla="*/ 37 w 124"/>
                <a:gd name="T13" fmla="*/ 22 h 52"/>
                <a:gd name="T14" fmla="*/ 21 w 124"/>
                <a:gd name="T15" fmla="*/ 5 h 52"/>
                <a:gd name="T16" fmla="*/ 6 w 124"/>
                <a:gd name="T17" fmla="*/ 12 h 52"/>
                <a:gd name="T18" fmla="*/ 0 w 124"/>
                <a:gd name="T19" fmla="*/ 26 h 52"/>
                <a:gd name="T20" fmla="*/ 1 w 124"/>
                <a:gd name="T21" fmla="*/ 43 h 52"/>
                <a:gd name="T22" fmla="*/ 20 w 124"/>
                <a:gd name="T23" fmla="*/ 36 h 52"/>
                <a:gd name="T24" fmla="*/ 49 w 124"/>
                <a:gd name="T25" fmla="*/ 37 h 52"/>
                <a:gd name="T26" fmla="*/ 66 w 124"/>
                <a:gd name="T27" fmla="*/ 35 h 52"/>
                <a:gd name="T28" fmla="*/ 70 w 124"/>
                <a:gd name="T29" fmla="*/ 40 h 52"/>
                <a:gd name="T30" fmla="*/ 79 w 124"/>
                <a:gd name="T31" fmla="*/ 41 h 52"/>
                <a:gd name="T32" fmla="*/ 98 w 124"/>
                <a:gd name="T33" fmla="*/ 52 h 52"/>
                <a:gd name="T34" fmla="*/ 107 w 124"/>
                <a:gd name="T35" fmla="*/ 49 h 52"/>
                <a:gd name="T36" fmla="*/ 124 w 124"/>
                <a:gd name="T37" fmla="*/ 40 h 52"/>
                <a:gd name="T38" fmla="*/ 116 w 124"/>
                <a:gd name="T39" fmla="*/ 26 h 52"/>
                <a:gd name="T40" fmla="*/ 113 w 124"/>
                <a:gd name="T41" fmla="*/ 16 h 52"/>
                <a:gd name="T42" fmla="*/ 103 w 124"/>
                <a:gd name="T43" fmla="*/ 10 h 52"/>
                <a:gd name="T44" fmla="*/ 103 w 124"/>
                <a:gd name="T45" fmla="*/ 1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4" h="52">
                  <a:moveTo>
                    <a:pt x="103" y="10"/>
                  </a:moveTo>
                  <a:lnTo>
                    <a:pt x="89" y="10"/>
                  </a:lnTo>
                  <a:lnTo>
                    <a:pt x="73" y="3"/>
                  </a:lnTo>
                  <a:lnTo>
                    <a:pt x="65" y="0"/>
                  </a:lnTo>
                  <a:lnTo>
                    <a:pt x="51" y="4"/>
                  </a:lnTo>
                  <a:lnTo>
                    <a:pt x="51" y="21"/>
                  </a:lnTo>
                  <a:lnTo>
                    <a:pt x="37" y="22"/>
                  </a:lnTo>
                  <a:lnTo>
                    <a:pt x="21" y="5"/>
                  </a:lnTo>
                  <a:lnTo>
                    <a:pt x="6" y="12"/>
                  </a:lnTo>
                  <a:lnTo>
                    <a:pt x="0" y="26"/>
                  </a:lnTo>
                  <a:lnTo>
                    <a:pt x="1" y="43"/>
                  </a:lnTo>
                  <a:lnTo>
                    <a:pt x="20" y="36"/>
                  </a:lnTo>
                  <a:lnTo>
                    <a:pt x="49" y="37"/>
                  </a:lnTo>
                  <a:lnTo>
                    <a:pt x="66" y="35"/>
                  </a:lnTo>
                  <a:lnTo>
                    <a:pt x="70" y="40"/>
                  </a:lnTo>
                  <a:lnTo>
                    <a:pt x="79" y="41"/>
                  </a:lnTo>
                  <a:lnTo>
                    <a:pt x="98" y="52"/>
                  </a:lnTo>
                  <a:lnTo>
                    <a:pt x="107" y="49"/>
                  </a:lnTo>
                  <a:lnTo>
                    <a:pt x="124" y="40"/>
                  </a:lnTo>
                  <a:lnTo>
                    <a:pt x="116" y="26"/>
                  </a:lnTo>
                  <a:lnTo>
                    <a:pt x="113" y="16"/>
                  </a:lnTo>
                  <a:lnTo>
                    <a:pt x="103" y="10"/>
                  </a:lnTo>
                  <a:lnTo>
                    <a:pt x="103" y="1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5" name="Marocco">
              <a:extLst>
                <a:ext uri="{FF2B5EF4-FFF2-40B4-BE49-F238E27FC236}">
                  <a16:creationId xmlns:a16="http://schemas.microsoft.com/office/drawing/2014/main" id="{5A83DD7F-9D01-4E32-B43C-0C43C2695C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9569" y="2712811"/>
              <a:ext cx="520700" cy="541338"/>
            </a:xfrm>
            <a:custGeom>
              <a:avLst/>
              <a:gdLst>
                <a:gd name="T0" fmla="*/ 299 w 328"/>
                <a:gd name="T1" fmla="*/ 14 h 341"/>
                <a:gd name="T2" fmla="*/ 260 w 328"/>
                <a:gd name="T3" fmla="*/ 10 h 341"/>
                <a:gd name="T4" fmla="*/ 234 w 328"/>
                <a:gd name="T5" fmla="*/ 0 h 341"/>
                <a:gd name="T6" fmla="*/ 213 w 328"/>
                <a:gd name="T7" fmla="*/ 40 h 341"/>
                <a:gd name="T8" fmla="*/ 178 w 328"/>
                <a:gd name="T9" fmla="*/ 60 h 341"/>
                <a:gd name="T10" fmla="*/ 161 w 328"/>
                <a:gd name="T11" fmla="*/ 89 h 341"/>
                <a:gd name="T12" fmla="*/ 157 w 328"/>
                <a:gd name="T13" fmla="*/ 139 h 341"/>
                <a:gd name="T14" fmla="*/ 130 w 328"/>
                <a:gd name="T15" fmla="*/ 165 h 341"/>
                <a:gd name="T16" fmla="*/ 95 w 328"/>
                <a:gd name="T17" fmla="*/ 184 h 341"/>
                <a:gd name="T18" fmla="*/ 83 w 328"/>
                <a:gd name="T19" fmla="*/ 193 h 341"/>
                <a:gd name="T20" fmla="*/ 56 w 328"/>
                <a:gd name="T21" fmla="*/ 226 h 341"/>
                <a:gd name="T22" fmla="*/ 48 w 328"/>
                <a:gd name="T23" fmla="*/ 254 h 341"/>
                <a:gd name="T24" fmla="*/ 35 w 328"/>
                <a:gd name="T25" fmla="*/ 271 h 341"/>
                <a:gd name="T26" fmla="*/ 15 w 328"/>
                <a:gd name="T27" fmla="*/ 303 h 341"/>
                <a:gd name="T28" fmla="*/ 10 w 328"/>
                <a:gd name="T29" fmla="*/ 324 h 341"/>
                <a:gd name="T30" fmla="*/ 0 w 328"/>
                <a:gd name="T31" fmla="*/ 341 h 341"/>
                <a:gd name="T32" fmla="*/ 47 w 328"/>
                <a:gd name="T33" fmla="*/ 340 h 341"/>
                <a:gd name="T34" fmla="*/ 58 w 328"/>
                <a:gd name="T35" fmla="*/ 320 h 341"/>
                <a:gd name="T36" fmla="*/ 95 w 328"/>
                <a:gd name="T37" fmla="*/ 261 h 341"/>
                <a:gd name="T38" fmla="*/ 111 w 328"/>
                <a:gd name="T39" fmla="*/ 229 h 341"/>
                <a:gd name="T40" fmla="*/ 136 w 328"/>
                <a:gd name="T41" fmla="*/ 209 h 341"/>
                <a:gd name="T42" fmla="*/ 153 w 328"/>
                <a:gd name="T43" fmla="*/ 212 h 341"/>
                <a:gd name="T44" fmla="*/ 172 w 328"/>
                <a:gd name="T45" fmla="*/ 205 h 341"/>
                <a:gd name="T46" fmla="*/ 171 w 328"/>
                <a:gd name="T47" fmla="*/ 193 h 341"/>
                <a:gd name="T48" fmla="*/ 175 w 328"/>
                <a:gd name="T49" fmla="*/ 165 h 341"/>
                <a:gd name="T50" fmla="*/ 228 w 328"/>
                <a:gd name="T51" fmla="*/ 144 h 341"/>
                <a:gd name="T52" fmla="*/ 252 w 328"/>
                <a:gd name="T53" fmla="*/ 125 h 341"/>
                <a:gd name="T54" fmla="*/ 277 w 328"/>
                <a:gd name="T55" fmla="*/ 99 h 341"/>
                <a:gd name="T56" fmla="*/ 298 w 328"/>
                <a:gd name="T57" fmla="*/ 87 h 341"/>
                <a:gd name="T58" fmla="*/ 328 w 328"/>
                <a:gd name="T59" fmla="*/ 74 h 341"/>
                <a:gd name="T60" fmla="*/ 316 w 328"/>
                <a:gd name="T61" fmla="*/ 45 h 341"/>
                <a:gd name="T62" fmla="*/ 307 w 328"/>
                <a:gd name="T63" fmla="*/ 15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8" h="341">
                  <a:moveTo>
                    <a:pt x="307" y="15"/>
                  </a:moveTo>
                  <a:lnTo>
                    <a:pt x="299" y="14"/>
                  </a:lnTo>
                  <a:lnTo>
                    <a:pt x="279" y="9"/>
                  </a:lnTo>
                  <a:lnTo>
                    <a:pt x="260" y="10"/>
                  </a:lnTo>
                  <a:lnTo>
                    <a:pt x="248" y="0"/>
                  </a:lnTo>
                  <a:lnTo>
                    <a:pt x="234" y="0"/>
                  </a:lnTo>
                  <a:lnTo>
                    <a:pt x="226" y="15"/>
                  </a:lnTo>
                  <a:lnTo>
                    <a:pt x="213" y="40"/>
                  </a:lnTo>
                  <a:lnTo>
                    <a:pt x="198" y="49"/>
                  </a:lnTo>
                  <a:lnTo>
                    <a:pt x="178" y="60"/>
                  </a:lnTo>
                  <a:lnTo>
                    <a:pt x="165" y="76"/>
                  </a:lnTo>
                  <a:lnTo>
                    <a:pt x="161" y="89"/>
                  </a:lnTo>
                  <a:lnTo>
                    <a:pt x="153" y="109"/>
                  </a:lnTo>
                  <a:lnTo>
                    <a:pt x="157" y="139"/>
                  </a:lnTo>
                  <a:lnTo>
                    <a:pt x="140" y="158"/>
                  </a:lnTo>
                  <a:lnTo>
                    <a:pt x="130" y="165"/>
                  </a:lnTo>
                  <a:lnTo>
                    <a:pt x="113" y="181"/>
                  </a:lnTo>
                  <a:lnTo>
                    <a:pt x="95" y="184"/>
                  </a:lnTo>
                  <a:lnTo>
                    <a:pt x="84" y="193"/>
                  </a:lnTo>
                  <a:lnTo>
                    <a:pt x="83" y="193"/>
                  </a:lnTo>
                  <a:lnTo>
                    <a:pt x="70" y="217"/>
                  </a:lnTo>
                  <a:lnTo>
                    <a:pt x="56" y="226"/>
                  </a:lnTo>
                  <a:lnTo>
                    <a:pt x="49" y="241"/>
                  </a:lnTo>
                  <a:lnTo>
                    <a:pt x="48" y="254"/>
                  </a:lnTo>
                  <a:lnTo>
                    <a:pt x="41" y="268"/>
                  </a:lnTo>
                  <a:lnTo>
                    <a:pt x="35" y="271"/>
                  </a:lnTo>
                  <a:lnTo>
                    <a:pt x="23" y="286"/>
                  </a:lnTo>
                  <a:lnTo>
                    <a:pt x="15" y="303"/>
                  </a:lnTo>
                  <a:lnTo>
                    <a:pt x="17" y="312"/>
                  </a:lnTo>
                  <a:lnTo>
                    <a:pt x="10" y="324"/>
                  </a:lnTo>
                  <a:lnTo>
                    <a:pt x="1" y="330"/>
                  </a:lnTo>
                  <a:lnTo>
                    <a:pt x="0" y="341"/>
                  </a:lnTo>
                  <a:lnTo>
                    <a:pt x="0" y="341"/>
                  </a:lnTo>
                  <a:lnTo>
                    <a:pt x="47" y="340"/>
                  </a:lnTo>
                  <a:lnTo>
                    <a:pt x="50" y="330"/>
                  </a:lnTo>
                  <a:lnTo>
                    <a:pt x="58" y="320"/>
                  </a:lnTo>
                  <a:lnTo>
                    <a:pt x="66" y="287"/>
                  </a:lnTo>
                  <a:lnTo>
                    <a:pt x="95" y="261"/>
                  </a:lnTo>
                  <a:lnTo>
                    <a:pt x="105" y="231"/>
                  </a:lnTo>
                  <a:lnTo>
                    <a:pt x="111" y="229"/>
                  </a:lnTo>
                  <a:lnTo>
                    <a:pt x="119" y="211"/>
                  </a:lnTo>
                  <a:lnTo>
                    <a:pt x="136" y="209"/>
                  </a:lnTo>
                  <a:lnTo>
                    <a:pt x="143" y="212"/>
                  </a:lnTo>
                  <a:lnTo>
                    <a:pt x="153" y="212"/>
                  </a:lnTo>
                  <a:lnTo>
                    <a:pt x="159" y="206"/>
                  </a:lnTo>
                  <a:lnTo>
                    <a:pt x="172" y="205"/>
                  </a:lnTo>
                  <a:lnTo>
                    <a:pt x="171" y="193"/>
                  </a:lnTo>
                  <a:lnTo>
                    <a:pt x="171" y="193"/>
                  </a:lnTo>
                  <a:lnTo>
                    <a:pt x="174" y="193"/>
                  </a:lnTo>
                  <a:lnTo>
                    <a:pt x="175" y="165"/>
                  </a:lnTo>
                  <a:lnTo>
                    <a:pt x="208" y="147"/>
                  </a:lnTo>
                  <a:lnTo>
                    <a:pt x="228" y="144"/>
                  </a:lnTo>
                  <a:lnTo>
                    <a:pt x="245" y="137"/>
                  </a:lnTo>
                  <a:lnTo>
                    <a:pt x="252" y="125"/>
                  </a:lnTo>
                  <a:lnTo>
                    <a:pt x="276" y="115"/>
                  </a:lnTo>
                  <a:lnTo>
                    <a:pt x="277" y="99"/>
                  </a:lnTo>
                  <a:lnTo>
                    <a:pt x="289" y="97"/>
                  </a:lnTo>
                  <a:lnTo>
                    <a:pt x="298" y="87"/>
                  </a:lnTo>
                  <a:lnTo>
                    <a:pt x="324" y="84"/>
                  </a:lnTo>
                  <a:lnTo>
                    <a:pt x="328" y="74"/>
                  </a:lnTo>
                  <a:lnTo>
                    <a:pt x="322" y="69"/>
                  </a:lnTo>
                  <a:lnTo>
                    <a:pt x="316" y="45"/>
                  </a:lnTo>
                  <a:lnTo>
                    <a:pt x="315" y="30"/>
                  </a:lnTo>
                  <a:lnTo>
                    <a:pt x="307" y="15"/>
                  </a:lnTo>
                  <a:lnTo>
                    <a:pt x="307" y="15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6" name="Moldova">
              <a:extLst>
                <a:ext uri="{FF2B5EF4-FFF2-40B4-BE49-F238E27FC236}">
                  <a16:creationId xmlns:a16="http://schemas.microsoft.com/office/drawing/2014/main" id="{455E6933-35E5-40BF-8430-4FE0AF0E920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4656" y="2239736"/>
              <a:ext cx="109537" cy="109538"/>
            </a:xfrm>
            <a:custGeom>
              <a:avLst/>
              <a:gdLst>
                <a:gd name="T0" fmla="*/ 39 w 69"/>
                <a:gd name="T1" fmla="*/ 69 h 69"/>
                <a:gd name="T2" fmla="*/ 43 w 69"/>
                <a:gd name="T3" fmla="*/ 66 h 69"/>
                <a:gd name="T4" fmla="*/ 45 w 69"/>
                <a:gd name="T5" fmla="*/ 59 h 69"/>
                <a:gd name="T6" fmla="*/ 49 w 69"/>
                <a:gd name="T7" fmla="*/ 51 h 69"/>
                <a:gd name="T8" fmla="*/ 47 w 69"/>
                <a:gd name="T9" fmla="*/ 47 h 69"/>
                <a:gd name="T10" fmla="*/ 51 w 69"/>
                <a:gd name="T11" fmla="*/ 46 h 69"/>
                <a:gd name="T12" fmla="*/ 54 w 69"/>
                <a:gd name="T13" fmla="*/ 48 h 69"/>
                <a:gd name="T14" fmla="*/ 65 w 69"/>
                <a:gd name="T15" fmla="*/ 49 h 69"/>
                <a:gd name="T16" fmla="*/ 69 w 69"/>
                <a:gd name="T17" fmla="*/ 47 h 69"/>
                <a:gd name="T18" fmla="*/ 65 w 69"/>
                <a:gd name="T19" fmla="*/ 46 h 69"/>
                <a:gd name="T20" fmla="*/ 66 w 69"/>
                <a:gd name="T21" fmla="*/ 42 h 69"/>
                <a:gd name="T22" fmla="*/ 58 w 69"/>
                <a:gd name="T23" fmla="*/ 36 h 69"/>
                <a:gd name="T24" fmla="*/ 55 w 69"/>
                <a:gd name="T25" fmla="*/ 26 h 69"/>
                <a:gd name="T26" fmla="*/ 47 w 69"/>
                <a:gd name="T27" fmla="*/ 22 h 69"/>
                <a:gd name="T28" fmla="*/ 47 w 69"/>
                <a:gd name="T29" fmla="*/ 14 h 69"/>
                <a:gd name="T30" fmla="*/ 38 w 69"/>
                <a:gd name="T31" fmla="*/ 8 h 69"/>
                <a:gd name="T32" fmla="*/ 30 w 69"/>
                <a:gd name="T33" fmla="*/ 7 h 69"/>
                <a:gd name="T34" fmla="*/ 16 w 69"/>
                <a:gd name="T35" fmla="*/ 0 h 69"/>
                <a:gd name="T36" fmla="*/ 4 w 69"/>
                <a:gd name="T37" fmla="*/ 3 h 69"/>
                <a:gd name="T38" fmla="*/ 0 w 69"/>
                <a:gd name="T39" fmla="*/ 5 h 69"/>
                <a:gd name="T40" fmla="*/ 6 w 69"/>
                <a:gd name="T41" fmla="*/ 8 h 69"/>
                <a:gd name="T42" fmla="*/ 13 w 69"/>
                <a:gd name="T43" fmla="*/ 15 h 69"/>
                <a:gd name="T44" fmla="*/ 20 w 69"/>
                <a:gd name="T45" fmla="*/ 25 h 69"/>
                <a:gd name="T46" fmla="*/ 32 w 69"/>
                <a:gd name="T47" fmla="*/ 38 h 69"/>
                <a:gd name="T48" fmla="*/ 35 w 69"/>
                <a:gd name="T49" fmla="*/ 48 h 69"/>
                <a:gd name="T50" fmla="*/ 34 w 69"/>
                <a:gd name="T51" fmla="*/ 59 h 69"/>
                <a:gd name="T52" fmla="*/ 39 w 69"/>
                <a:gd name="T53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69">
                  <a:moveTo>
                    <a:pt x="39" y="69"/>
                  </a:moveTo>
                  <a:lnTo>
                    <a:pt x="43" y="66"/>
                  </a:lnTo>
                  <a:lnTo>
                    <a:pt x="45" y="59"/>
                  </a:lnTo>
                  <a:lnTo>
                    <a:pt x="49" y="51"/>
                  </a:lnTo>
                  <a:lnTo>
                    <a:pt x="47" y="47"/>
                  </a:lnTo>
                  <a:lnTo>
                    <a:pt x="51" y="46"/>
                  </a:lnTo>
                  <a:lnTo>
                    <a:pt x="54" y="48"/>
                  </a:lnTo>
                  <a:lnTo>
                    <a:pt x="65" y="49"/>
                  </a:lnTo>
                  <a:lnTo>
                    <a:pt x="69" y="47"/>
                  </a:lnTo>
                  <a:lnTo>
                    <a:pt x="65" y="46"/>
                  </a:lnTo>
                  <a:lnTo>
                    <a:pt x="66" y="42"/>
                  </a:lnTo>
                  <a:lnTo>
                    <a:pt x="58" y="36"/>
                  </a:lnTo>
                  <a:lnTo>
                    <a:pt x="55" y="26"/>
                  </a:lnTo>
                  <a:lnTo>
                    <a:pt x="47" y="22"/>
                  </a:lnTo>
                  <a:lnTo>
                    <a:pt x="47" y="14"/>
                  </a:lnTo>
                  <a:lnTo>
                    <a:pt x="38" y="8"/>
                  </a:lnTo>
                  <a:lnTo>
                    <a:pt x="30" y="7"/>
                  </a:lnTo>
                  <a:lnTo>
                    <a:pt x="16" y="0"/>
                  </a:lnTo>
                  <a:lnTo>
                    <a:pt x="4" y="3"/>
                  </a:lnTo>
                  <a:lnTo>
                    <a:pt x="0" y="5"/>
                  </a:lnTo>
                  <a:lnTo>
                    <a:pt x="6" y="8"/>
                  </a:lnTo>
                  <a:lnTo>
                    <a:pt x="13" y="15"/>
                  </a:lnTo>
                  <a:lnTo>
                    <a:pt x="20" y="25"/>
                  </a:lnTo>
                  <a:lnTo>
                    <a:pt x="32" y="38"/>
                  </a:lnTo>
                  <a:lnTo>
                    <a:pt x="35" y="48"/>
                  </a:lnTo>
                  <a:lnTo>
                    <a:pt x="34" y="59"/>
                  </a:lnTo>
                  <a:lnTo>
                    <a:pt x="39" y="69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7" name="Madagascar">
              <a:extLst>
                <a:ext uri="{FF2B5EF4-FFF2-40B4-BE49-F238E27FC236}">
                  <a16:creationId xmlns:a16="http://schemas.microsoft.com/office/drawing/2014/main" id="{EAADE446-F926-44CB-AA52-C8109794B684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4894" y="4516211"/>
              <a:ext cx="255587" cy="511175"/>
            </a:xfrm>
            <a:custGeom>
              <a:avLst/>
              <a:gdLst>
                <a:gd name="T0" fmla="*/ 154 w 161"/>
                <a:gd name="T1" fmla="*/ 36 h 322"/>
                <a:gd name="T2" fmla="*/ 150 w 161"/>
                <a:gd name="T3" fmla="*/ 21 h 322"/>
                <a:gd name="T4" fmla="*/ 145 w 161"/>
                <a:gd name="T5" fmla="*/ 10 h 322"/>
                <a:gd name="T6" fmla="*/ 139 w 161"/>
                <a:gd name="T7" fmla="*/ 0 h 322"/>
                <a:gd name="T8" fmla="*/ 131 w 161"/>
                <a:gd name="T9" fmla="*/ 10 h 322"/>
                <a:gd name="T10" fmla="*/ 129 w 161"/>
                <a:gd name="T11" fmla="*/ 25 h 322"/>
                <a:gd name="T12" fmla="*/ 117 w 161"/>
                <a:gd name="T13" fmla="*/ 42 h 322"/>
                <a:gd name="T14" fmla="*/ 109 w 161"/>
                <a:gd name="T15" fmla="*/ 38 h 322"/>
                <a:gd name="T16" fmla="*/ 111 w 161"/>
                <a:gd name="T17" fmla="*/ 49 h 322"/>
                <a:gd name="T18" fmla="*/ 104 w 161"/>
                <a:gd name="T19" fmla="*/ 61 h 322"/>
                <a:gd name="T20" fmla="*/ 86 w 161"/>
                <a:gd name="T21" fmla="*/ 76 h 322"/>
                <a:gd name="T22" fmla="*/ 73 w 161"/>
                <a:gd name="T23" fmla="*/ 89 h 322"/>
                <a:gd name="T24" fmla="*/ 65 w 161"/>
                <a:gd name="T25" fmla="*/ 89 h 322"/>
                <a:gd name="T26" fmla="*/ 56 w 161"/>
                <a:gd name="T27" fmla="*/ 93 h 322"/>
                <a:gd name="T28" fmla="*/ 45 w 161"/>
                <a:gd name="T29" fmla="*/ 98 h 322"/>
                <a:gd name="T30" fmla="*/ 34 w 161"/>
                <a:gd name="T31" fmla="*/ 99 h 322"/>
                <a:gd name="T32" fmla="*/ 30 w 161"/>
                <a:gd name="T33" fmla="*/ 115 h 322"/>
                <a:gd name="T34" fmla="*/ 23 w 161"/>
                <a:gd name="T35" fmla="*/ 128 h 322"/>
                <a:gd name="T36" fmla="*/ 23 w 161"/>
                <a:gd name="T37" fmla="*/ 149 h 322"/>
                <a:gd name="T38" fmla="*/ 26 w 161"/>
                <a:gd name="T39" fmla="*/ 164 h 322"/>
                <a:gd name="T40" fmla="*/ 30 w 161"/>
                <a:gd name="T41" fmla="*/ 176 h 322"/>
                <a:gd name="T42" fmla="*/ 26 w 161"/>
                <a:gd name="T43" fmla="*/ 191 h 322"/>
                <a:gd name="T44" fmla="*/ 16 w 161"/>
                <a:gd name="T45" fmla="*/ 209 h 322"/>
                <a:gd name="T46" fmla="*/ 15 w 161"/>
                <a:gd name="T47" fmla="*/ 217 h 322"/>
                <a:gd name="T48" fmla="*/ 6 w 161"/>
                <a:gd name="T49" fmla="*/ 221 h 322"/>
                <a:gd name="T50" fmla="*/ 0 w 161"/>
                <a:gd name="T51" fmla="*/ 238 h 322"/>
                <a:gd name="T52" fmla="*/ 1 w 161"/>
                <a:gd name="T53" fmla="*/ 255 h 322"/>
                <a:gd name="T54" fmla="*/ 8 w 161"/>
                <a:gd name="T55" fmla="*/ 274 h 322"/>
                <a:gd name="T56" fmla="*/ 7 w 161"/>
                <a:gd name="T57" fmla="*/ 295 h 322"/>
                <a:gd name="T58" fmla="*/ 12 w 161"/>
                <a:gd name="T59" fmla="*/ 307 h 322"/>
                <a:gd name="T60" fmla="*/ 27 w 161"/>
                <a:gd name="T61" fmla="*/ 317 h 322"/>
                <a:gd name="T62" fmla="*/ 39 w 161"/>
                <a:gd name="T63" fmla="*/ 322 h 322"/>
                <a:gd name="T64" fmla="*/ 57 w 161"/>
                <a:gd name="T65" fmla="*/ 313 h 322"/>
                <a:gd name="T66" fmla="*/ 74 w 161"/>
                <a:gd name="T67" fmla="*/ 307 h 322"/>
                <a:gd name="T68" fmla="*/ 86 w 161"/>
                <a:gd name="T69" fmla="*/ 279 h 322"/>
                <a:gd name="T70" fmla="*/ 97 w 161"/>
                <a:gd name="T71" fmla="*/ 246 h 322"/>
                <a:gd name="T72" fmla="*/ 112 w 161"/>
                <a:gd name="T73" fmla="*/ 201 h 322"/>
                <a:gd name="T74" fmla="*/ 125 w 161"/>
                <a:gd name="T75" fmla="*/ 168 h 322"/>
                <a:gd name="T76" fmla="*/ 135 w 161"/>
                <a:gd name="T77" fmla="*/ 141 h 322"/>
                <a:gd name="T78" fmla="*/ 138 w 161"/>
                <a:gd name="T79" fmla="*/ 120 h 322"/>
                <a:gd name="T80" fmla="*/ 144 w 161"/>
                <a:gd name="T81" fmla="*/ 115 h 322"/>
                <a:gd name="T82" fmla="*/ 146 w 161"/>
                <a:gd name="T83" fmla="*/ 105 h 322"/>
                <a:gd name="T84" fmla="*/ 143 w 161"/>
                <a:gd name="T85" fmla="*/ 87 h 322"/>
                <a:gd name="T86" fmla="*/ 148 w 161"/>
                <a:gd name="T87" fmla="*/ 80 h 322"/>
                <a:gd name="T88" fmla="*/ 153 w 161"/>
                <a:gd name="T89" fmla="*/ 94 h 322"/>
                <a:gd name="T90" fmla="*/ 158 w 161"/>
                <a:gd name="T91" fmla="*/ 87 h 322"/>
                <a:gd name="T92" fmla="*/ 161 w 161"/>
                <a:gd name="T93" fmla="*/ 76 h 322"/>
                <a:gd name="T94" fmla="*/ 156 w 161"/>
                <a:gd name="T95" fmla="*/ 64 h 322"/>
                <a:gd name="T96" fmla="*/ 154 w 161"/>
                <a:gd name="T97" fmla="*/ 36 h 322"/>
                <a:gd name="T98" fmla="*/ 154 w 161"/>
                <a:gd name="T99" fmla="*/ 36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61" h="322">
                  <a:moveTo>
                    <a:pt x="154" y="36"/>
                  </a:moveTo>
                  <a:lnTo>
                    <a:pt x="150" y="21"/>
                  </a:lnTo>
                  <a:lnTo>
                    <a:pt x="145" y="10"/>
                  </a:lnTo>
                  <a:lnTo>
                    <a:pt x="139" y="0"/>
                  </a:lnTo>
                  <a:lnTo>
                    <a:pt x="131" y="10"/>
                  </a:lnTo>
                  <a:lnTo>
                    <a:pt x="129" y="25"/>
                  </a:lnTo>
                  <a:lnTo>
                    <a:pt x="117" y="42"/>
                  </a:lnTo>
                  <a:lnTo>
                    <a:pt x="109" y="38"/>
                  </a:lnTo>
                  <a:lnTo>
                    <a:pt x="111" y="49"/>
                  </a:lnTo>
                  <a:lnTo>
                    <a:pt x="104" y="61"/>
                  </a:lnTo>
                  <a:lnTo>
                    <a:pt x="86" y="76"/>
                  </a:lnTo>
                  <a:lnTo>
                    <a:pt x="73" y="89"/>
                  </a:lnTo>
                  <a:lnTo>
                    <a:pt x="65" y="89"/>
                  </a:lnTo>
                  <a:lnTo>
                    <a:pt x="56" y="93"/>
                  </a:lnTo>
                  <a:lnTo>
                    <a:pt x="45" y="98"/>
                  </a:lnTo>
                  <a:lnTo>
                    <a:pt x="34" y="99"/>
                  </a:lnTo>
                  <a:lnTo>
                    <a:pt x="30" y="115"/>
                  </a:lnTo>
                  <a:lnTo>
                    <a:pt x="23" y="128"/>
                  </a:lnTo>
                  <a:lnTo>
                    <a:pt x="23" y="149"/>
                  </a:lnTo>
                  <a:lnTo>
                    <a:pt x="26" y="164"/>
                  </a:lnTo>
                  <a:lnTo>
                    <a:pt x="30" y="176"/>
                  </a:lnTo>
                  <a:lnTo>
                    <a:pt x="26" y="191"/>
                  </a:lnTo>
                  <a:lnTo>
                    <a:pt x="16" y="209"/>
                  </a:lnTo>
                  <a:lnTo>
                    <a:pt x="15" y="217"/>
                  </a:lnTo>
                  <a:lnTo>
                    <a:pt x="6" y="221"/>
                  </a:lnTo>
                  <a:lnTo>
                    <a:pt x="0" y="238"/>
                  </a:lnTo>
                  <a:lnTo>
                    <a:pt x="1" y="255"/>
                  </a:lnTo>
                  <a:lnTo>
                    <a:pt x="8" y="274"/>
                  </a:lnTo>
                  <a:lnTo>
                    <a:pt x="7" y="295"/>
                  </a:lnTo>
                  <a:lnTo>
                    <a:pt x="12" y="307"/>
                  </a:lnTo>
                  <a:lnTo>
                    <a:pt x="27" y="317"/>
                  </a:lnTo>
                  <a:lnTo>
                    <a:pt x="39" y="322"/>
                  </a:lnTo>
                  <a:lnTo>
                    <a:pt x="57" y="313"/>
                  </a:lnTo>
                  <a:lnTo>
                    <a:pt x="74" y="307"/>
                  </a:lnTo>
                  <a:lnTo>
                    <a:pt x="86" y="279"/>
                  </a:lnTo>
                  <a:lnTo>
                    <a:pt x="97" y="246"/>
                  </a:lnTo>
                  <a:lnTo>
                    <a:pt x="112" y="201"/>
                  </a:lnTo>
                  <a:lnTo>
                    <a:pt x="125" y="168"/>
                  </a:lnTo>
                  <a:lnTo>
                    <a:pt x="135" y="141"/>
                  </a:lnTo>
                  <a:lnTo>
                    <a:pt x="138" y="120"/>
                  </a:lnTo>
                  <a:lnTo>
                    <a:pt x="144" y="115"/>
                  </a:lnTo>
                  <a:lnTo>
                    <a:pt x="146" y="105"/>
                  </a:lnTo>
                  <a:lnTo>
                    <a:pt x="143" y="87"/>
                  </a:lnTo>
                  <a:lnTo>
                    <a:pt x="148" y="80"/>
                  </a:lnTo>
                  <a:lnTo>
                    <a:pt x="153" y="94"/>
                  </a:lnTo>
                  <a:lnTo>
                    <a:pt x="158" y="87"/>
                  </a:lnTo>
                  <a:lnTo>
                    <a:pt x="161" y="76"/>
                  </a:lnTo>
                  <a:lnTo>
                    <a:pt x="156" y="64"/>
                  </a:lnTo>
                  <a:lnTo>
                    <a:pt x="154" y="36"/>
                  </a:lnTo>
                  <a:lnTo>
                    <a:pt x="154" y="36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8" name="Mexico">
              <a:extLst>
                <a:ext uri="{FF2B5EF4-FFF2-40B4-BE49-F238E27FC236}">
                  <a16:creationId xmlns:a16="http://schemas.microsoft.com/office/drawing/2014/main" id="{749CFCB5-57A1-4B58-9DC3-1356153AE9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2031" y="2828698"/>
              <a:ext cx="877887" cy="685800"/>
            </a:xfrm>
            <a:custGeom>
              <a:avLst/>
              <a:gdLst>
                <a:gd name="T0" fmla="*/ 324 w 553"/>
                <a:gd name="T1" fmla="*/ 151 h 432"/>
                <a:gd name="T2" fmla="*/ 311 w 553"/>
                <a:gd name="T3" fmla="*/ 109 h 432"/>
                <a:gd name="T4" fmla="*/ 289 w 553"/>
                <a:gd name="T5" fmla="*/ 70 h 432"/>
                <a:gd name="T6" fmla="*/ 240 w 553"/>
                <a:gd name="T7" fmla="*/ 82 h 432"/>
                <a:gd name="T8" fmla="*/ 227 w 553"/>
                <a:gd name="T9" fmla="*/ 49 h 432"/>
                <a:gd name="T10" fmla="*/ 206 w 553"/>
                <a:gd name="T11" fmla="*/ 23 h 432"/>
                <a:gd name="T12" fmla="*/ 152 w 553"/>
                <a:gd name="T13" fmla="*/ 32 h 432"/>
                <a:gd name="T14" fmla="*/ 45 w 553"/>
                <a:gd name="T15" fmla="*/ 4 h 432"/>
                <a:gd name="T16" fmla="*/ 0 w 553"/>
                <a:gd name="T17" fmla="*/ 4 h 432"/>
                <a:gd name="T18" fmla="*/ 5 w 553"/>
                <a:gd name="T19" fmla="*/ 59 h 432"/>
                <a:gd name="T20" fmla="*/ 29 w 553"/>
                <a:gd name="T21" fmla="*/ 99 h 432"/>
                <a:gd name="T22" fmla="*/ 7 w 553"/>
                <a:gd name="T23" fmla="*/ 116 h 432"/>
                <a:gd name="T24" fmla="*/ 25 w 553"/>
                <a:gd name="T25" fmla="*/ 138 h 432"/>
                <a:gd name="T26" fmla="*/ 44 w 553"/>
                <a:gd name="T27" fmla="*/ 152 h 432"/>
                <a:gd name="T28" fmla="*/ 47 w 553"/>
                <a:gd name="T29" fmla="*/ 189 h 432"/>
                <a:gd name="T30" fmla="*/ 79 w 553"/>
                <a:gd name="T31" fmla="*/ 220 h 432"/>
                <a:gd name="T32" fmla="*/ 96 w 553"/>
                <a:gd name="T33" fmla="*/ 226 h 432"/>
                <a:gd name="T34" fmla="*/ 86 w 553"/>
                <a:gd name="T35" fmla="*/ 200 h 432"/>
                <a:gd name="T36" fmla="*/ 74 w 553"/>
                <a:gd name="T37" fmla="*/ 176 h 432"/>
                <a:gd name="T38" fmla="*/ 59 w 553"/>
                <a:gd name="T39" fmla="*/ 131 h 432"/>
                <a:gd name="T40" fmla="*/ 52 w 553"/>
                <a:gd name="T41" fmla="*/ 101 h 432"/>
                <a:gd name="T42" fmla="*/ 45 w 553"/>
                <a:gd name="T43" fmla="*/ 92 h 432"/>
                <a:gd name="T44" fmla="*/ 30 w 553"/>
                <a:gd name="T45" fmla="*/ 60 h 432"/>
                <a:gd name="T46" fmla="*/ 41 w 553"/>
                <a:gd name="T47" fmla="*/ 22 h 432"/>
                <a:gd name="T48" fmla="*/ 68 w 553"/>
                <a:gd name="T49" fmla="*/ 37 h 432"/>
                <a:gd name="T50" fmla="*/ 72 w 553"/>
                <a:gd name="T51" fmla="*/ 82 h 432"/>
                <a:gd name="T52" fmla="*/ 86 w 553"/>
                <a:gd name="T53" fmla="*/ 113 h 432"/>
                <a:gd name="T54" fmla="*/ 105 w 553"/>
                <a:gd name="T55" fmla="*/ 143 h 432"/>
                <a:gd name="T56" fmla="*/ 111 w 553"/>
                <a:gd name="T57" fmla="*/ 169 h 432"/>
                <a:gd name="T58" fmla="*/ 150 w 553"/>
                <a:gd name="T59" fmla="*/ 212 h 432"/>
                <a:gd name="T60" fmla="*/ 169 w 553"/>
                <a:gd name="T61" fmla="*/ 257 h 432"/>
                <a:gd name="T62" fmla="*/ 167 w 553"/>
                <a:gd name="T63" fmla="*/ 282 h 432"/>
                <a:gd name="T64" fmla="*/ 164 w 553"/>
                <a:gd name="T65" fmla="*/ 303 h 432"/>
                <a:gd name="T66" fmla="*/ 199 w 553"/>
                <a:gd name="T67" fmla="*/ 342 h 432"/>
                <a:gd name="T68" fmla="*/ 235 w 553"/>
                <a:gd name="T69" fmla="*/ 358 h 432"/>
                <a:gd name="T70" fmla="*/ 288 w 553"/>
                <a:gd name="T71" fmla="*/ 383 h 432"/>
                <a:gd name="T72" fmla="*/ 335 w 553"/>
                <a:gd name="T73" fmla="*/ 405 h 432"/>
                <a:gd name="T74" fmla="*/ 375 w 553"/>
                <a:gd name="T75" fmla="*/ 392 h 432"/>
                <a:gd name="T76" fmla="*/ 422 w 553"/>
                <a:gd name="T77" fmla="*/ 432 h 432"/>
                <a:gd name="T78" fmla="*/ 424 w 553"/>
                <a:gd name="T79" fmla="*/ 414 h 432"/>
                <a:gd name="T80" fmla="*/ 464 w 553"/>
                <a:gd name="T81" fmla="*/ 387 h 432"/>
                <a:gd name="T82" fmla="*/ 452 w 553"/>
                <a:gd name="T83" fmla="*/ 375 h 432"/>
                <a:gd name="T84" fmla="*/ 456 w 553"/>
                <a:gd name="T85" fmla="*/ 353 h 432"/>
                <a:gd name="T86" fmla="*/ 495 w 553"/>
                <a:gd name="T87" fmla="*/ 351 h 432"/>
                <a:gd name="T88" fmla="*/ 510 w 553"/>
                <a:gd name="T89" fmla="*/ 338 h 432"/>
                <a:gd name="T90" fmla="*/ 523 w 553"/>
                <a:gd name="T91" fmla="*/ 343 h 432"/>
                <a:gd name="T92" fmla="*/ 532 w 553"/>
                <a:gd name="T93" fmla="*/ 310 h 432"/>
                <a:gd name="T94" fmla="*/ 553 w 553"/>
                <a:gd name="T95" fmla="*/ 270 h 432"/>
                <a:gd name="T96" fmla="*/ 519 w 553"/>
                <a:gd name="T97" fmla="*/ 267 h 432"/>
                <a:gd name="T98" fmla="*/ 477 w 553"/>
                <a:gd name="T99" fmla="*/ 285 h 432"/>
                <a:gd name="T100" fmla="*/ 451 w 553"/>
                <a:gd name="T101" fmla="*/ 328 h 432"/>
                <a:gd name="T102" fmla="*/ 406 w 553"/>
                <a:gd name="T103" fmla="*/ 339 h 432"/>
                <a:gd name="T104" fmla="*/ 358 w 553"/>
                <a:gd name="T105" fmla="*/ 330 h 432"/>
                <a:gd name="T106" fmla="*/ 338 w 553"/>
                <a:gd name="T107" fmla="*/ 287 h 432"/>
                <a:gd name="T108" fmla="*/ 330 w 553"/>
                <a:gd name="T109" fmla="*/ 244 h 432"/>
                <a:gd name="T110" fmla="*/ 348 w 553"/>
                <a:gd name="T111" fmla="*/ 183 h 432"/>
                <a:gd name="T112" fmla="*/ 352 w 553"/>
                <a:gd name="T113" fmla="*/ 163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53" h="432">
                  <a:moveTo>
                    <a:pt x="352" y="163"/>
                  </a:moveTo>
                  <a:lnTo>
                    <a:pt x="338" y="158"/>
                  </a:lnTo>
                  <a:lnTo>
                    <a:pt x="324" y="151"/>
                  </a:lnTo>
                  <a:lnTo>
                    <a:pt x="320" y="140"/>
                  </a:lnTo>
                  <a:lnTo>
                    <a:pt x="320" y="123"/>
                  </a:lnTo>
                  <a:lnTo>
                    <a:pt x="311" y="109"/>
                  </a:lnTo>
                  <a:lnTo>
                    <a:pt x="307" y="95"/>
                  </a:lnTo>
                  <a:lnTo>
                    <a:pt x="301" y="79"/>
                  </a:lnTo>
                  <a:lnTo>
                    <a:pt x="289" y="70"/>
                  </a:lnTo>
                  <a:lnTo>
                    <a:pt x="273" y="70"/>
                  </a:lnTo>
                  <a:lnTo>
                    <a:pt x="255" y="88"/>
                  </a:lnTo>
                  <a:lnTo>
                    <a:pt x="240" y="82"/>
                  </a:lnTo>
                  <a:lnTo>
                    <a:pt x="232" y="74"/>
                  </a:lnTo>
                  <a:lnTo>
                    <a:pt x="230" y="61"/>
                  </a:lnTo>
                  <a:lnTo>
                    <a:pt x="227" y="49"/>
                  </a:lnTo>
                  <a:lnTo>
                    <a:pt x="218" y="39"/>
                  </a:lnTo>
                  <a:lnTo>
                    <a:pt x="211" y="31"/>
                  </a:lnTo>
                  <a:lnTo>
                    <a:pt x="206" y="23"/>
                  </a:lnTo>
                  <a:lnTo>
                    <a:pt x="171" y="23"/>
                  </a:lnTo>
                  <a:lnTo>
                    <a:pt x="168" y="32"/>
                  </a:lnTo>
                  <a:lnTo>
                    <a:pt x="152" y="32"/>
                  </a:lnTo>
                  <a:lnTo>
                    <a:pt x="112" y="32"/>
                  </a:lnTo>
                  <a:lnTo>
                    <a:pt x="72" y="16"/>
                  </a:lnTo>
                  <a:lnTo>
                    <a:pt x="45" y="4"/>
                  </a:lnTo>
                  <a:lnTo>
                    <a:pt x="49" y="0"/>
                  </a:lnTo>
                  <a:lnTo>
                    <a:pt x="23" y="2"/>
                  </a:lnTo>
                  <a:lnTo>
                    <a:pt x="0" y="4"/>
                  </a:lnTo>
                  <a:lnTo>
                    <a:pt x="1" y="26"/>
                  </a:lnTo>
                  <a:lnTo>
                    <a:pt x="2" y="44"/>
                  </a:lnTo>
                  <a:lnTo>
                    <a:pt x="5" y="59"/>
                  </a:lnTo>
                  <a:lnTo>
                    <a:pt x="8" y="74"/>
                  </a:lnTo>
                  <a:lnTo>
                    <a:pt x="18" y="82"/>
                  </a:lnTo>
                  <a:lnTo>
                    <a:pt x="29" y="99"/>
                  </a:lnTo>
                  <a:lnTo>
                    <a:pt x="25" y="109"/>
                  </a:lnTo>
                  <a:lnTo>
                    <a:pt x="16" y="117"/>
                  </a:lnTo>
                  <a:lnTo>
                    <a:pt x="7" y="116"/>
                  </a:lnTo>
                  <a:lnTo>
                    <a:pt x="5" y="118"/>
                  </a:lnTo>
                  <a:lnTo>
                    <a:pt x="14" y="132"/>
                  </a:lnTo>
                  <a:lnTo>
                    <a:pt x="25" y="138"/>
                  </a:lnTo>
                  <a:lnTo>
                    <a:pt x="29" y="144"/>
                  </a:lnTo>
                  <a:lnTo>
                    <a:pt x="31" y="141"/>
                  </a:lnTo>
                  <a:lnTo>
                    <a:pt x="44" y="152"/>
                  </a:lnTo>
                  <a:lnTo>
                    <a:pt x="51" y="159"/>
                  </a:lnTo>
                  <a:lnTo>
                    <a:pt x="51" y="171"/>
                  </a:lnTo>
                  <a:lnTo>
                    <a:pt x="47" y="189"/>
                  </a:lnTo>
                  <a:lnTo>
                    <a:pt x="57" y="196"/>
                  </a:lnTo>
                  <a:lnTo>
                    <a:pt x="69" y="207"/>
                  </a:lnTo>
                  <a:lnTo>
                    <a:pt x="79" y="220"/>
                  </a:lnTo>
                  <a:lnTo>
                    <a:pt x="82" y="235"/>
                  </a:lnTo>
                  <a:lnTo>
                    <a:pt x="86" y="235"/>
                  </a:lnTo>
                  <a:lnTo>
                    <a:pt x="96" y="226"/>
                  </a:lnTo>
                  <a:lnTo>
                    <a:pt x="98" y="222"/>
                  </a:lnTo>
                  <a:lnTo>
                    <a:pt x="92" y="211"/>
                  </a:lnTo>
                  <a:lnTo>
                    <a:pt x="86" y="200"/>
                  </a:lnTo>
                  <a:lnTo>
                    <a:pt x="76" y="199"/>
                  </a:lnTo>
                  <a:lnTo>
                    <a:pt x="77" y="187"/>
                  </a:lnTo>
                  <a:lnTo>
                    <a:pt x="74" y="176"/>
                  </a:lnTo>
                  <a:lnTo>
                    <a:pt x="71" y="166"/>
                  </a:lnTo>
                  <a:lnTo>
                    <a:pt x="69" y="143"/>
                  </a:lnTo>
                  <a:lnTo>
                    <a:pt x="59" y="131"/>
                  </a:lnTo>
                  <a:lnTo>
                    <a:pt x="57" y="123"/>
                  </a:lnTo>
                  <a:lnTo>
                    <a:pt x="52" y="117"/>
                  </a:lnTo>
                  <a:lnTo>
                    <a:pt x="52" y="101"/>
                  </a:lnTo>
                  <a:lnTo>
                    <a:pt x="48" y="102"/>
                  </a:lnTo>
                  <a:lnTo>
                    <a:pt x="48" y="94"/>
                  </a:lnTo>
                  <a:lnTo>
                    <a:pt x="45" y="92"/>
                  </a:lnTo>
                  <a:lnTo>
                    <a:pt x="44" y="86"/>
                  </a:lnTo>
                  <a:lnTo>
                    <a:pt x="34" y="71"/>
                  </a:lnTo>
                  <a:lnTo>
                    <a:pt x="30" y="60"/>
                  </a:lnTo>
                  <a:lnTo>
                    <a:pt x="33" y="42"/>
                  </a:lnTo>
                  <a:lnTo>
                    <a:pt x="34" y="31"/>
                  </a:lnTo>
                  <a:lnTo>
                    <a:pt x="41" y="22"/>
                  </a:lnTo>
                  <a:lnTo>
                    <a:pt x="49" y="28"/>
                  </a:lnTo>
                  <a:lnTo>
                    <a:pt x="57" y="28"/>
                  </a:lnTo>
                  <a:lnTo>
                    <a:pt x="68" y="37"/>
                  </a:lnTo>
                  <a:lnTo>
                    <a:pt x="65" y="45"/>
                  </a:lnTo>
                  <a:lnTo>
                    <a:pt x="66" y="64"/>
                  </a:lnTo>
                  <a:lnTo>
                    <a:pt x="72" y="82"/>
                  </a:lnTo>
                  <a:lnTo>
                    <a:pt x="71" y="89"/>
                  </a:lnTo>
                  <a:lnTo>
                    <a:pt x="77" y="100"/>
                  </a:lnTo>
                  <a:lnTo>
                    <a:pt x="86" y="113"/>
                  </a:lnTo>
                  <a:lnTo>
                    <a:pt x="96" y="115"/>
                  </a:lnTo>
                  <a:lnTo>
                    <a:pt x="97" y="131"/>
                  </a:lnTo>
                  <a:lnTo>
                    <a:pt x="105" y="143"/>
                  </a:lnTo>
                  <a:lnTo>
                    <a:pt x="115" y="149"/>
                  </a:lnTo>
                  <a:lnTo>
                    <a:pt x="108" y="164"/>
                  </a:lnTo>
                  <a:lnTo>
                    <a:pt x="111" y="169"/>
                  </a:lnTo>
                  <a:lnTo>
                    <a:pt x="126" y="179"/>
                  </a:lnTo>
                  <a:lnTo>
                    <a:pt x="133" y="194"/>
                  </a:lnTo>
                  <a:lnTo>
                    <a:pt x="150" y="212"/>
                  </a:lnTo>
                  <a:lnTo>
                    <a:pt x="164" y="236"/>
                  </a:lnTo>
                  <a:lnTo>
                    <a:pt x="169" y="248"/>
                  </a:lnTo>
                  <a:lnTo>
                    <a:pt x="169" y="257"/>
                  </a:lnTo>
                  <a:lnTo>
                    <a:pt x="174" y="268"/>
                  </a:lnTo>
                  <a:lnTo>
                    <a:pt x="173" y="276"/>
                  </a:lnTo>
                  <a:lnTo>
                    <a:pt x="167" y="282"/>
                  </a:lnTo>
                  <a:lnTo>
                    <a:pt x="169" y="289"/>
                  </a:lnTo>
                  <a:lnTo>
                    <a:pt x="161" y="292"/>
                  </a:lnTo>
                  <a:lnTo>
                    <a:pt x="164" y="303"/>
                  </a:lnTo>
                  <a:lnTo>
                    <a:pt x="172" y="318"/>
                  </a:lnTo>
                  <a:lnTo>
                    <a:pt x="192" y="332"/>
                  </a:lnTo>
                  <a:lnTo>
                    <a:pt x="199" y="342"/>
                  </a:lnTo>
                  <a:lnTo>
                    <a:pt x="219" y="350"/>
                  </a:lnTo>
                  <a:lnTo>
                    <a:pt x="230" y="352"/>
                  </a:lnTo>
                  <a:lnTo>
                    <a:pt x="235" y="358"/>
                  </a:lnTo>
                  <a:lnTo>
                    <a:pt x="251" y="369"/>
                  </a:lnTo>
                  <a:lnTo>
                    <a:pt x="273" y="380"/>
                  </a:lnTo>
                  <a:lnTo>
                    <a:pt x="288" y="383"/>
                  </a:lnTo>
                  <a:lnTo>
                    <a:pt x="306" y="394"/>
                  </a:lnTo>
                  <a:lnTo>
                    <a:pt x="321" y="399"/>
                  </a:lnTo>
                  <a:lnTo>
                    <a:pt x="335" y="405"/>
                  </a:lnTo>
                  <a:lnTo>
                    <a:pt x="345" y="403"/>
                  </a:lnTo>
                  <a:lnTo>
                    <a:pt x="363" y="394"/>
                  </a:lnTo>
                  <a:lnTo>
                    <a:pt x="375" y="392"/>
                  </a:lnTo>
                  <a:lnTo>
                    <a:pt x="391" y="398"/>
                  </a:lnTo>
                  <a:lnTo>
                    <a:pt x="401" y="406"/>
                  </a:lnTo>
                  <a:lnTo>
                    <a:pt x="422" y="432"/>
                  </a:lnTo>
                  <a:lnTo>
                    <a:pt x="423" y="424"/>
                  </a:lnTo>
                  <a:lnTo>
                    <a:pt x="426" y="419"/>
                  </a:lnTo>
                  <a:lnTo>
                    <a:pt x="424" y="414"/>
                  </a:lnTo>
                  <a:lnTo>
                    <a:pt x="436" y="395"/>
                  </a:lnTo>
                  <a:lnTo>
                    <a:pt x="462" y="395"/>
                  </a:lnTo>
                  <a:lnTo>
                    <a:pt x="464" y="387"/>
                  </a:lnTo>
                  <a:lnTo>
                    <a:pt x="461" y="386"/>
                  </a:lnTo>
                  <a:lnTo>
                    <a:pt x="459" y="380"/>
                  </a:lnTo>
                  <a:lnTo>
                    <a:pt x="452" y="375"/>
                  </a:lnTo>
                  <a:lnTo>
                    <a:pt x="445" y="367"/>
                  </a:lnTo>
                  <a:lnTo>
                    <a:pt x="454" y="367"/>
                  </a:lnTo>
                  <a:lnTo>
                    <a:pt x="456" y="353"/>
                  </a:lnTo>
                  <a:lnTo>
                    <a:pt x="476" y="353"/>
                  </a:lnTo>
                  <a:lnTo>
                    <a:pt x="495" y="354"/>
                  </a:lnTo>
                  <a:lnTo>
                    <a:pt x="495" y="351"/>
                  </a:lnTo>
                  <a:lnTo>
                    <a:pt x="497" y="349"/>
                  </a:lnTo>
                  <a:lnTo>
                    <a:pt x="501" y="352"/>
                  </a:lnTo>
                  <a:lnTo>
                    <a:pt x="510" y="338"/>
                  </a:lnTo>
                  <a:lnTo>
                    <a:pt x="514" y="338"/>
                  </a:lnTo>
                  <a:lnTo>
                    <a:pt x="519" y="338"/>
                  </a:lnTo>
                  <a:lnTo>
                    <a:pt x="523" y="343"/>
                  </a:lnTo>
                  <a:lnTo>
                    <a:pt x="531" y="324"/>
                  </a:lnTo>
                  <a:lnTo>
                    <a:pt x="535" y="314"/>
                  </a:lnTo>
                  <a:lnTo>
                    <a:pt x="532" y="310"/>
                  </a:lnTo>
                  <a:lnTo>
                    <a:pt x="538" y="296"/>
                  </a:lnTo>
                  <a:lnTo>
                    <a:pt x="551" y="282"/>
                  </a:lnTo>
                  <a:lnTo>
                    <a:pt x="553" y="270"/>
                  </a:lnTo>
                  <a:lnTo>
                    <a:pt x="550" y="265"/>
                  </a:lnTo>
                  <a:lnTo>
                    <a:pt x="537" y="267"/>
                  </a:lnTo>
                  <a:lnTo>
                    <a:pt x="519" y="267"/>
                  </a:lnTo>
                  <a:lnTo>
                    <a:pt x="496" y="272"/>
                  </a:lnTo>
                  <a:lnTo>
                    <a:pt x="481" y="278"/>
                  </a:lnTo>
                  <a:lnTo>
                    <a:pt x="477" y="285"/>
                  </a:lnTo>
                  <a:lnTo>
                    <a:pt x="472" y="305"/>
                  </a:lnTo>
                  <a:lnTo>
                    <a:pt x="466" y="319"/>
                  </a:lnTo>
                  <a:lnTo>
                    <a:pt x="451" y="328"/>
                  </a:lnTo>
                  <a:lnTo>
                    <a:pt x="438" y="333"/>
                  </a:lnTo>
                  <a:lnTo>
                    <a:pt x="422" y="337"/>
                  </a:lnTo>
                  <a:lnTo>
                    <a:pt x="406" y="339"/>
                  </a:lnTo>
                  <a:lnTo>
                    <a:pt x="386" y="346"/>
                  </a:lnTo>
                  <a:lnTo>
                    <a:pt x="380" y="336"/>
                  </a:lnTo>
                  <a:lnTo>
                    <a:pt x="358" y="330"/>
                  </a:lnTo>
                  <a:lnTo>
                    <a:pt x="352" y="318"/>
                  </a:lnTo>
                  <a:lnTo>
                    <a:pt x="349" y="304"/>
                  </a:lnTo>
                  <a:lnTo>
                    <a:pt x="338" y="287"/>
                  </a:lnTo>
                  <a:lnTo>
                    <a:pt x="337" y="268"/>
                  </a:lnTo>
                  <a:lnTo>
                    <a:pt x="332" y="256"/>
                  </a:lnTo>
                  <a:lnTo>
                    <a:pt x="330" y="244"/>
                  </a:lnTo>
                  <a:lnTo>
                    <a:pt x="334" y="232"/>
                  </a:lnTo>
                  <a:lnTo>
                    <a:pt x="340" y="200"/>
                  </a:lnTo>
                  <a:lnTo>
                    <a:pt x="348" y="183"/>
                  </a:lnTo>
                  <a:lnTo>
                    <a:pt x="359" y="162"/>
                  </a:lnTo>
                  <a:lnTo>
                    <a:pt x="352" y="163"/>
                  </a:lnTo>
                  <a:lnTo>
                    <a:pt x="352" y="163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9" name="Macedonia">
              <a:extLst>
                <a:ext uri="{FF2B5EF4-FFF2-40B4-BE49-F238E27FC236}">
                  <a16:creationId xmlns:a16="http://schemas.microsoft.com/office/drawing/2014/main" id="{B74060A3-9C09-4859-B657-A64DB2BDBA4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0669" y="2465161"/>
              <a:ext cx="74612" cy="53975"/>
            </a:xfrm>
            <a:custGeom>
              <a:avLst/>
              <a:gdLst>
                <a:gd name="T0" fmla="*/ 44 w 47"/>
                <a:gd name="T1" fmla="*/ 7 h 34"/>
                <a:gd name="T2" fmla="*/ 34 w 47"/>
                <a:gd name="T3" fmla="*/ 0 h 34"/>
                <a:gd name="T4" fmla="*/ 25 w 47"/>
                <a:gd name="T5" fmla="*/ 1 h 34"/>
                <a:gd name="T6" fmla="*/ 18 w 47"/>
                <a:gd name="T7" fmla="*/ 2 h 34"/>
                <a:gd name="T8" fmla="*/ 14 w 47"/>
                <a:gd name="T9" fmla="*/ 3 h 34"/>
                <a:gd name="T10" fmla="*/ 3 w 47"/>
                <a:gd name="T11" fmla="*/ 6 h 34"/>
                <a:gd name="T12" fmla="*/ 3 w 47"/>
                <a:gd name="T13" fmla="*/ 11 h 34"/>
                <a:gd name="T14" fmla="*/ 0 w 47"/>
                <a:gd name="T15" fmla="*/ 11 h 34"/>
                <a:gd name="T16" fmla="*/ 0 w 47"/>
                <a:gd name="T17" fmla="*/ 11 h 34"/>
                <a:gd name="T18" fmla="*/ 0 w 47"/>
                <a:gd name="T19" fmla="*/ 18 h 34"/>
                <a:gd name="T20" fmla="*/ 2 w 47"/>
                <a:gd name="T21" fmla="*/ 29 h 34"/>
                <a:gd name="T22" fmla="*/ 11 w 47"/>
                <a:gd name="T23" fmla="*/ 34 h 34"/>
                <a:gd name="T24" fmla="*/ 24 w 47"/>
                <a:gd name="T25" fmla="*/ 32 h 34"/>
                <a:gd name="T26" fmla="*/ 30 w 47"/>
                <a:gd name="T27" fmla="*/ 27 h 34"/>
                <a:gd name="T28" fmla="*/ 41 w 47"/>
                <a:gd name="T29" fmla="*/ 28 h 34"/>
                <a:gd name="T30" fmla="*/ 43 w 47"/>
                <a:gd name="T31" fmla="*/ 23 h 34"/>
                <a:gd name="T32" fmla="*/ 47 w 47"/>
                <a:gd name="T33" fmla="*/ 23 h 34"/>
                <a:gd name="T34" fmla="*/ 44 w 47"/>
                <a:gd name="T35" fmla="*/ 7 h 34"/>
                <a:gd name="T36" fmla="*/ 44 w 47"/>
                <a:gd name="T37" fmla="*/ 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7" h="34">
                  <a:moveTo>
                    <a:pt x="44" y="7"/>
                  </a:moveTo>
                  <a:lnTo>
                    <a:pt x="34" y="0"/>
                  </a:lnTo>
                  <a:lnTo>
                    <a:pt x="25" y="1"/>
                  </a:lnTo>
                  <a:lnTo>
                    <a:pt x="18" y="2"/>
                  </a:lnTo>
                  <a:lnTo>
                    <a:pt x="14" y="3"/>
                  </a:lnTo>
                  <a:lnTo>
                    <a:pt x="3" y="6"/>
                  </a:lnTo>
                  <a:lnTo>
                    <a:pt x="3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8"/>
                  </a:lnTo>
                  <a:lnTo>
                    <a:pt x="2" y="29"/>
                  </a:lnTo>
                  <a:lnTo>
                    <a:pt x="11" y="34"/>
                  </a:lnTo>
                  <a:lnTo>
                    <a:pt x="24" y="32"/>
                  </a:lnTo>
                  <a:lnTo>
                    <a:pt x="30" y="27"/>
                  </a:lnTo>
                  <a:lnTo>
                    <a:pt x="41" y="28"/>
                  </a:lnTo>
                  <a:lnTo>
                    <a:pt x="43" y="23"/>
                  </a:lnTo>
                  <a:lnTo>
                    <a:pt x="47" y="23"/>
                  </a:lnTo>
                  <a:lnTo>
                    <a:pt x="44" y="7"/>
                  </a:lnTo>
                  <a:lnTo>
                    <a:pt x="44" y="7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0" name="Malia">
              <a:extLst>
                <a:ext uri="{FF2B5EF4-FFF2-40B4-BE49-F238E27FC236}">
                  <a16:creationId xmlns:a16="http://schemas.microsoft.com/office/drawing/2014/main" id="{073B739E-CCE5-4F5E-9852-ECAACCC5D09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3556" y="3119212"/>
              <a:ext cx="542925" cy="561975"/>
            </a:xfrm>
            <a:custGeom>
              <a:avLst/>
              <a:gdLst>
                <a:gd name="T0" fmla="*/ 319 w 342"/>
                <a:gd name="T1" fmla="*/ 141 h 354"/>
                <a:gd name="T2" fmla="*/ 309 w 342"/>
                <a:gd name="T3" fmla="*/ 122 h 354"/>
                <a:gd name="T4" fmla="*/ 291 w 342"/>
                <a:gd name="T5" fmla="*/ 104 h 354"/>
                <a:gd name="T6" fmla="*/ 153 w 342"/>
                <a:gd name="T7" fmla="*/ 0 h 354"/>
                <a:gd name="T8" fmla="*/ 130 w 342"/>
                <a:gd name="T9" fmla="*/ 103 h 354"/>
                <a:gd name="T10" fmla="*/ 143 w 342"/>
                <a:gd name="T11" fmla="*/ 209 h 354"/>
                <a:gd name="T12" fmla="*/ 55 w 342"/>
                <a:gd name="T13" fmla="*/ 225 h 354"/>
                <a:gd name="T14" fmla="*/ 43 w 342"/>
                <a:gd name="T15" fmla="*/ 229 h 354"/>
                <a:gd name="T16" fmla="*/ 17 w 342"/>
                <a:gd name="T17" fmla="*/ 227 h 354"/>
                <a:gd name="T18" fmla="*/ 7 w 342"/>
                <a:gd name="T19" fmla="*/ 242 h 354"/>
                <a:gd name="T20" fmla="*/ 0 w 342"/>
                <a:gd name="T21" fmla="*/ 261 h 354"/>
                <a:gd name="T22" fmla="*/ 13 w 342"/>
                <a:gd name="T23" fmla="*/ 282 h 354"/>
                <a:gd name="T24" fmla="*/ 13 w 342"/>
                <a:gd name="T25" fmla="*/ 298 h 354"/>
                <a:gd name="T26" fmla="*/ 17 w 342"/>
                <a:gd name="T27" fmla="*/ 307 h 354"/>
                <a:gd name="T28" fmla="*/ 27 w 342"/>
                <a:gd name="T29" fmla="*/ 305 h 354"/>
                <a:gd name="T30" fmla="*/ 41 w 342"/>
                <a:gd name="T31" fmla="*/ 312 h 354"/>
                <a:gd name="T32" fmla="*/ 54 w 342"/>
                <a:gd name="T33" fmla="*/ 304 h 354"/>
                <a:gd name="T34" fmla="*/ 63 w 342"/>
                <a:gd name="T35" fmla="*/ 302 h 354"/>
                <a:gd name="T36" fmla="*/ 70 w 342"/>
                <a:gd name="T37" fmla="*/ 313 h 354"/>
                <a:gd name="T38" fmla="*/ 74 w 342"/>
                <a:gd name="T39" fmla="*/ 329 h 354"/>
                <a:gd name="T40" fmla="*/ 78 w 342"/>
                <a:gd name="T41" fmla="*/ 335 h 354"/>
                <a:gd name="T42" fmla="*/ 79 w 342"/>
                <a:gd name="T43" fmla="*/ 345 h 354"/>
                <a:gd name="T44" fmla="*/ 88 w 342"/>
                <a:gd name="T45" fmla="*/ 349 h 354"/>
                <a:gd name="T46" fmla="*/ 111 w 342"/>
                <a:gd name="T47" fmla="*/ 353 h 354"/>
                <a:gd name="T48" fmla="*/ 118 w 342"/>
                <a:gd name="T49" fmla="*/ 347 h 354"/>
                <a:gd name="T50" fmla="*/ 127 w 342"/>
                <a:gd name="T51" fmla="*/ 354 h 354"/>
                <a:gd name="T52" fmla="*/ 140 w 342"/>
                <a:gd name="T53" fmla="*/ 348 h 354"/>
                <a:gd name="T54" fmla="*/ 145 w 342"/>
                <a:gd name="T55" fmla="*/ 324 h 354"/>
                <a:gd name="T56" fmla="*/ 161 w 342"/>
                <a:gd name="T57" fmla="*/ 296 h 354"/>
                <a:gd name="T58" fmla="*/ 170 w 342"/>
                <a:gd name="T59" fmla="*/ 274 h 354"/>
                <a:gd name="T60" fmla="*/ 189 w 342"/>
                <a:gd name="T61" fmla="*/ 272 h 354"/>
                <a:gd name="T62" fmla="*/ 208 w 342"/>
                <a:gd name="T63" fmla="*/ 255 h 354"/>
                <a:gd name="T64" fmla="*/ 231 w 342"/>
                <a:gd name="T65" fmla="*/ 239 h 354"/>
                <a:gd name="T66" fmla="*/ 248 w 342"/>
                <a:gd name="T67" fmla="*/ 240 h 354"/>
                <a:gd name="T68" fmla="*/ 275 w 342"/>
                <a:gd name="T69" fmla="*/ 239 h 354"/>
                <a:gd name="T70" fmla="*/ 310 w 342"/>
                <a:gd name="T71" fmla="*/ 227 h 354"/>
                <a:gd name="T72" fmla="*/ 331 w 342"/>
                <a:gd name="T73" fmla="*/ 210 h 354"/>
                <a:gd name="T74" fmla="*/ 341 w 342"/>
                <a:gd name="T75" fmla="*/ 139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2" h="354">
                  <a:moveTo>
                    <a:pt x="341" y="139"/>
                  </a:moveTo>
                  <a:lnTo>
                    <a:pt x="319" y="141"/>
                  </a:lnTo>
                  <a:lnTo>
                    <a:pt x="318" y="127"/>
                  </a:lnTo>
                  <a:lnTo>
                    <a:pt x="309" y="122"/>
                  </a:lnTo>
                  <a:lnTo>
                    <a:pt x="295" y="115"/>
                  </a:lnTo>
                  <a:lnTo>
                    <a:pt x="291" y="104"/>
                  </a:lnTo>
                  <a:lnTo>
                    <a:pt x="222" y="53"/>
                  </a:lnTo>
                  <a:lnTo>
                    <a:pt x="153" y="0"/>
                  </a:lnTo>
                  <a:lnTo>
                    <a:pt x="122" y="1"/>
                  </a:lnTo>
                  <a:lnTo>
                    <a:pt x="130" y="103"/>
                  </a:lnTo>
                  <a:lnTo>
                    <a:pt x="140" y="206"/>
                  </a:lnTo>
                  <a:lnTo>
                    <a:pt x="143" y="209"/>
                  </a:lnTo>
                  <a:lnTo>
                    <a:pt x="139" y="225"/>
                  </a:lnTo>
                  <a:lnTo>
                    <a:pt x="55" y="225"/>
                  </a:lnTo>
                  <a:lnTo>
                    <a:pt x="52" y="231"/>
                  </a:lnTo>
                  <a:lnTo>
                    <a:pt x="43" y="229"/>
                  </a:lnTo>
                  <a:lnTo>
                    <a:pt x="32" y="235"/>
                  </a:lnTo>
                  <a:lnTo>
                    <a:pt x="17" y="227"/>
                  </a:lnTo>
                  <a:lnTo>
                    <a:pt x="11" y="228"/>
                  </a:lnTo>
                  <a:lnTo>
                    <a:pt x="7" y="242"/>
                  </a:lnTo>
                  <a:lnTo>
                    <a:pt x="0" y="247"/>
                  </a:lnTo>
                  <a:lnTo>
                    <a:pt x="0" y="261"/>
                  </a:lnTo>
                  <a:lnTo>
                    <a:pt x="5" y="275"/>
                  </a:lnTo>
                  <a:lnTo>
                    <a:pt x="13" y="282"/>
                  </a:lnTo>
                  <a:lnTo>
                    <a:pt x="14" y="291"/>
                  </a:lnTo>
                  <a:lnTo>
                    <a:pt x="13" y="298"/>
                  </a:lnTo>
                  <a:lnTo>
                    <a:pt x="14" y="307"/>
                  </a:lnTo>
                  <a:lnTo>
                    <a:pt x="17" y="307"/>
                  </a:lnTo>
                  <a:lnTo>
                    <a:pt x="23" y="304"/>
                  </a:lnTo>
                  <a:lnTo>
                    <a:pt x="27" y="305"/>
                  </a:lnTo>
                  <a:lnTo>
                    <a:pt x="32" y="310"/>
                  </a:lnTo>
                  <a:lnTo>
                    <a:pt x="41" y="312"/>
                  </a:lnTo>
                  <a:lnTo>
                    <a:pt x="47" y="308"/>
                  </a:lnTo>
                  <a:lnTo>
                    <a:pt x="54" y="304"/>
                  </a:lnTo>
                  <a:lnTo>
                    <a:pt x="58" y="301"/>
                  </a:lnTo>
                  <a:lnTo>
                    <a:pt x="63" y="302"/>
                  </a:lnTo>
                  <a:lnTo>
                    <a:pt x="68" y="307"/>
                  </a:lnTo>
                  <a:lnTo>
                    <a:pt x="70" y="313"/>
                  </a:lnTo>
                  <a:lnTo>
                    <a:pt x="79" y="324"/>
                  </a:lnTo>
                  <a:lnTo>
                    <a:pt x="74" y="329"/>
                  </a:lnTo>
                  <a:lnTo>
                    <a:pt x="73" y="338"/>
                  </a:lnTo>
                  <a:lnTo>
                    <a:pt x="78" y="335"/>
                  </a:lnTo>
                  <a:lnTo>
                    <a:pt x="81" y="338"/>
                  </a:lnTo>
                  <a:lnTo>
                    <a:pt x="79" y="345"/>
                  </a:lnTo>
                  <a:lnTo>
                    <a:pt x="85" y="352"/>
                  </a:lnTo>
                  <a:lnTo>
                    <a:pt x="88" y="349"/>
                  </a:lnTo>
                  <a:lnTo>
                    <a:pt x="94" y="352"/>
                  </a:lnTo>
                  <a:lnTo>
                    <a:pt x="111" y="353"/>
                  </a:lnTo>
                  <a:lnTo>
                    <a:pt x="114" y="346"/>
                  </a:lnTo>
                  <a:lnTo>
                    <a:pt x="118" y="347"/>
                  </a:lnTo>
                  <a:lnTo>
                    <a:pt x="124" y="344"/>
                  </a:lnTo>
                  <a:lnTo>
                    <a:pt x="127" y="354"/>
                  </a:lnTo>
                  <a:lnTo>
                    <a:pt x="132" y="351"/>
                  </a:lnTo>
                  <a:lnTo>
                    <a:pt x="140" y="348"/>
                  </a:lnTo>
                  <a:lnTo>
                    <a:pt x="139" y="334"/>
                  </a:lnTo>
                  <a:lnTo>
                    <a:pt x="145" y="324"/>
                  </a:lnTo>
                  <a:lnTo>
                    <a:pt x="144" y="315"/>
                  </a:lnTo>
                  <a:lnTo>
                    <a:pt x="161" y="296"/>
                  </a:lnTo>
                  <a:lnTo>
                    <a:pt x="164" y="280"/>
                  </a:lnTo>
                  <a:lnTo>
                    <a:pt x="170" y="274"/>
                  </a:lnTo>
                  <a:lnTo>
                    <a:pt x="180" y="277"/>
                  </a:lnTo>
                  <a:lnTo>
                    <a:pt x="189" y="272"/>
                  </a:lnTo>
                  <a:lnTo>
                    <a:pt x="192" y="267"/>
                  </a:lnTo>
                  <a:lnTo>
                    <a:pt x="208" y="255"/>
                  </a:lnTo>
                  <a:lnTo>
                    <a:pt x="211" y="248"/>
                  </a:lnTo>
                  <a:lnTo>
                    <a:pt x="231" y="239"/>
                  </a:lnTo>
                  <a:lnTo>
                    <a:pt x="242" y="235"/>
                  </a:lnTo>
                  <a:lnTo>
                    <a:pt x="248" y="240"/>
                  </a:lnTo>
                  <a:lnTo>
                    <a:pt x="261" y="240"/>
                  </a:lnTo>
                  <a:lnTo>
                    <a:pt x="275" y="239"/>
                  </a:lnTo>
                  <a:lnTo>
                    <a:pt x="282" y="230"/>
                  </a:lnTo>
                  <a:lnTo>
                    <a:pt x="310" y="227"/>
                  </a:lnTo>
                  <a:lnTo>
                    <a:pt x="329" y="224"/>
                  </a:lnTo>
                  <a:lnTo>
                    <a:pt x="331" y="210"/>
                  </a:lnTo>
                  <a:lnTo>
                    <a:pt x="342" y="194"/>
                  </a:lnTo>
                  <a:lnTo>
                    <a:pt x="341" y="139"/>
                  </a:lnTo>
                  <a:lnTo>
                    <a:pt x="341" y="139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1" name="Myanmar">
              <a:extLst>
                <a:ext uri="{FF2B5EF4-FFF2-40B4-BE49-F238E27FC236}">
                  <a16:creationId xmlns:a16="http://schemas.microsoft.com/office/drawing/2014/main" id="{83050F9A-AB01-42B0-A57A-F734591275FA}"/>
                </a:ext>
              </a:extLst>
            </p:cNvPr>
            <p:cNvSpPr>
              <a:spLocks/>
            </p:cNvSpPr>
            <p:nvPr/>
          </p:nvSpPr>
          <p:spPr bwMode="auto">
            <a:xfrm>
              <a:off x="9009856" y="2993798"/>
              <a:ext cx="290512" cy="693738"/>
            </a:xfrm>
            <a:custGeom>
              <a:avLst/>
              <a:gdLst>
                <a:gd name="T0" fmla="*/ 180 w 183"/>
                <a:gd name="T1" fmla="*/ 154 h 437"/>
                <a:gd name="T2" fmla="*/ 156 w 183"/>
                <a:gd name="T3" fmla="*/ 156 h 437"/>
                <a:gd name="T4" fmla="*/ 142 w 183"/>
                <a:gd name="T5" fmla="*/ 128 h 437"/>
                <a:gd name="T6" fmla="*/ 120 w 183"/>
                <a:gd name="T7" fmla="*/ 101 h 437"/>
                <a:gd name="T8" fmla="*/ 97 w 183"/>
                <a:gd name="T9" fmla="*/ 77 h 437"/>
                <a:gd name="T10" fmla="*/ 109 w 183"/>
                <a:gd name="T11" fmla="*/ 37 h 437"/>
                <a:gd name="T12" fmla="*/ 94 w 183"/>
                <a:gd name="T13" fmla="*/ 13 h 437"/>
                <a:gd name="T14" fmla="*/ 72 w 183"/>
                <a:gd name="T15" fmla="*/ 1 h 437"/>
                <a:gd name="T16" fmla="*/ 71 w 183"/>
                <a:gd name="T17" fmla="*/ 15 h 437"/>
                <a:gd name="T18" fmla="*/ 59 w 183"/>
                <a:gd name="T19" fmla="*/ 25 h 437"/>
                <a:gd name="T20" fmla="*/ 41 w 183"/>
                <a:gd name="T21" fmla="*/ 55 h 437"/>
                <a:gd name="T22" fmla="*/ 33 w 183"/>
                <a:gd name="T23" fmla="*/ 87 h 437"/>
                <a:gd name="T24" fmla="*/ 11 w 183"/>
                <a:gd name="T25" fmla="*/ 101 h 437"/>
                <a:gd name="T26" fmla="*/ 11 w 183"/>
                <a:gd name="T27" fmla="*/ 134 h 437"/>
                <a:gd name="T28" fmla="*/ 5 w 183"/>
                <a:gd name="T29" fmla="*/ 150 h 437"/>
                <a:gd name="T30" fmla="*/ 0 w 183"/>
                <a:gd name="T31" fmla="*/ 163 h 437"/>
                <a:gd name="T32" fmla="*/ 20 w 183"/>
                <a:gd name="T33" fmla="*/ 201 h 437"/>
                <a:gd name="T34" fmla="*/ 31 w 183"/>
                <a:gd name="T35" fmla="*/ 213 h 437"/>
                <a:gd name="T36" fmla="*/ 59 w 183"/>
                <a:gd name="T37" fmla="*/ 262 h 437"/>
                <a:gd name="T38" fmla="*/ 69 w 183"/>
                <a:gd name="T39" fmla="*/ 297 h 437"/>
                <a:gd name="T40" fmla="*/ 102 w 183"/>
                <a:gd name="T41" fmla="*/ 282 h 437"/>
                <a:gd name="T42" fmla="*/ 127 w 183"/>
                <a:gd name="T43" fmla="*/ 290 h 437"/>
                <a:gd name="T44" fmla="*/ 143 w 183"/>
                <a:gd name="T45" fmla="*/ 349 h 437"/>
                <a:gd name="T46" fmla="*/ 154 w 183"/>
                <a:gd name="T47" fmla="*/ 387 h 437"/>
                <a:gd name="T48" fmla="*/ 157 w 183"/>
                <a:gd name="T49" fmla="*/ 419 h 437"/>
                <a:gd name="T50" fmla="*/ 169 w 183"/>
                <a:gd name="T51" fmla="*/ 413 h 437"/>
                <a:gd name="T52" fmla="*/ 168 w 183"/>
                <a:gd name="T53" fmla="*/ 369 h 437"/>
                <a:gd name="T54" fmla="*/ 164 w 183"/>
                <a:gd name="T55" fmla="*/ 345 h 437"/>
                <a:gd name="T56" fmla="*/ 141 w 183"/>
                <a:gd name="T57" fmla="*/ 314 h 437"/>
                <a:gd name="T58" fmla="*/ 153 w 183"/>
                <a:gd name="T59" fmla="*/ 289 h 437"/>
                <a:gd name="T60" fmla="*/ 127 w 183"/>
                <a:gd name="T61" fmla="*/ 256 h 437"/>
                <a:gd name="T62" fmla="*/ 122 w 183"/>
                <a:gd name="T63" fmla="*/ 231 h 437"/>
                <a:gd name="T64" fmla="*/ 142 w 183"/>
                <a:gd name="T65" fmla="*/ 204 h 437"/>
                <a:gd name="T66" fmla="*/ 164 w 183"/>
                <a:gd name="T67" fmla="*/ 188 h 437"/>
                <a:gd name="T68" fmla="*/ 183 w 183"/>
                <a:gd name="T69" fmla="*/ 164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3" h="437">
                  <a:moveTo>
                    <a:pt x="183" y="164"/>
                  </a:moveTo>
                  <a:lnTo>
                    <a:pt x="180" y="154"/>
                  </a:lnTo>
                  <a:lnTo>
                    <a:pt x="166" y="161"/>
                  </a:lnTo>
                  <a:lnTo>
                    <a:pt x="156" y="156"/>
                  </a:lnTo>
                  <a:lnTo>
                    <a:pt x="140" y="148"/>
                  </a:lnTo>
                  <a:lnTo>
                    <a:pt x="142" y="128"/>
                  </a:lnTo>
                  <a:lnTo>
                    <a:pt x="128" y="123"/>
                  </a:lnTo>
                  <a:lnTo>
                    <a:pt x="120" y="101"/>
                  </a:lnTo>
                  <a:lnTo>
                    <a:pt x="99" y="105"/>
                  </a:lnTo>
                  <a:lnTo>
                    <a:pt x="97" y="77"/>
                  </a:lnTo>
                  <a:lnTo>
                    <a:pt x="112" y="57"/>
                  </a:lnTo>
                  <a:lnTo>
                    <a:pt x="109" y="37"/>
                  </a:lnTo>
                  <a:lnTo>
                    <a:pt x="104" y="19"/>
                  </a:lnTo>
                  <a:lnTo>
                    <a:pt x="94" y="13"/>
                  </a:lnTo>
                  <a:lnTo>
                    <a:pt x="84" y="0"/>
                  </a:lnTo>
                  <a:lnTo>
                    <a:pt x="72" y="1"/>
                  </a:lnTo>
                  <a:lnTo>
                    <a:pt x="76" y="10"/>
                  </a:lnTo>
                  <a:lnTo>
                    <a:pt x="71" y="15"/>
                  </a:lnTo>
                  <a:lnTo>
                    <a:pt x="75" y="29"/>
                  </a:lnTo>
                  <a:lnTo>
                    <a:pt x="59" y="25"/>
                  </a:lnTo>
                  <a:lnTo>
                    <a:pt x="37" y="41"/>
                  </a:lnTo>
                  <a:lnTo>
                    <a:pt x="41" y="55"/>
                  </a:lnTo>
                  <a:lnTo>
                    <a:pt x="32" y="75"/>
                  </a:lnTo>
                  <a:lnTo>
                    <a:pt x="33" y="87"/>
                  </a:lnTo>
                  <a:lnTo>
                    <a:pt x="28" y="107"/>
                  </a:lnTo>
                  <a:lnTo>
                    <a:pt x="11" y="101"/>
                  </a:lnTo>
                  <a:lnTo>
                    <a:pt x="15" y="125"/>
                  </a:lnTo>
                  <a:lnTo>
                    <a:pt x="11" y="134"/>
                  </a:lnTo>
                  <a:lnTo>
                    <a:pt x="15" y="144"/>
                  </a:lnTo>
                  <a:lnTo>
                    <a:pt x="5" y="150"/>
                  </a:lnTo>
                  <a:lnTo>
                    <a:pt x="7" y="166"/>
                  </a:lnTo>
                  <a:lnTo>
                    <a:pt x="0" y="163"/>
                  </a:lnTo>
                  <a:lnTo>
                    <a:pt x="3" y="181"/>
                  </a:lnTo>
                  <a:lnTo>
                    <a:pt x="20" y="201"/>
                  </a:lnTo>
                  <a:lnTo>
                    <a:pt x="33" y="205"/>
                  </a:lnTo>
                  <a:lnTo>
                    <a:pt x="31" y="213"/>
                  </a:lnTo>
                  <a:lnTo>
                    <a:pt x="52" y="240"/>
                  </a:lnTo>
                  <a:lnTo>
                    <a:pt x="59" y="262"/>
                  </a:lnTo>
                  <a:lnTo>
                    <a:pt x="56" y="291"/>
                  </a:lnTo>
                  <a:lnTo>
                    <a:pt x="69" y="297"/>
                  </a:lnTo>
                  <a:lnTo>
                    <a:pt x="81" y="300"/>
                  </a:lnTo>
                  <a:lnTo>
                    <a:pt x="102" y="282"/>
                  </a:lnTo>
                  <a:lnTo>
                    <a:pt x="114" y="271"/>
                  </a:lnTo>
                  <a:lnTo>
                    <a:pt x="127" y="290"/>
                  </a:lnTo>
                  <a:lnTo>
                    <a:pt x="134" y="320"/>
                  </a:lnTo>
                  <a:lnTo>
                    <a:pt x="143" y="349"/>
                  </a:lnTo>
                  <a:lnTo>
                    <a:pt x="153" y="361"/>
                  </a:lnTo>
                  <a:lnTo>
                    <a:pt x="154" y="387"/>
                  </a:lnTo>
                  <a:lnTo>
                    <a:pt x="162" y="402"/>
                  </a:lnTo>
                  <a:lnTo>
                    <a:pt x="157" y="419"/>
                  </a:lnTo>
                  <a:lnTo>
                    <a:pt x="160" y="437"/>
                  </a:lnTo>
                  <a:lnTo>
                    <a:pt x="169" y="413"/>
                  </a:lnTo>
                  <a:lnTo>
                    <a:pt x="179" y="390"/>
                  </a:lnTo>
                  <a:lnTo>
                    <a:pt x="168" y="369"/>
                  </a:lnTo>
                  <a:lnTo>
                    <a:pt x="168" y="358"/>
                  </a:lnTo>
                  <a:lnTo>
                    <a:pt x="164" y="345"/>
                  </a:lnTo>
                  <a:lnTo>
                    <a:pt x="148" y="325"/>
                  </a:lnTo>
                  <a:lnTo>
                    <a:pt x="141" y="314"/>
                  </a:lnTo>
                  <a:lnTo>
                    <a:pt x="148" y="309"/>
                  </a:lnTo>
                  <a:lnTo>
                    <a:pt x="153" y="289"/>
                  </a:lnTo>
                  <a:lnTo>
                    <a:pt x="142" y="273"/>
                  </a:lnTo>
                  <a:lnTo>
                    <a:pt x="127" y="256"/>
                  </a:lnTo>
                  <a:lnTo>
                    <a:pt x="113" y="234"/>
                  </a:lnTo>
                  <a:lnTo>
                    <a:pt x="122" y="231"/>
                  </a:lnTo>
                  <a:lnTo>
                    <a:pt x="127" y="205"/>
                  </a:lnTo>
                  <a:lnTo>
                    <a:pt x="142" y="204"/>
                  </a:lnTo>
                  <a:lnTo>
                    <a:pt x="153" y="193"/>
                  </a:lnTo>
                  <a:lnTo>
                    <a:pt x="164" y="188"/>
                  </a:lnTo>
                  <a:lnTo>
                    <a:pt x="167" y="179"/>
                  </a:lnTo>
                  <a:lnTo>
                    <a:pt x="183" y="164"/>
                  </a:lnTo>
                  <a:lnTo>
                    <a:pt x="183" y="164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2" name="Montenegro">
              <a:extLst>
                <a:ext uri="{FF2B5EF4-FFF2-40B4-BE49-F238E27FC236}">
                  <a16:creationId xmlns:a16="http://schemas.microsoft.com/office/drawing/2014/main" id="{CD3A31D0-A884-4F2A-8483-96AE29B35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3994" y="2422299"/>
              <a:ext cx="57150" cy="58738"/>
            </a:xfrm>
            <a:custGeom>
              <a:avLst/>
              <a:gdLst>
                <a:gd name="T0" fmla="*/ 34 w 36"/>
                <a:gd name="T1" fmla="*/ 16 h 37"/>
                <a:gd name="T2" fmla="*/ 36 w 36"/>
                <a:gd name="T3" fmla="*/ 14 h 37"/>
                <a:gd name="T4" fmla="*/ 28 w 36"/>
                <a:gd name="T5" fmla="*/ 9 h 37"/>
                <a:gd name="T6" fmla="*/ 21 w 36"/>
                <a:gd name="T7" fmla="*/ 6 h 37"/>
                <a:gd name="T8" fmla="*/ 18 w 36"/>
                <a:gd name="T9" fmla="*/ 3 h 37"/>
                <a:gd name="T10" fmla="*/ 13 w 36"/>
                <a:gd name="T11" fmla="*/ 0 h 37"/>
                <a:gd name="T12" fmla="*/ 10 w 36"/>
                <a:gd name="T13" fmla="*/ 2 h 37"/>
                <a:gd name="T14" fmla="*/ 4 w 36"/>
                <a:gd name="T15" fmla="*/ 7 h 37"/>
                <a:gd name="T16" fmla="*/ 2 w 36"/>
                <a:gd name="T17" fmla="*/ 19 h 37"/>
                <a:gd name="T18" fmla="*/ 0 w 36"/>
                <a:gd name="T19" fmla="*/ 23 h 37"/>
                <a:gd name="T20" fmla="*/ 0 w 36"/>
                <a:gd name="T21" fmla="*/ 23 h 37"/>
                <a:gd name="T22" fmla="*/ 9 w 36"/>
                <a:gd name="T23" fmla="*/ 28 h 37"/>
                <a:gd name="T24" fmla="*/ 15 w 36"/>
                <a:gd name="T25" fmla="*/ 35 h 37"/>
                <a:gd name="T26" fmla="*/ 19 w 36"/>
                <a:gd name="T27" fmla="*/ 37 h 37"/>
                <a:gd name="T28" fmla="*/ 19 w 36"/>
                <a:gd name="T29" fmla="*/ 37 h 37"/>
                <a:gd name="T30" fmla="*/ 17 w 36"/>
                <a:gd name="T31" fmla="*/ 30 h 37"/>
                <a:gd name="T32" fmla="*/ 25 w 36"/>
                <a:gd name="T33" fmla="*/ 18 h 37"/>
                <a:gd name="T34" fmla="*/ 27 w 36"/>
                <a:gd name="T35" fmla="*/ 23 h 37"/>
                <a:gd name="T36" fmla="*/ 31 w 36"/>
                <a:gd name="T37" fmla="*/ 21 h 37"/>
                <a:gd name="T38" fmla="*/ 34 w 36"/>
                <a:gd name="T39" fmla="*/ 1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6" h="37">
                  <a:moveTo>
                    <a:pt x="34" y="16"/>
                  </a:moveTo>
                  <a:lnTo>
                    <a:pt x="36" y="14"/>
                  </a:lnTo>
                  <a:lnTo>
                    <a:pt x="28" y="9"/>
                  </a:lnTo>
                  <a:lnTo>
                    <a:pt x="21" y="6"/>
                  </a:lnTo>
                  <a:lnTo>
                    <a:pt x="18" y="3"/>
                  </a:lnTo>
                  <a:lnTo>
                    <a:pt x="13" y="0"/>
                  </a:lnTo>
                  <a:lnTo>
                    <a:pt x="10" y="2"/>
                  </a:lnTo>
                  <a:lnTo>
                    <a:pt x="4" y="7"/>
                  </a:lnTo>
                  <a:lnTo>
                    <a:pt x="2" y="19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9" y="28"/>
                  </a:lnTo>
                  <a:lnTo>
                    <a:pt x="15" y="35"/>
                  </a:lnTo>
                  <a:lnTo>
                    <a:pt x="19" y="37"/>
                  </a:lnTo>
                  <a:lnTo>
                    <a:pt x="19" y="37"/>
                  </a:lnTo>
                  <a:lnTo>
                    <a:pt x="17" y="30"/>
                  </a:lnTo>
                  <a:lnTo>
                    <a:pt x="25" y="18"/>
                  </a:lnTo>
                  <a:lnTo>
                    <a:pt x="27" y="23"/>
                  </a:lnTo>
                  <a:lnTo>
                    <a:pt x="31" y="21"/>
                  </a:lnTo>
                  <a:lnTo>
                    <a:pt x="34" y="16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3" name="Mongolia">
              <a:extLst>
                <a:ext uri="{FF2B5EF4-FFF2-40B4-BE49-F238E27FC236}">
                  <a16:creationId xmlns:a16="http://schemas.microsoft.com/office/drawing/2014/main" id="{2136C9FA-4121-458E-89DF-2B2FF1B01006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4719" y="2109561"/>
              <a:ext cx="987425" cy="382588"/>
            </a:xfrm>
            <a:custGeom>
              <a:avLst/>
              <a:gdLst>
                <a:gd name="T0" fmla="*/ 237 w 622"/>
                <a:gd name="T1" fmla="*/ 17 h 241"/>
                <a:gd name="T2" fmla="*/ 194 w 622"/>
                <a:gd name="T3" fmla="*/ 9 h 241"/>
                <a:gd name="T4" fmla="*/ 164 w 622"/>
                <a:gd name="T5" fmla="*/ 23 h 241"/>
                <a:gd name="T6" fmla="*/ 169 w 622"/>
                <a:gd name="T7" fmla="*/ 53 h 241"/>
                <a:gd name="T8" fmla="*/ 121 w 622"/>
                <a:gd name="T9" fmla="*/ 46 h 241"/>
                <a:gd name="T10" fmla="*/ 84 w 622"/>
                <a:gd name="T11" fmla="*/ 35 h 241"/>
                <a:gd name="T12" fmla="*/ 42 w 622"/>
                <a:gd name="T13" fmla="*/ 39 h 241"/>
                <a:gd name="T14" fmla="*/ 0 w 622"/>
                <a:gd name="T15" fmla="*/ 62 h 241"/>
                <a:gd name="T16" fmla="*/ 34 w 622"/>
                <a:gd name="T17" fmla="*/ 91 h 241"/>
                <a:gd name="T18" fmla="*/ 86 w 622"/>
                <a:gd name="T19" fmla="*/ 118 h 241"/>
                <a:gd name="T20" fmla="*/ 102 w 622"/>
                <a:gd name="T21" fmla="*/ 156 h 241"/>
                <a:gd name="T22" fmla="*/ 153 w 622"/>
                <a:gd name="T23" fmla="*/ 163 h 241"/>
                <a:gd name="T24" fmla="*/ 195 w 622"/>
                <a:gd name="T25" fmla="*/ 180 h 241"/>
                <a:gd name="T26" fmla="*/ 231 w 622"/>
                <a:gd name="T27" fmla="*/ 214 h 241"/>
                <a:gd name="T28" fmla="*/ 294 w 622"/>
                <a:gd name="T29" fmla="*/ 219 h 241"/>
                <a:gd name="T30" fmla="*/ 337 w 622"/>
                <a:gd name="T31" fmla="*/ 219 h 241"/>
                <a:gd name="T32" fmla="*/ 395 w 622"/>
                <a:gd name="T33" fmla="*/ 233 h 241"/>
                <a:gd name="T34" fmla="*/ 424 w 622"/>
                <a:gd name="T35" fmla="*/ 228 h 241"/>
                <a:gd name="T36" fmla="*/ 479 w 622"/>
                <a:gd name="T37" fmla="*/ 219 h 241"/>
                <a:gd name="T38" fmla="*/ 505 w 622"/>
                <a:gd name="T39" fmla="*/ 199 h 241"/>
                <a:gd name="T40" fmla="*/ 506 w 622"/>
                <a:gd name="T41" fmla="*/ 184 h 241"/>
                <a:gd name="T42" fmla="*/ 497 w 622"/>
                <a:gd name="T43" fmla="*/ 160 h 241"/>
                <a:gd name="T44" fmla="*/ 532 w 622"/>
                <a:gd name="T45" fmla="*/ 167 h 241"/>
                <a:gd name="T46" fmla="*/ 566 w 622"/>
                <a:gd name="T47" fmla="*/ 145 h 241"/>
                <a:gd name="T48" fmla="*/ 580 w 622"/>
                <a:gd name="T49" fmla="*/ 124 h 241"/>
                <a:gd name="T50" fmla="*/ 622 w 622"/>
                <a:gd name="T51" fmla="*/ 123 h 241"/>
                <a:gd name="T52" fmla="*/ 592 w 622"/>
                <a:gd name="T53" fmla="*/ 99 h 241"/>
                <a:gd name="T54" fmla="*/ 564 w 622"/>
                <a:gd name="T55" fmla="*/ 100 h 241"/>
                <a:gd name="T56" fmla="*/ 535 w 622"/>
                <a:gd name="T57" fmla="*/ 100 h 241"/>
                <a:gd name="T58" fmla="*/ 524 w 622"/>
                <a:gd name="T59" fmla="*/ 66 h 241"/>
                <a:gd name="T60" fmla="*/ 501 w 622"/>
                <a:gd name="T61" fmla="*/ 51 h 241"/>
                <a:gd name="T62" fmla="*/ 474 w 622"/>
                <a:gd name="T63" fmla="*/ 41 h 241"/>
                <a:gd name="T64" fmla="*/ 435 w 622"/>
                <a:gd name="T65" fmla="*/ 60 h 241"/>
                <a:gd name="T66" fmla="*/ 397 w 622"/>
                <a:gd name="T67" fmla="*/ 63 h 241"/>
                <a:gd name="T68" fmla="*/ 362 w 622"/>
                <a:gd name="T69" fmla="*/ 51 h 241"/>
                <a:gd name="T70" fmla="*/ 318 w 622"/>
                <a:gd name="T71" fmla="*/ 37 h 241"/>
                <a:gd name="T72" fmla="*/ 281 w 622"/>
                <a:gd name="T73" fmla="*/ 45 h 241"/>
                <a:gd name="T74" fmla="*/ 251 w 622"/>
                <a:gd name="T75" fmla="*/ 34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22" h="241">
                  <a:moveTo>
                    <a:pt x="251" y="34"/>
                  </a:moveTo>
                  <a:lnTo>
                    <a:pt x="237" y="17"/>
                  </a:lnTo>
                  <a:lnTo>
                    <a:pt x="212" y="12"/>
                  </a:lnTo>
                  <a:lnTo>
                    <a:pt x="194" y="9"/>
                  </a:lnTo>
                  <a:lnTo>
                    <a:pt x="168" y="0"/>
                  </a:lnTo>
                  <a:lnTo>
                    <a:pt x="164" y="23"/>
                  </a:lnTo>
                  <a:lnTo>
                    <a:pt x="179" y="37"/>
                  </a:lnTo>
                  <a:lnTo>
                    <a:pt x="169" y="53"/>
                  </a:lnTo>
                  <a:lnTo>
                    <a:pt x="139" y="47"/>
                  </a:lnTo>
                  <a:lnTo>
                    <a:pt x="121" y="46"/>
                  </a:lnTo>
                  <a:lnTo>
                    <a:pt x="104" y="35"/>
                  </a:lnTo>
                  <a:lnTo>
                    <a:pt x="84" y="35"/>
                  </a:lnTo>
                  <a:lnTo>
                    <a:pt x="65" y="28"/>
                  </a:lnTo>
                  <a:lnTo>
                    <a:pt x="42" y="39"/>
                  </a:lnTo>
                  <a:lnTo>
                    <a:pt x="18" y="59"/>
                  </a:lnTo>
                  <a:lnTo>
                    <a:pt x="0" y="62"/>
                  </a:lnTo>
                  <a:lnTo>
                    <a:pt x="12" y="79"/>
                  </a:lnTo>
                  <a:lnTo>
                    <a:pt x="34" y="91"/>
                  </a:lnTo>
                  <a:lnTo>
                    <a:pt x="65" y="100"/>
                  </a:lnTo>
                  <a:lnTo>
                    <a:pt x="86" y="118"/>
                  </a:lnTo>
                  <a:lnTo>
                    <a:pt x="91" y="146"/>
                  </a:lnTo>
                  <a:lnTo>
                    <a:pt x="102" y="156"/>
                  </a:lnTo>
                  <a:lnTo>
                    <a:pt x="126" y="159"/>
                  </a:lnTo>
                  <a:lnTo>
                    <a:pt x="153" y="163"/>
                  </a:lnTo>
                  <a:lnTo>
                    <a:pt x="182" y="177"/>
                  </a:lnTo>
                  <a:lnTo>
                    <a:pt x="195" y="180"/>
                  </a:lnTo>
                  <a:lnTo>
                    <a:pt x="213" y="201"/>
                  </a:lnTo>
                  <a:lnTo>
                    <a:pt x="231" y="214"/>
                  </a:lnTo>
                  <a:lnTo>
                    <a:pt x="251" y="214"/>
                  </a:lnTo>
                  <a:lnTo>
                    <a:pt x="294" y="219"/>
                  </a:lnTo>
                  <a:lnTo>
                    <a:pt x="317" y="216"/>
                  </a:lnTo>
                  <a:lnTo>
                    <a:pt x="337" y="219"/>
                  </a:lnTo>
                  <a:lnTo>
                    <a:pt x="373" y="234"/>
                  </a:lnTo>
                  <a:lnTo>
                    <a:pt x="395" y="233"/>
                  </a:lnTo>
                  <a:lnTo>
                    <a:pt x="407" y="241"/>
                  </a:lnTo>
                  <a:lnTo>
                    <a:pt x="424" y="228"/>
                  </a:lnTo>
                  <a:lnTo>
                    <a:pt x="451" y="220"/>
                  </a:lnTo>
                  <a:lnTo>
                    <a:pt x="479" y="219"/>
                  </a:lnTo>
                  <a:lnTo>
                    <a:pt x="497" y="212"/>
                  </a:lnTo>
                  <a:lnTo>
                    <a:pt x="505" y="199"/>
                  </a:lnTo>
                  <a:lnTo>
                    <a:pt x="514" y="191"/>
                  </a:lnTo>
                  <a:lnTo>
                    <a:pt x="506" y="184"/>
                  </a:lnTo>
                  <a:lnTo>
                    <a:pt x="496" y="175"/>
                  </a:lnTo>
                  <a:lnTo>
                    <a:pt x="497" y="160"/>
                  </a:lnTo>
                  <a:lnTo>
                    <a:pt x="509" y="162"/>
                  </a:lnTo>
                  <a:lnTo>
                    <a:pt x="532" y="167"/>
                  </a:lnTo>
                  <a:lnTo>
                    <a:pt x="543" y="155"/>
                  </a:lnTo>
                  <a:lnTo>
                    <a:pt x="566" y="145"/>
                  </a:lnTo>
                  <a:lnTo>
                    <a:pt x="572" y="130"/>
                  </a:lnTo>
                  <a:lnTo>
                    <a:pt x="580" y="124"/>
                  </a:lnTo>
                  <a:lnTo>
                    <a:pt x="606" y="120"/>
                  </a:lnTo>
                  <a:lnTo>
                    <a:pt x="622" y="123"/>
                  </a:lnTo>
                  <a:lnTo>
                    <a:pt x="619" y="115"/>
                  </a:lnTo>
                  <a:lnTo>
                    <a:pt x="592" y="99"/>
                  </a:lnTo>
                  <a:lnTo>
                    <a:pt x="574" y="91"/>
                  </a:lnTo>
                  <a:lnTo>
                    <a:pt x="564" y="100"/>
                  </a:lnTo>
                  <a:lnTo>
                    <a:pt x="544" y="96"/>
                  </a:lnTo>
                  <a:lnTo>
                    <a:pt x="535" y="100"/>
                  </a:lnTo>
                  <a:lnTo>
                    <a:pt x="525" y="89"/>
                  </a:lnTo>
                  <a:lnTo>
                    <a:pt x="524" y="66"/>
                  </a:lnTo>
                  <a:lnTo>
                    <a:pt x="521" y="49"/>
                  </a:lnTo>
                  <a:lnTo>
                    <a:pt x="501" y="51"/>
                  </a:lnTo>
                  <a:lnTo>
                    <a:pt x="487" y="44"/>
                  </a:lnTo>
                  <a:lnTo>
                    <a:pt x="474" y="41"/>
                  </a:lnTo>
                  <a:lnTo>
                    <a:pt x="457" y="57"/>
                  </a:lnTo>
                  <a:lnTo>
                    <a:pt x="435" y="60"/>
                  </a:lnTo>
                  <a:lnTo>
                    <a:pt x="422" y="67"/>
                  </a:lnTo>
                  <a:lnTo>
                    <a:pt x="397" y="63"/>
                  </a:lnTo>
                  <a:lnTo>
                    <a:pt x="380" y="63"/>
                  </a:lnTo>
                  <a:lnTo>
                    <a:pt x="362" y="51"/>
                  </a:lnTo>
                  <a:lnTo>
                    <a:pt x="337" y="40"/>
                  </a:lnTo>
                  <a:lnTo>
                    <a:pt x="318" y="37"/>
                  </a:lnTo>
                  <a:lnTo>
                    <a:pt x="296" y="40"/>
                  </a:lnTo>
                  <a:lnTo>
                    <a:pt x="281" y="45"/>
                  </a:lnTo>
                  <a:lnTo>
                    <a:pt x="251" y="34"/>
                  </a:lnTo>
                  <a:lnTo>
                    <a:pt x="251" y="34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4" name="Mozambique">
              <a:extLst>
                <a:ext uri="{FF2B5EF4-FFF2-40B4-BE49-F238E27FC236}">
                  <a16:creationId xmlns:a16="http://schemas.microsoft.com/office/drawing/2014/main" id="{0A15DE70-A4E2-47FA-B8C4-F44DBA76DC4D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2144" y="4451122"/>
              <a:ext cx="349250" cy="619125"/>
            </a:xfrm>
            <a:custGeom>
              <a:avLst/>
              <a:gdLst>
                <a:gd name="T0" fmla="*/ 215 w 220"/>
                <a:gd name="T1" fmla="*/ 0 h 390"/>
                <a:gd name="T2" fmla="*/ 215 w 220"/>
                <a:gd name="T3" fmla="*/ 0 h 390"/>
                <a:gd name="T4" fmla="*/ 174 w 220"/>
                <a:gd name="T5" fmla="*/ 23 h 390"/>
                <a:gd name="T6" fmla="*/ 154 w 220"/>
                <a:gd name="T7" fmla="*/ 30 h 390"/>
                <a:gd name="T8" fmla="*/ 134 w 220"/>
                <a:gd name="T9" fmla="*/ 34 h 390"/>
                <a:gd name="T10" fmla="*/ 102 w 220"/>
                <a:gd name="T11" fmla="*/ 28 h 390"/>
                <a:gd name="T12" fmla="*/ 98 w 220"/>
                <a:gd name="T13" fmla="*/ 77 h 390"/>
                <a:gd name="T14" fmla="*/ 106 w 220"/>
                <a:gd name="T15" fmla="*/ 85 h 390"/>
                <a:gd name="T16" fmla="*/ 115 w 220"/>
                <a:gd name="T17" fmla="*/ 133 h 390"/>
                <a:gd name="T18" fmla="*/ 98 w 220"/>
                <a:gd name="T19" fmla="*/ 154 h 390"/>
                <a:gd name="T20" fmla="*/ 85 w 220"/>
                <a:gd name="T21" fmla="*/ 122 h 390"/>
                <a:gd name="T22" fmla="*/ 89 w 220"/>
                <a:gd name="T23" fmla="*/ 102 h 390"/>
                <a:gd name="T24" fmla="*/ 75 w 220"/>
                <a:gd name="T25" fmla="*/ 98 h 390"/>
                <a:gd name="T26" fmla="*/ 0 w 220"/>
                <a:gd name="T27" fmla="*/ 106 h 390"/>
                <a:gd name="T28" fmla="*/ 2 w 220"/>
                <a:gd name="T29" fmla="*/ 133 h 390"/>
                <a:gd name="T30" fmla="*/ 29 w 220"/>
                <a:gd name="T31" fmla="*/ 137 h 390"/>
                <a:gd name="T32" fmla="*/ 43 w 220"/>
                <a:gd name="T33" fmla="*/ 145 h 390"/>
                <a:gd name="T34" fmla="*/ 52 w 220"/>
                <a:gd name="T35" fmla="*/ 182 h 390"/>
                <a:gd name="T36" fmla="*/ 46 w 220"/>
                <a:gd name="T37" fmla="*/ 217 h 390"/>
                <a:gd name="T38" fmla="*/ 46 w 220"/>
                <a:gd name="T39" fmla="*/ 237 h 390"/>
                <a:gd name="T40" fmla="*/ 36 w 220"/>
                <a:gd name="T41" fmla="*/ 257 h 390"/>
                <a:gd name="T42" fmla="*/ 21 w 220"/>
                <a:gd name="T43" fmla="*/ 317 h 390"/>
                <a:gd name="T44" fmla="*/ 19 w 220"/>
                <a:gd name="T45" fmla="*/ 360 h 390"/>
                <a:gd name="T46" fmla="*/ 23 w 220"/>
                <a:gd name="T47" fmla="*/ 380 h 390"/>
                <a:gd name="T48" fmla="*/ 40 w 220"/>
                <a:gd name="T49" fmla="*/ 390 h 390"/>
                <a:gd name="T50" fmla="*/ 37 w 220"/>
                <a:gd name="T51" fmla="*/ 376 h 390"/>
                <a:gd name="T52" fmla="*/ 46 w 220"/>
                <a:gd name="T53" fmla="*/ 358 h 390"/>
                <a:gd name="T54" fmla="*/ 89 w 220"/>
                <a:gd name="T55" fmla="*/ 337 h 390"/>
                <a:gd name="T56" fmla="*/ 102 w 220"/>
                <a:gd name="T57" fmla="*/ 318 h 390"/>
                <a:gd name="T58" fmla="*/ 101 w 220"/>
                <a:gd name="T59" fmla="*/ 303 h 390"/>
                <a:gd name="T60" fmla="*/ 99 w 220"/>
                <a:gd name="T61" fmla="*/ 281 h 390"/>
                <a:gd name="T62" fmla="*/ 96 w 220"/>
                <a:gd name="T63" fmla="*/ 260 h 390"/>
                <a:gd name="T64" fmla="*/ 89 w 220"/>
                <a:gd name="T65" fmla="*/ 225 h 390"/>
                <a:gd name="T66" fmla="*/ 114 w 220"/>
                <a:gd name="T67" fmla="*/ 203 h 390"/>
                <a:gd name="T68" fmla="*/ 146 w 220"/>
                <a:gd name="T69" fmla="*/ 173 h 390"/>
                <a:gd name="T70" fmla="*/ 190 w 220"/>
                <a:gd name="T71" fmla="*/ 152 h 390"/>
                <a:gd name="T72" fmla="*/ 213 w 220"/>
                <a:gd name="T73" fmla="*/ 121 h 390"/>
                <a:gd name="T74" fmla="*/ 216 w 220"/>
                <a:gd name="T75" fmla="*/ 92 h 390"/>
                <a:gd name="T76" fmla="*/ 216 w 220"/>
                <a:gd name="T77" fmla="*/ 34 h 390"/>
                <a:gd name="T78" fmla="*/ 217 w 220"/>
                <a:gd name="T79" fmla="*/ 11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20" h="390">
                  <a:moveTo>
                    <a:pt x="217" y="11"/>
                  </a:moveTo>
                  <a:lnTo>
                    <a:pt x="215" y="0"/>
                  </a:lnTo>
                  <a:lnTo>
                    <a:pt x="215" y="0"/>
                  </a:lnTo>
                  <a:lnTo>
                    <a:pt x="215" y="0"/>
                  </a:lnTo>
                  <a:lnTo>
                    <a:pt x="197" y="14"/>
                  </a:lnTo>
                  <a:lnTo>
                    <a:pt x="174" y="23"/>
                  </a:lnTo>
                  <a:lnTo>
                    <a:pt x="161" y="23"/>
                  </a:lnTo>
                  <a:lnTo>
                    <a:pt x="154" y="30"/>
                  </a:lnTo>
                  <a:lnTo>
                    <a:pt x="139" y="31"/>
                  </a:lnTo>
                  <a:lnTo>
                    <a:pt x="134" y="34"/>
                  </a:lnTo>
                  <a:lnTo>
                    <a:pt x="109" y="27"/>
                  </a:lnTo>
                  <a:lnTo>
                    <a:pt x="102" y="28"/>
                  </a:lnTo>
                  <a:lnTo>
                    <a:pt x="95" y="50"/>
                  </a:lnTo>
                  <a:lnTo>
                    <a:pt x="98" y="77"/>
                  </a:lnTo>
                  <a:lnTo>
                    <a:pt x="99" y="77"/>
                  </a:lnTo>
                  <a:lnTo>
                    <a:pt x="106" y="85"/>
                  </a:lnTo>
                  <a:lnTo>
                    <a:pt x="115" y="102"/>
                  </a:lnTo>
                  <a:lnTo>
                    <a:pt x="115" y="133"/>
                  </a:lnTo>
                  <a:lnTo>
                    <a:pt x="105" y="137"/>
                  </a:lnTo>
                  <a:lnTo>
                    <a:pt x="98" y="154"/>
                  </a:lnTo>
                  <a:lnTo>
                    <a:pt x="86" y="139"/>
                  </a:lnTo>
                  <a:lnTo>
                    <a:pt x="85" y="122"/>
                  </a:lnTo>
                  <a:lnTo>
                    <a:pt x="89" y="112"/>
                  </a:lnTo>
                  <a:lnTo>
                    <a:pt x="89" y="102"/>
                  </a:lnTo>
                  <a:lnTo>
                    <a:pt x="81" y="96"/>
                  </a:lnTo>
                  <a:lnTo>
                    <a:pt x="75" y="98"/>
                  </a:lnTo>
                  <a:lnTo>
                    <a:pt x="63" y="87"/>
                  </a:lnTo>
                  <a:lnTo>
                    <a:pt x="0" y="106"/>
                  </a:lnTo>
                  <a:lnTo>
                    <a:pt x="1" y="123"/>
                  </a:lnTo>
                  <a:lnTo>
                    <a:pt x="2" y="133"/>
                  </a:lnTo>
                  <a:lnTo>
                    <a:pt x="19" y="132"/>
                  </a:lnTo>
                  <a:lnTo>
                    <a:pt x="29" y="137"/>
                  </a:lnTo>
                  <a:lnTo>
                    <a:pt x="33" y="143"/>
                  </a:lnTo>
                  <a:lnTo>
                    <a:pt x="43" y="145"/>
                  </a:lnTo>
                  <a:lnTo>
                    <a:pt x="53" y="152"/>
                  </a:lnTo>
                  <a:lnTo>
                    <a:pt x="52" y="182"/>
                  </a:lnTo>
                  <a:lnTo>
                    <a:pt x="47" y="199"/>
                  </a:lnTo>
                  <a:lnTo>
                    <a:pt x="46" y="217"/>
                  </a:lnTo>
                  <a:lnTo>
                    <a:pt x="48" y="223"/>
                  </a:lnTo>
                  <a:lnTo>
                    <a:pt x="46" y="237"/>
                  </a:lnTo>
                  <a:lnTo>
                    <a:pt x="42" y="240"/>
                  </a:lnTo>
                  <a:lnTo>
                    <a:pt x="36" y="257"/>
                  </a:lnTo>
                  <a:lnTo>
                    <a:pt x="13" y="284"/>
                  </a:lnTo>
                  <a:lnTo>
                    <a:pt x="21" y="317"/>
                  </a:lnTo>
                  <a:lnTo>
                    <a:pt x="25" y="334"/>
                  </a:lnTo>
                  <a:lnTo>
                    <a:pt x="19" y="360"/>
                  </a:lnTo>
                  <a:lnTo>
                    <a:pt x="21" y="369"/>
                  </a:lnTo>
                  <a:lnTo>
                    <a:pt x="23" y="380"/>
                  </a:lnTo>
                  <a:lnTo>
                    <a:pt x="25" y="390"/>
                  </a:lnTo>
                  <a:lnTo>
                    <a:pt x="40" y="390"/>
                  </a:lnTo>
                  <a:lnTo>
                    <a:pt x="43" y="378"/>
                  </a:lnTo>
                  <a:lnTo>
                    <a:pt x="37" y="376"/>
                  </a:lnTo>
                  <a:lnTo>
                    <a:pt x="36" y="367"/>
                  </a:lnTo>
                  <a:lnTo>
                    <a:pt x="46" y="358"/>
                  </a:lnTo>
                  <a:lnTo>
                    <a:pt x="72" y="344"/>
                  </a:lnTo>
                  <a:lnTo>
                    <a:pt x="89" y="337"/>
                  </a:lnTo>
                  <a:lnTo>
                    <a:pt x="98" y="328"/>
                  </a:lnTo>
                  <a:lnTo>
                    <a:pt x="102" y="318"/>
                  </a:lnTo>
                  <a:lnTo>
                    <a:pt x="97" y="315"/>
                  </a:lnTo>
                  <a:lnTo>
                    <a:pt x="101" y="303"/>
                  </a:lnTo>
                  <a:lnTo>
                    <a:pt x="103" y="280"/>
                  </a:lnTo>
                  <a:lnTo>
                    <a:pt x="99" y="281"/>
                  </a:lnTo>
                  <a:lnTo>
                    <a:pt x="99" y="273"/>
                  </a:lnTo>
                  <a:lnTo>
                    <a:pt x="96" y="260"/>
                  </a:lnTo>
                  <a:lnTo>
                    <a:pt x="87" y="242"/>
                  </a:lnTo>
                  <a:lnTo>
                    <a:pt x="89" y="225"/>
                  </a:lnTo>
                  <a:lnTo>
                    <a:pt x="98" y="219"/>
                  </a:lnTo>
                  <a:lnTo>
                    <a:pt x="114" y="203"/>
                  </a:lnTo>
                  <a:lnTo>
                    <a:pt x="122" y="199"/>
                  </a:lnTo>
                  <a:lnTo>
                    <a:pt x="146" y="173"/>
                  </a:lnTo>
                  <a:lnTo>
                    <a:pt x="171" y="161"/>
                  </a:lnTo>
                  <a:lnTo>
                    <a:pt x="190" y="152"/>
                  </a:lnTo>
                  <a:lnTo>
                    <a:pt x="204" y="137"/>
                  </a:lnTo>
                  <a:lnTo>
                    <a:pt x="213" y="121"/>
                  </a:lnTo>
                  <a:lnTo>
                    <a:pt x="220" y="104"/>
                  </a:lnTo>
                  <a:lnTo>
                    <a:pt x="216" y="92"/>
                  </a:lnTo>
                  <a:lnTo>
                    <a:pt x="217" y="55"/>
                  </a:lnTo>
                  <a:lnTo>
                    <a:pt x="216" y="34"/>
                  </a:lnTo>
                  <a:lnTo>
                    <a:pt x="217" y="11"/>
                  </a:lnTo>
                  <a:lnTo>
                    <a:pt x="217" y="11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5" name="Mauritania">
              <a:extLst>
                <a:ext uri="{FF2B5EF4-FFF2-40B4-BE49-F238E27FC236}">
                  <a16:creationId xmlns:a16="http://schemas.microsoft.com/office/drawing/2014/main" id="{1BB85693-9D19-4B2D-8A9C-4C480498C47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7981" y="3028724"/>
              <a:ext cx="398462" cy="482600"/>
            </a:xfrm>
            <a:custGeom>
              <a:avLst/>
              <a:gdLst>
                <a:gd name="T0" fmla="*/ 251 w 251"/>
                <a:gd name="T1" fmla="*/ 57 h 304"/>
                <a:gd name="T2" fmla="*/ 175 w 251"/>
                <a:gd name="T3" fmla="*/ 0 h 304"/>
                <a:gd name="T4" fmla="*/ 174 w 251"/>
                <a:gd name="T5" fmla="*/ 36 h 304"/>
                <a:gd name="T6" fmla="*/ 108 w 251"/>
                <a:gd name="T7" fmla="*/ 35 h 304"/>
                <a:gd name="T8" fmla="*/ 107 w 251"/>
                <a:gd name="T9" fmla="*/ 96 h 304"/>
                <a:gd name="T10" fmla="*/ 87 w 251"/>
                <a:gd name="T11" fmla="*/ 98 h 304"/>
                <a:gd name="T12" fmla="*/ 82 w 251"/>
                <a:gd name="T13" fmla="*/ 110 h 304"/>
                <a:gd name="T14" fmla="*/ 85 w 251"/>
                <a:gd name="T15" fmla="*/ 144 h 304"/>
                <a:gd name="T16" fmla="*/ 5 w 251"/>
                <a:gd name="T17" fmla="*/ 144 h 304"/>
                <a:gd name="T18" fmla="*/ 0 w 251"/>
                <a:gd name="T19" fmla="*/ 152 h 304"/>
                <a:gd name="T20" fmla="*/ 11 w 251"/>
                <a:gd name="T21" fmla="*/ 162 h 304"/>
                <a:gd name="T22" fmla="*/ 16 w 251"/>
                <a:gd name="T23" fmla="*/ 173 h 304"/>
                <a:gd name="T24" fmla="*/ 13 w 251"/>
                <a:gd name="T25" fmla="*/ 185 h 304"/>
                <a:gd name="T26" fmla="*/ 15 w 251"/>
                <a:gd name="T27" fmla="*/ 198 h 304"/>
                <a:gd name="T28" fmla="*/ 17 w 251"/>
                <a:gd name="T29" fmla="*/ 221 h 304"/>
                <a:gd name="T30" fmla="*/ 14 w 251"/>
                <a:gd name="T31" fmla="*/ 243 h 304"/>
                <a:gd name="T32" fmla="*/ 8 w 251"/>
                <a:gd name="T33" fmla="*/ 254 h 304"/>
                <a:gd name="T34" fmla="*/ 10 w 251"/>
                <a:gd name="T35" fmla="*/ 268 h 304"/>
                <a:gd name="T36" fmla="*/ 17 w 251"/>
                <a:gd name="T37" fmla="*/ 260 h 304"/>
                <a:gd name="T38" fmla="*/ 27 w 251"/>
                <a:gd name="T39" fmla="*/ 262 h 304"/>
                <a:gd name="T40" fmla="*/ 38 w 251"/>
                <a:gd name="T41" fmla="*/ 256 h 304"/>
                <a:gd name="T42" fmla="*/ 49 w 251"/>
                <a:gd name="T43" fmla="*/ 256 h 304"/>
                <a:gd name="T44" fmla="*/ 59 w 251"/>
                <a:gd name="T45" fmla="*/ 264 h 304"/>
                <a:gd name="T46" fmla="*/ 72 w 251"/>
                <a:gd name="T47" fmla="*/ 269 h 304"/>
                <a:gd name="T48" fmla="*/ 84 w 251"/>
                <a:gd name="T49" fmla="*/ 287 h 304"/>
                <a:gd name="T50" fmla="*/ 98 w 251"/>
                <a:gd name="T51" fmla="*/ 304 h 304"/>
                <a:gd name="T52" fmla="*/ 105 w 251"/>
                <a:gd name="T53" fmla="*/ 299 h 304"/>
                <a:gd name="T54" fmla="*/ 109 w 251"/>
                <a:gd name="T55" fmla="*/ 285 h 304"/>
                <a:gd name="T56" fmla="*/ 115 w 251"/>
                <a:gd name="T57" fmla="*/ 284 h 304"/>
                <a:gd name="T58" fmla="*/ 130 w 251"/>
                <a:gd name="T59" fmla="*/ 292 h 304"/>
                <a:gd name="T60" fmla="*/ 141 w 251"/>
                <a:gd name="T61" fmla="*/ 286 h 304"/>
                <a:gd name="T62" fmla="*/ 150 w 251"/>
                <a:gd name="T63" fmla="*/ 288 h 304"/>
                <a:gd name="T64" fmla="*/ 153 w 251"/>
                <a:gd name="T65" fmla="*/ 282 h 304"/>
                <a:gd name="T66" fmla="*/ 237 w 251"/>
                <a:gd name="T67" fmla="*/ 282 h 304"/>
                <a:gd name="T68" fmla="*/ 241 w 251"/>
                <a:gd name="T69" fmla="*/ 266 h 304"/>
                <a:gd name="T70" fmla="*/ 238 w 251"/>
                <a:gd name="T71" fmla="*/ 263 h 304"/>
                <a:gd name="T72" fmla="*/ 228 w 251"/>
                <a:gd name="T73" fmla="*/ 160 h 304"/>
                <a:gd name="T74" fmla="*/ 220 w 251"/>
                <a:gd name="T75" fmla="*/ 58 h 304"/>
                <a:gd name="T76" fmla="*/ 251 w 251"/>
                <a:gd name="T77" fmla="*/ 57 h 304"/>
                <a:gd name="T78" fmla="*/ 251 w 251"/>
                <a:gd name="T79" fmla="*/ 57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1" h="304">
                  <a:moveTo>
                    <a:pt x="251" y="57"/>
                  </a:moveTo>
                  <a:lnTo>
                    <a:pt x="175" y="0"/>
                  </a:lnTo>
                  <a:lnTo>
                    <a:pt x="174" y="36"/>
                  </a:lnTo>
                  <a:lnTo>
                    <a:pt x="108" y="35"/>
                  </a:lnTo>
                  <a:lnTo>
                    <a:pt x="107" y="96"/>
                  </a:lnTo>
                  <a:lnTo>
                    <a:pt x="87" y="98"/>
                  </a:lnTo>
                  <a:lnTo>
                    <a:pt x="82" y="110"/>
                  </a:lnTo>
                  <a:lnTo>
                    <a:pt x="85" y="144"/>
                  </a:lnTo>
                  <a:lnTo>
                    <a:pt x="5" y="144"/>
                  </a:lnTo>
                  <a:lnTo>
                    <a:pt x="0" y="152"/>
                  </a:lnTo>
                  <a:lnTo>
                    <a:pt x="11" y="162"/>
                  </a:lnTo>
                  <a:lnTo>
                    <a:pt x="16" y="173"/>
                  </a:lnTo>
                  <a:lnTo>
                    <a:pt x="13" y="185"/>
                  </a:lnTo>
                  <a:lnTo>
                    <a:pt x="15" y="198"/>
                  </a:lnTo>
                  <a:lnTo>
                    <a:pt x="17" y="221"/>
                  </a:lnTo>
                  <a:lnTo>
                    <a:pt x="14" y="243"/>
                  </a:lnTo>
                  <a:lnTo>
                    <a:pt x="8" y="254"/>
                  </a:lnTo>
                  <a:lnTo>
                    <a:pt x="10" y="268"/>
                  </a:lnTo>
                  <a:lnTo>
                    <a:pt x="17" y="260"/>
                  </a:lnTo>
                  <a:lnTo>
                    <a:pt x="27" y="262"/>
                  </a:lnTo>
                  <a:lnTo>
                    <a:pt x="38" y="256"/>
                  </a:lnTo>
                  <a:lnTo>
                    <a:pt x="49" y="256"/>
                  </a:lnTo>
                  <a:lnTo>
                    <a:pt x="59" y="264"/>
                  </a:lnTo>
                  <a:lnTo>
                    <a:pt x="72" y="269"/>
                  </a:lnTo>
                  <a:lnTo>
                    <a:pt x="84" y="287"/>
                  </a:lnTo>
                  <a:lnTo>
                    <a:pt x="98" y="304"/>
                  </a:lnTo>
                  <a:lnTo>
                    <a:pt x="105" y="299"/>
                  </a:lnTo>
                  <a:lnTo>
                    <a:pt x="109" y="285"/>
                  </a:lnTo>
                  <a:lnTo>
                    <a:pt x="115" y="284"/>
                  </a:lnTo>
                  <a:lnTo>
                    <a:pt x="130" y="292"/>
                  </a:lnTo>
                  <a:lnTo>
                    <a:pt x="141" y="286"/>
                  </a:lnTo>
                  <a:lnTo>
                    <a:pt x="150" y="288"/>
                  </a:lnTo>
                  <a:lnTo>
                    <a:pt x="153" y="282"/>
                  </a:lnTo>
                  <a:lnTo>
                    <a:pt x="237" y="282"/>
                  </a:lnTo>
                  <a:lnTo>
                    <a:pt x="241" y="266"/>
                  </a:lnTo>
                  <a:lnTo>
                    <a:pt x="238" y="263"/>
                  </a:lnTo>
                  <a:lnTo>
                    <a:pt x="228" y="160"/>
                  </a:lnTo>
                  <a:lnTo>
                    <a:pt x="220" y="58"/>
                  </a:lnTo>
                  <a:lnTo>
                    <a:pt x="251" y="57"/>
                  </a:lnTo>
                  <a:lnTo>
                    <a:pt x="251" y="57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6" name="Malawi">
              <a:extLst>
                <a:ext uri="{FF2B5EF4-FFF2-40B4-BE49-F238E27FC236}">
                  <a16:creationId xmlns:a16="http://schemas.microsoft.com/office/drawing/2014/main" id="{3DA6AA16-1971-4150-BF82-5BBE9891431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6281" y="4411435"/>
              <a:ext cx="98425" cy="284163"/>
            </a:xfrm>
            <a:custGeom>
              <a:avLst/>
              <a:gdLst>
                <a:gd name="T0" fmla="*/ 38 w 62"/>
                <a:gd name="T1" fmla="*/ 114 h 179"/>
                <a:gd name="T2" fmla="*/ 38 w 62"/>
                <a:gd name="T3" fmla="*/ 105 h 179"/>
                <a:gd name="T4" fmla="*/ 34 w 62"/>
                <a:gd name="T5" fmla="*/ 98 h 179"/>
                <a:gd name="T6" fmla="*/ 35 w 62"/>
                <a:gd name="T7" fmla="*/ 87 h 179"/>
                <a:gd name="T8" fmla="*/ 29 w 62"/>
                <a:gd name="T9" fmla="*/ 70 h 179"/>
                <a:gd name="T10" fmla="*/ 36 w 62"/>
                <a:gd name="T11" fmla="*/ 57 h 179"/>
                <a:gd name="T12" fmla="*/ 35 w 62"/>
                <a:gd name="T13" fmla="*/ 28 h 179"/>
                <a:gd name="T14" fmla="*/ 28 w 62"/>
                <a:gd name="T15" fmla="*/ 13 h 179"/>
                <a:gd name="T16" fmla="*/ 28 w 62"/>
                <a:gd name="T17" fmla="*/ 10 h 179"/>
                <a:gd name="T18" fmla="*/ 28 w 62"/>
                <a:gd name="T19" fmla="*/ 10 h 179"/>
                <a:gd name="T20" fmla="*/ 24 w 62"/>
                <a:gd name="T21" fmla="*/ 3 h 179"/>
                <a:gd name="T22" fmla="*/ 4 w 62"/>
                <a:gd name="T23" fmla="*/ 0 h 179"/>
                <a:gd name="T24" fmla="*/ 14 w 62"/>
                <a:gd name="T25" fmla="*/ 10 h 179"/>
                <a:gd name="T26" fmla="*/ 19 w 62"/>
                <a:gd name="T27" fmla="*/ 30 h 179"/>
                <a:gd name="T28" fmla="*/ 15 w 62"/>
                <a:gd name="T29" fmla="*/ 37 h 179"/>
                <a:gd name="T30" fmla="*/ 10 w 62"/>
                <a:gd name="T31" fmla="*/ 56 h 179"/>
                <a:gd name="T32" fmla="*/ 13 w 62"/>
                <a:gd name="T33" fmla="*/ 75 h 179"/>
                <a:gd name="T34" fmla="*/ 7 w 62"/>
                <a:gd name="T35" fmla="*/ 84 h 179"/>
                <a:gd name="T36" fmla="*/ 0 w 62"/>
                <a:gd name="T37" fmla="*/ 106 h 179"/>
                <a:gd name="T38" fmla="*/ 10 w 62"/>
                <a:gd name="T39" fmla="*/ 112 h 179"/>
                <a:gd name="T40" fmla="*/ 22 w 62"/>
                <a:gd name="T41" fmla="*/ 123 h 179"/>
                <a:gd name="T42" fmla="*/ 28 w 62"/>
                <a:gd name="T43" fmla="*/ 121 h 179"/>
                <a:gd name="T44" fmla="*/ 36 w 62"/>
                <a:gd name="T45" fmla="*/ 127 h 179"/>
                <a:gd name="T46" fmla="*/ 36 w 62"/>
                <a:gd name="T47" fmla="*/ 137 h 179"/>
                <a:gd name="T48" fmla="*/ 32 w 62"/>
                <a:gd name="T49" fmla="*/ 147 h 179"/>
                <a:gd name="T50" fmla="*/ 33 w 62"/>
                <a:gd name="T51" fmla="*/ 164 h 179"/>
                <a:gd name="T52" fmla="*/ 45 w 62"/>
                <a:gd name="T53" fmla="*/ 179 h 179"/>
                <a:gd name="T54" fmla="*/ 52 w 62"/>
                <a:gd name="T55" fmla="*/ 162 h 179"/>
                <a:gd name="T56" fmla="*/ 62 w 62"/>
                <a:gd name="T57" fmla="*/ 158 h 179"/>
                <a:gd name="T58" fmla="*/ 62 w 62"/>
                <a:gd name="T59" fmla="*/ 127 h 179"/>
                <a:gd name="T60" fmla="*/ 53 w 62"/>
                <a:gd name="T61" fmla="*/ 110 h 179"/>
                <a:gd name="T62" fmla="*/ 46 w 62"/>
                <a:gd name="T63" fmla="*/ 102 h 179"/>
                <a:gd name="T64" fmla="*/ 45 w 62"/>
                <a:gd name="T65" fmla="*/ 102 h 179"/>
                <a:gd name="T66" fmla="*/ 45 w 62"/>
                <a:gd name="T67" fmla="*/ 105 h 179"/>
                <a:gd name="T68" fmla="*/ 49 w 62"/>
                <a:gd name="T69" fmla="*/ 106 h 179"/>
                <a:gd name="T70" fmla="*/ 52 w 62"/>
                <a:gd name="T71" fmla="*/ 119 h 179"/>
                <a:gd name="T72" fmla="*/ 52 w 62"/>
                <a:gd name="T73" fmla="*/ 122 h 179"/>
                <a:gd name="T74" fmla="*/ 45 w 62"/>
                <a:gd name="T75" fmla="*/ 113 h 179"/>
                <a:gd name="T76" fmla="*/ 41 w 62"/>
                <a:gd name="T77" fmla="*/ 119 h 179"/>
                <a:gd name="T78" fmla="*/ 38 w 62"/>
                <a:gd name="T79" fmla="*/ 114 h 179"/>
                <a:gd name="T80" fmla="*/ 38 w 62"/>
                <a:gd name="T81" fmla="*/ 114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2" h="179">
                  <a:moveTo>
                    <a:pt x="38" y="114"/>
                  </a:moveTo>
                  <a:lnTo>
                    <a:pt x="38" y="105"/>
                  </a:lnTo>
                  <a:lnTo>
                    <a:pt x="34" y="98"/>
                  </a:lnTo>
                  <a:lnTo>
                    <a:pt x="35" y="87"/>
                  </a:lnTo>
                  <a:lnTo>
                    <a:pt x="29" y="70"/>
                  </a:lnTo>
                  <a:lnTo>
                    <a:pt x="36" y="57"/>
                  </a:lnTo>
                  <a:lnTo>
                    <a:pt x="35" y="28"/>
                  </a:lnTo>
                  <a:lnTo>
                    <a:pt x="28" y="13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4" y="3"/>
                  </a:lnTo>
                  <a:lnTo>
                    <a:pt x="4" y="0"/>
                  </a:lnTo>
                  <a:lnTo>
                    <a:pt x="14" y="10"/>
                  </a:lnTo>
                  <a:lnTo>
                    <a:pt x="19" y="30"/>
                  </a:lnTo>
                  <a:lnTo>
                    <a:pt x="15" y="37"/>
                  </a:lnTo>
                  <a:lnTo>
                    <a:pt x="10" y="56"/>
                  </a:lnTo>
                  <a:lnTo>
                    <a:pt x="13" y="75"/>
                  </a:lnTo>
                  <a:lnTo>
                    <a:pt x="7" y="84"/>
                  </a:lnTo>
                  <a:lnTo>
                    <a:pt x="0" y="106"/>
                  </a:lnTo>
                  <a:lnTo>
                    <a:pt x="10" y="112"/>
                  </a:lnTo>
                  <a:lnTo>
                    <a:pt x="22" y="123"/>
                  </a:lnTo>
                  <a:lnTo>
                    <a:pt x="28" y="121"/>
                  </a:lnTo>
                  <a:lnTo>
                    <a:pt x="36" y="127"/>
                  </a:lnTo>
                  <a:lnTo>
                    <a:pt x="36" y="137"/>
                  </a:lnTo>
                  <a:lnTo>
                    <a:pt x="32" y="147"/>
                  </a:lnTo>
                  <a:lnTo>
                    <a:pt x="33" y="164"/>
                  </a:lnTo>
                  <a:lnTo>
                    <a:pt x="45" y="179"/>
                  </a:lnTo>
                  <a:lnTo>
                    <a:pt x="52" y="162"/>
                  </a:lnTo>
                  <a:lnTo>
                    <a:pt x="62" y="158"/>
                  </a:lnTo>
                  <a:lnTo>
                    <a:pt x="62" y="127"/>
                  </a:lnTo>
                  <a:lnTo>
                    <a:pt x="53" y="110"/>
                  </a:lnTo>
                  <a:lnTo>
                    <a:pt x="46" y="102"/>
                  </a:lnTo>
                  <a:lnTo>
                    <a:pt x="45" y="102"/>
                  </a:lnTo>
                  <a:lnTo>
                    <a:pt x="45" y="105"/>
                  </a:lnTo>
                  <a:lnTo>
                    <a:pt x="49" y="106"/>
                  </a:lnTo>
                  <a:lnTo>
                    <a:pt x="52" y="119"/>
                  </a:lnTo>
                  <a:lnTo>
                    <a:pt x="52" y="122"/>
                  </a:lnTo>
                  <a:lnTo>
                    <a:pt x="45" y="113"/>
                  </a:lnTo>
                  <a:lnTo>
                    <a:pt x="41" y="119"/>
                  </a:lnTo>
                  <a:lnTo>
                    <a:pt x="38" y="114"/>
                  </a:lnTo>
                  <a:lnTo>
                    <a:pt x="38" y="114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7" name="Malaysia">
              <a:extLst>
                <a:ext uri="{FF2B5EF4-FFF2-40B4-BE49-F238E27FC236}">
                  <a16:creationId xmlns:a16="http://schemas.microsoft.com/office/drawing/2014/main" id="{853336E8-B0E6-476F-95A7-5BEFDC0089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24181" y="3800248"/>
              <a:ext cx="636587" cy="233363"/>
            </a:xfrm>
            <a:custGeom>
              <a:avLst/>
              <a:gdLst>
                <a:gd name="T0" fmla="*/ 20 w 401"/>
                <a:gd name="T1" fmla="*/ 18 h 147"/>
                <a:gd name="T2" fmla="*/ 3 w 401"/>
                <a:gd name="T3" fmla="*/ 8 h 147"/>
                <a:gd name="T4" fmla="*/ 0 w 401"/>
                <a:gd name="T5" fmla="*/ 11 h 147"/>
                <a:gd name="T6" fmla="*/ 5 w 401"/>
                <a:gd name="T7" fmla="*/ 22 h 147"/>
                <a:gd name="T8" fmla="*/ 3 w 401"/>
                <a:gd name="T9" fmla="*/ 39 h 147"/>
                <a:gd name="T10" fmla="*/ 11 w 401"/>
                <a:gd name="T11" fmla="*/ 51 h 147"/>
                <a:gd name="T12" fmla="*/ 14 w 401"/>
                <a:gd name="T13" fmla="*/ 71 h 147"/>
                <a:gd name="T14" fmla="*/ 28 w 401"/>
                <a:gd name="T15" fmla="*/ 88 h 147"/>
                <a:gd name="T16" fmla="*/ 30 w 401"/>
                <a:gd name="T17" fmla="*/ 99 h 147"/>
                <a:gd name="T18" fmla="*/ 56 w 401"/>
                <a:gd name="T19" fmla="*/ 118 h 147"/>
                <a:gd name="T20" fmla="*/ 76 w 401"/>
                <a:gd name="T21" fmla="*/ 136 h 147"/>
                <a:gd name="T22" fmla="*/ 91 w 401"/>
                <a:gd name="T23" fmla="*/ 134 h 147"/>
                <a:gd name="T24" fmla="*/ 91 w 401"/>
                <a:gd name="T25" fmla="*/ 126 h 147"/>
                <a:gd name="T26" fmla="*/ 83 w 401"/>
                <a:gd name="T27" fmla="*/ 106 h 147"/>
                <a:gd name="T28" fmla="*/ 74 w 401"/>
                <a:gd name="T29" fmla="*/ 99 h 147"/>
                <a:gd name="T30" fmla="*/ 72 w 401"/>
                <a:gd name="T31" fmla="*/ 84 h 147"/>
                <a:gd name="T32" fmla="*/ 70 w 401"/>
                <a:gd name="T33" fmla="*/ 77 h 147"/>
                <a:gd name="T34" fmla="*/ 72 w 401"/>
                <a:gd name="T35" fmla="*/ 65 h 147"/>
                <a:gd name="T36" fmla="*/ 70 w 401"/>
                <a:gd name="T37" fmla="*/ 50 h 147"/>
                <a:gd name="T38" fmla="*/ 61 w 401"/>
                <a:gd name="T39" fmla="*/ 34 h 147"/>
                <a:gd name="T40" fmla="*/ 48 w 401"/>
                <a:gd name="T41" fmla="*/ 20 h 147"/>
                <a:gd name="T42" fmla="*/ 42 w 401"/>
                <a:gd name="T43" fmla="*/ 17 h 147"/>
                <a:gd name="T44" fmla="*/ 37 w 401"/>
                <a:gd name="T45" fmla="*/ 27 h 147"/>
                <a:gd name="T46" fmla="*/ 23 w 401"/>
                <a:gd name="T47" fmla="*/ 30 h 147"/>
                <a:gd name="T48" fmla="*/ 20 w 401"/>
                <a:gd name="T49" fmla="*/ 18 h 147"/>
                <a:gd name="T50" fmla="*/ 20 w 401"/>
                <a:gd name="T51" fmla="*/ 18 h 147"/>
                <a:gd name="T52" fmla="*/ 390 w 401"/>
                <a:gd name="T53" fmla="*/ 59 h 147"/>
                <a:gd name="T54" fmla="*/ 386 w 401"/>
                <a:gd name="T55" fmla="*/ 47 h 147"/>
                <a:gd name="T56" fmla="*/ 400 w 401"/>
                <a:gd name="T57" fmla="*/ 46 h 147"/>
                <a:gd name="T58" fmla="*/ 401 w 401"/>
                <a:gd name="T59" fmla="*/ 36 h 147"/>
                <a:gd name="T60" fmla="*/ 383 w 401"/>
                <a:gd name="T61" fmla="*/ 29 h 147"/>
                <a:gd name="T62" fmla="*/ 369 w 401"/>
                <a:gd name="T63" fmla="*/ 22 h 147"/>
                <a:gd name="T64" fmla="*/ 367 w 401"/>
                <a:gd name="T65" fmla="*/ 12 h 147"/>
                <a:gd name="T66" fmla="*/ 356 w 401"/>
                <a:gd name="T67" fmla="*/ 0 h 147"/>
                <a:gd name="T68" fmla="*/ 347 w 401"/>
                <a:gd name="T69" fmla="*/ 0 h 147"/>
                <a:gd name="T70" fmla="*/ 337 w 401"/>
                <a:gd name="T71" fmla="*/ 19 h 147"/>
                <a:gd name="T72" fmla="*/ 323 w 401"/>
                <a:gd name="T73" fmla="*/ 36 h 147"/>
                <a:gd name="T74" fmla="*/ 323 w 401"/>
                <a:gd name="T75" fmla="*/ 47 h 147"/>
                <a:gd name="T76" fmla="*/ 322 w 401"/>
                <a:gd name="T77" fmla="*/ 63 h 147"/>
                <a:gd name="T78" fmla="*/ 311 w 401"/>
                <a:gd name="T79" fmla="*/ 62 h 147"/>
                <a:gd name="T80" fmla="*/ 308 w 401"/>
                <a:gd name="T81" fmla="*/ 70 h 147"/>
                <a:gd name="T82" fmla="*/ 297 w 401"/>
                <a:gd name="T83" fmla="*/ 58 h 147"/>
                <a:gd name="T84" fmla="*/ 288 w 401"/>
                <a:gd name="T85" fmla="*/ 73 h 147"/>
                <a:gd name="T86" fmla="*/ 274 w 401"/>
                <a:gd name="T87" fmla="*/ 92 h 147"/>
                <a:gd name="T88" fmla="*/ 249 w 401"/>
                <a:gd name="T89" fmla="*/ 96 h 147"/>
                <a:gd name="T90" fmla="*/ 239 w 401"/>
                <a:gd name="T91" fmla="*/ 101 h 147"/>
                <a:gd name="T92" fmla="*/ 237 w 401"/>
                <a:gd name="T93" fmla="*/ 121 h 147"/>
                <a:gd name="T94" fmla="*/ 220 w 401"/>
                <a:gd name="T95" fmla="*/ 125 h 147"/>
                <a:gd name="T96" fmla="*/ 205 w 401"/>
                <a:gd name="T97" fmla="*/ 118 h 147"/>
                <a:gd name="T98" fmla="*/ 209 w 401"/>
                <a:gd name="T99" fmla="*/ 134 h 147"/>
                <a:gd name="T100" fmla="*/ 223 w 401"/>
                <a:gd name="T101" fmla="*/ 147 h 147"/>
                <a:gd name="T102" fmla="*/ 237 w 401"/>
                <a:gd name="T103" fmla="*/ 142 h 147"/>
                <a:gd name="T104" fmla="*/ 250 w 401"/>
                <a:gd name="T105" fmla="*/ 144 h 147"/>
                <a:gd name="T106" fmla="*/ 262 w 401"/>
                <a:gd name="T107" fmla="*/ 132 h 147"/>
                <a:gd name="T108" fmla="*/ 272 w 401"/>
                <a:gd name="T109" fmla="*/ 129 h 147"/>
                <a:gd name="T110" fmla="*/ 292 w 401"/>
                <a:gd name="T111" fmla="*/ 136 h 147"/>
                <a:gd name="T112" fmla="*/ 309 w 401"/>
                <a:gd name="T113" fmla="*/ 131 h 147"/>
                <a:gd name="T114" fmla="*/ 319 w 401"/>
                <a:gd name="T115" fmla="*/ 98 h 147"/>
                <a:gd name="T116" fmla="*/ 326 w 401"/>
                <a:gd name="T117" fmla="*/ 90 h 147"/>
                <a:gd name="T118" fmla="*/ 333 w 401"/>
                <a:gd name="T119" fmla="*/ 63 h 147"/>
                <a:gd name="T120" fmla="*/ 356 w 401"/>
                <a:gd name="T121" fmla="*/ 63 h 147"/>
                <a:gd name="T122" fmla="*/ 375 w 401"/>
                <a:gd name="T123" fmla="*/ 66 h 147"/>
                <a:gd name="T124" fmla="*/ 390 w 401"/>
                <a:gd name="T125" fmla="*/ 59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01" h="147">
                  <a:moveTo>
                    <a:pt x="20" y="18"/>
                  </a:moveTo>
                  <a:lnTo>
                    <a:pt x="3" y="8"/>
                  </a:lnTo>
                  <a:lnTo>
                    <a:pt x="0" y="11"/>
                  </a:lnTo>
                  <a:lnTo>
                    <a:pt x="5" y="22"/>
                  </a:lnTo>
                  <a:lnTo>
                    <a:pt x="3" y="39"/>
                  </a:lnTo>
                  <a:lnTo>
                    <a:pt x="11" y="51"/>
                  </a:lnTo>
                  <a:lnTo>
                    <a:pt x="14" y="71"/>
                  </a:lnTo>
                  <a:lnTo>
                    <a:pt x="28" y="88"/>
                  </a:lnTo>
                  <a:lnTo>
                    <a:pt x="30" y="99"/>
                  </a:lnTo>
                  <a:lnTo>
                    <a:pt x="56" y="118"/>
                  </a:lnTo>
                  <a:lnTo>
                    <a:pt x="76" y="136"/>
                  </a:lnTo>
                  <a:lnTo>
                    <a:pt x="91" y="134"/>
                  </a:lnTo>
                  <a:lnTo>
                    <a:pt x="91" y="126"/>
                  </a:lnTo>
                  <a:lnTo>
                    <a:pt x="83" y="106"/>
                  </a:lnTo>
                  <a:lnTo>
                    <a:pt x="74" y="99"/>
                  </a:lnTo>
                  <a:lnTo>
                    <a:pt x="72" y="84"/>
                  </a:lnTo>
                  <a:lnTo>
                    <a:pt x="70" y="77"/>
                  </a:lnTo>
                  <a:lnTo>
                    <a:pt x="72" y="65"/>
                  </a:lnTo>
                  <a:lnTo>
                    <a:pt x="70" y="50"/>
                  </a:lnTo>
                  <a:lnTo>
                    <a:pt x="61" y="34"/>
                  </a:lnTo>
                  <a:lnTo>
                    <a:pt x="48" y="20"/>
                  </a:lnTo>
                  <a:lnTo>
                    <a:pt x="42" y="17"/>
                  </a:lnTo>
                  <a:lnTo>
                    <a:pt x="37" y="27"/>
                  </a:lnTo>
                  <a:lnTo>
                    <a:pt x="23" y="30"/>
                  </a:lnTo>
                  <a:lnTo>
                    <a:pt x="20" y="18"/>
                  </a:lnTo>
                  <a:lnTo>
                    <a:pt x="20" y="18"/>
                  </a:lnTo>
                  <a:close/>
                  <a:moveTo>
                    <a:pt x="390" y="59"/>
                  </a:moveTo>
                  <a:lnTo>
                    <a:pt x="386" y="47"/>
                  </a:lnTo>
                  <a:lnTo>
                    <a:pt x="400" y="46"/>
                  </a:lnTo>
                  <a:lnTo>
                    <a:pt x="401" y="36"/>
                  </a:lnTo>
                  <a:lnTo>
                    <a:pt x="383" y="29"/>
                  </a:lnTo>
                  <a:lnTo>
                    <a:pt x="369" y="22"/>
                  </a:lnTo>
                  <a:lnTo>
                    <a:pt x="367" y="12"/>
                  </a:lnTo>
                  <a:lnTo>
                    <a:pt x="356" y="0"/>
                  </a:lnTo>
                  <a:lnTo>
                    <a:pt x="347" y="0"/>
                  </a:lnTo>
                  <a:lnTo>
                    <a:pt x="337" y="19"/>
                  </a:lnTo>
                  <a:lnTo>
                    <a:pt x="323" y="36"/>
                  </a:lnTo>
                  <a:lnTo>
                    <a:pt x="323" y="47"/>
                  </a:lnTo>
                  <a:lnTo>
                    <a:pt x="322" y="63"/>
                  </a:lnTo>
                  <a:lnTo>
                    <a:pt x="311" y="62"/>
                  </a:lnTo>
                  <a:lnTo>
                    <a:pt x="308" y="70"/>
                  </a:lnTo>
                  <a:lnTo>
                    <a:pt x="297" y="58"/>
                  </a:lnTo>
                  <a:lnTo>
                    <a:pt x="288" y="73"/>
                  </a:lnTo>
                  <a:lnTo>
                    <a:pt x="274" y="92"/>
                  </a:lnTo>
                  <a:lnTo>
                    <a:pt x="249" y="96"/>
                  </a:lnTo>
                  <a:lnTo>
                    <a:pt x="239" y="101"/>
                  </a:lnTo>
                  <a:lnTo>
                    <a:pt x="237" y="121"/>
                  </a:lnTo>
                  <a:lnTo>
                    <a:pt x="220" y="125"/>
                  </a:lnTo>
                  <a:lnTo>
                    <a:pt x="205" y="118"/>
                  </a:lnTo>
                  <a:lnTo>
                    <a:pt x="209" y="134"/>
                  </a:lnTo>
                  <a:lnTo>
                    <a:pt x="223" y="147"/>
                  </a:lnTo>
                  <a:lnTo>
                    <a:pt x="237" y="142"/>
                  </a:lnTo>
                  <a:lnTo>
                    <a:pt x="250" y="144"/>
                  </a:lnTo>
                  <a:lnTo>
                    <a:pt x="262" y="132"/>
                  </a:lnTo>
                  <a:lnTo>
                    <a:pt x="272" y="129"/>
                  </a:lnTo>
                  <a:lnTo>
                    <a:pt x="292" y="136"/>
                  </a:lnTo>
                  <a:lnTo>
                    <a:pt x="309" y="131"/>
                  </a:lnTo>
                  <a:lnTo>
                    <a:pt x="319" y="98"/>
                  </a:lnTo>
                  <a:lnTo>
                    <a:pt x="326" y="90"/>
                  </a:lnTo>
                  <a:lnTo>
                    <a:pt x="333" y="63"/>
                  </a:lnTo>
                  <a:lnTo>
                    <a:pt x="356" y="63"/>
                  </a:lnTo>
                  <a:lnTo>
                    <a:pt x="375" y="66"/>
                  </a:lnTo>
                  <a:lnTo>
                    <a:pt x="390" y="59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8" name="Namibia">
              <a:extLst>
                <a:ext uri="{FF2B5EF4-FFF2-40B4-BE49-F238E27FC236}">
                  <a16:creationId xmlns:a16="http://schemas.microsoft.com/office/drawing/2014/main" id="{8A107BED-D192-4092-B7D3-4142B8F04B8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0956" y="4701947"/>
              <a:ext cx="439737" cy="455613"/>
            </a:xfrm>
            <a:custGeom>
              <a:avLst/>
              <a:gdLst>
                <a:gd name="T0" fmla="*/ 238 w 277"/>
                <a:gd name="T1" fmla="*/ 14 h 287"/>
                <a:gd name="T2" fmla="*/ 199 w 277"/>
                <a:gd name="T3" fmla="*/ 23 h 287"/>
                <a:gd name="T4" fmla="*/ 150 w 277"/>
                <a:gd name="T5" fmla="*/ 19 h 287"/>
                <a:gd name="T6" fmla="*/ 136 w 277"/>
                <a:gd name="T7" fmla="*/ 8 h 287"/>
                <a:gd name="T8" fmla="*/ 52 w 277"/>
                <a:gd name="T9" fmla="*/ 9 h 287"/>
                <a:gd name="T10" fmla="*/ 48 w 277"/>
                <a:gd name="T11" fmla="*/ 11 h 287"/>
                <a:gd name="T12" fmla="*/ 37 w 277"/>
                <a:gd name="T13" fmla="*/ 0 h 287"/>
                <a:gd name="T14" fmla="*/ 23 w 277"/>
                <a:gd name="T15" fmla="*/ 0 h 287"/>
                <a:gd name="T16" fmla="*/ 10 w 277"/>
                <a:gd name="T17" fmla="*/ 3 h 287"/>
                <a:gd name="T18" fmla="*/ 0 w 277"/>
                <a:gd name="T19" fmla="*/ 8 h 287"/>
                <a:gd name="T20" fmla="*/ 1 w 277"/>
                <a:gd name="T21" fmla="*/ 26 h 287"/>
                <a:gd name="T22" fmla="*/ 18 w 277"/>
                <a:gd name="T23" fmla="*/ 49 h 287"/>
                <a:gd name="T24" fmla="*/ 22 w 277"/>
                <a:gd name="T25" fmla="*/ 64 h 287"/>
                <a:gd name="T26" fmla="*/ 32 w 277"/>
                <a:gd name="T27" fmla="*/ 93 h 287"/>
                <a:gd name="T28" fmla="*/ 42 w 277"/>
                <a:gd name="T29" fmla="*/ 113 h 287"/>
                <a:gd name="T30" fmla="*/ 50 w 277"/>
                <a:gd name="T31" fmla="*/ 122 h 287"/>
                <a:gd name="T32" fmla="*/ 52 w 277"/>
                <a:gd name="T33" fmla="*/ 135 h 287"/>
                <a:gd name="T34" fmla="*/ 52 w 277"/>
                <a:gd name="T35" fmla="*/ 164 h 287"/>
                <a:gd name="T36" fmla="*/ 58 w 277"/>
                <a:gd name="T37" fmla="*/ 200 h 287"/>
                <a:gd name="T38" fmla="*/ 63 w 277"/>
                <a:gd name="T39" fmla="*/ 217 h 287"/>
                <a:gd name="T40" fmla="*/ 66 w 277"/>
                <a:gd name="T41" fmla="*/ 241 h 287"/>
                <a:gd name="T42" fmla="*/ 74 w 277"/>
                <a:gd name="T43" fmla="*/ 258 h 287"/>
                <a:gd name="T44" fmla="*/ 88 w 277"/>
                <a:gd name="T45" fmla="*/ 276 h 287"/>
                <a:gd name="T46" fmla="*/ 98 w 277"/>
                <a:gd name="T47" fmla="*/ 264 h 287"/>
                <a:gd name="T48" fmla="*/ 106 w 277"/>
                <a:gd name="T49" fmla="*/ 270 h 287"/>
                <a:gd name="T50" fmla="*/ 109 w 277"/>
                <a:gd name="T51" fmla="*/ 281 h 287"/>
                <a:gd name="T52" fmla="*/ 118 w 277"/>
                <a:gd name="T53" fmla="*/ 283 h 287"/>
                <a:gd name="T54" fmla="*/ 130 w 277"/>
                <a:gd name="T55" fmla="*/ 287 h 287"/>
                <a:gd name="T56" fmla="*/ 141 w 277"/>
                <a:gd name="T57" fmla="*/ 285 h 287"/>
                <a:gd name="T58" fmla="*/ 160 w 277"/>
                <a:gd name="T59" fmla="*/ 273 h 287"/>
                <a:gd name="T60" fmla="*/ 164 w 277"/>
                <a:gd name="T61" fmla="*/ 186 h 287"/>
                <a:gd name="T62" fmla="*/ 166 w 277"/>
                <a:gd name="T63" fmla="*/ 116 h 287"/>
                <a:gd name="T64" fmla="*/ 186 w 277"/>
                <a:gd name="T65" fmla="*/ 115 h 287"/>
                <a:gd name="T66" fmla="*/ 190 w 277"/>
                <a:gd name="T67" fmla="*/ 31 h 287"/>
                <a:gd name="T68" fmla="*/ 205 w 277"/>
                <a:gd name="T69" fmla="*/ 30 h 287"/>
                <a:gd name="T70" fmla="*/ 237 w 277"/>
                <a:gd name="T71" fmla="*/ 22 h 287"/>
                <a:gd name="T72" fmla="*/ 245 w 277"/>
                <a:gd name="T73" fmla="*/ 31 h 287"/>
                <a:gd name="T74" fmla="*/ 259 w 277"/>
                <a:gd name="T75" fmla="*/ 22 h 287"/>
                <a:gd name="T76" fmla="*/ 264 w 277"/>
                <a:gd name="T77" fmla="*/ 22 h 287"/>
                <a:gd name="T78" fmla="*/ 277 w 277"/>
                <a:gd name="T79" fmla="*/ 17 h 287"/>
                <a:gd name="T80" fmla="*/ 277 w 277"/>
                <a:gd name="T81" fmla="*/ 15 h 287"/>
                <a:gd name="T82" fmla="*/ 268 w 277"/>
                <a:gd name="T83" fmla="*/ 9 h 287"/>
                <a:gd name="T84" fmla="*/ 255 w 277"/>
                <a:gd name="T85" fmla="*/ 8 h 287"/>
                <a:gd name="T86" fmla="*/ 238 w 277"/>
                <a:gd name="T87" fmla="*/ 14 h 287"/>
                <a:gd name="T88" fmla="*/ 238 w 277"/>
                <a:gd name="T89" fmla="*/ 14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77" h="287">
                  <a:moveTo>
                    <a:pt x="238" y="14"/>
                  </a:moveTo>
                  <a:lnTo>
                    <a:pt x="199" y="23"/>
                  </a:lnTo>
                  <a:lnTo>
                    <a:pt x="150" y="19"/>
                  </a:lnTo>
                  <a:lnTo>
                    <a:pt x="136" y="8"/>
                  </a:lnTo>
                  <a:lnTo>
                    <a:pt x="52" y="9"/>
                  </a:lnTo>
                  <a:lnTo>
                    <a:pt x="48" y="11"/>
                  </a:lnTo>
                  <a:lnTo>
                    <a:pt x="37" y="0"/>
                  </a:lnTo>
                  <a:lnTo>
                    <a:pt x="23" y="0"/>
                  </a:lnTo>
                  <a:lnTo>
                    <a:pt x="10" y="3"/>
                  </a:lnTo>
                  <a:lnTo>
                    <a:pt x="0" y="8"/>
                  </a:lnTo>
                  <a:lnTo>
                    <a:pt x="1" y="26"/>
                  </a:lnTo>
                  <a:lnTo>
                    <a:pt x="18" y="49"/>
                  </a:lnTo>
                  <a:lnTo>
                    <a:pt x="22" y="64"/>
                  </a:lnTo>
                  <a:lnTo>
                    <a:pt x="32" y="93"/>
                  </a:lnTo>
                  <a:lnTo>
                    <a:pt x="42" y="113"/>
                  </a:lnTo>
                  <a:lnTo>
                    <a:pt x="50" y="122"/>
                  </a:lnTo>
                  <a:lnTo>
                    <a:pt x="52" y="135"/>
                  </a:lnTo>
                  <a:lnTo>
                    <a:pt x="52" y="164"/>
                  </a:lnTo>
                  <a:lnTo>
                    <a:pt x="58" y="200"/>
                  </a:lnTo>
                  <a:lnTo>
                    <a:pt x="63" y="217"/>
                  </a:lnTo>
                  <a:lnTo>
                    <a:pt x="66" y="241"/>
                  </a:lnTo>
                  <a:lnTo>
                    <a:pt x="74" y="258"/>
                  </a:lnTo>
                  <a:lnTo>
                    <a:pt x="88" y="276"/>
                  </a:lnTo>
                  <a:lnTo>
                    <a:pt x="98" y="264"/>
                  </a:lnTo>
                  <a:lnTo>
                    <a:pt x="106" y="270"/>
                  </a:lnTo>
                  <a:lnTo>
                    <a:pt x="109" y="281"/>
                  </a:lnTo>
                  <a:lnTo>
                    <a:pt x="118" y="283"/>
                  </a:lnTo>
                  <a:lnTo>
                    <a:pt x="130" y="287"/>
                  </a:lnTo>
                  <a:lnTo>
                    <a:pt x="141" y="285"/>
                  </a:lnTo>
                  <a:lnTo>
                    <a:pt x="160" y="273"/>
                  </a:lnTo>
                  <a:lnTo>
                    <a:pt x="164" y="186"/>
                  </a:lnTo>
                  <a:lnTo>
                    <a:pt x="166" y="116"/>
                  </a:lnTo>
                  <a:lnTo>
                    <a:pt x="186" y="115"/>
                  </a:lnTo>
                  <a:lnTo>
                    <a:pt x="190" y="31"/>
                  </a:lnTo>
                  <a:lnTo>
                    <a:pt x="205" y="30"/>
                  </a:lnTo>
                  <a:lnTo>
                    <a:pt x="237" y="22"/>
                  </a:lnTo>
                  <a:lnTo>
                    <a:pt x="245" y="31"/>
                  </a:lnTo>
                  <a:lnTo>
                    <a:pt x="259" y="22"/>
                  </a:lnTo>
                  <a:lnTo>
                    <a:pt x="264" y="22"/>
                  </a:lnTo>
                  <a:lnTo>
                    <a:pt x="277" y="17"/>
                  </a:lnTo>
                  <a:lnTo>
                    <a:pt x="277" y="15"/>
                  </a:lnTo>
                  <a:lnTo>
                    <a:pt x="268" y="9"/>
                  </a:lnTo>
                  <a:lnTo>
                    <a:pt x="255" y="8"/>
                  </a:lnTo>
                  <a:lnTo>
                    <a:pt x="238" y="14"/>
                  </a:lnTo>
                  <a:lnTo>
                    <a:pt x="238" y="14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9" name="Niger">
              <a:extLst>
                <a:ext uri="{FF2B5EF4-FFF2-40B4-BE49-F238E27FC236}">
                  <a16:creationId xmlns:a16="http://schemas.microsoft.com/office/drawing/2014/main" id="{01226ACA-FCDB-493C-8F99-00B484212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4719" y="3176361"/>
              <a:ext cx="511175" cy="446088"/>
            </a:xfrm>
            <a:custGeom>
              <a:avLst/>
              <a:gdLst>
                <a:gd name="T0" fmla="*/ 273 w 322"/>
                <a:gd name="T1" fmla="*/ 10 h 281"/>
                <a:gd name="T2" fmla="*/ 240 w 322"/>
                <a:gd name="T3" fmla="*/ 0 h 281"/>
                <a:gd name="T4" fmla="*/ 171 w 322"/>
                <a:gd name="T5" fmla="*/ 46 h 281"/>
                <a:gd name="T6" fmla="*/ 111 w 322"/>
                <a:gd name="T7" fmla="*/ 92 h 281"/>
                <a:gd name="T8" fmla="*/ 82 w 322"/>
                <a:gd name="T9" fmla="*/ 103 h 281"/>
                <a:gd name="T10" fmla="*/ 83 w 322"/>
                <a:gd name="T11" fmla="*/ 158 h 281"/>
                <a:gd name="T12" fmla="*/ 72 w 322"/>
                <a:gd name="T13" fmla="*/ 174 h 281"/>
                <a:gd name="T14" fmla="*/ 70 w 322"/>
                <a:gd name="T15" fmla="*/ 188 h 281"/>
                <a:gd name="T16" fmla="*/ 51 w 322"/>
                <a:gd name="T17" fmla="*/ 191 h 281"/>
                <a:gd name="T18" fmla="*/ 23 w 322"/>
                <a:gd name="T19" fmla="*/ 194 h 281"/>
                <a:gd name="T20" fmla="*/ 16 w 322"/>
                <a:gd name="T21" fmla="*/ 203 h 281"/>
                <a:gd name="T22" fmla="*/ 2 w 322"/>
                <a:gd name="T23" fmla="*/ 204 h 281"/>
                <a:gd name="T24" fmla="*/ 0 w 322"/>
                <a:gd name="T25" fmla="*/ 215 h 281"/>
                <a:gd name="T26" fmla="*/ 3 w 322"/>
                <a:gd name="T27" fmla="*/ 226 h 281"/>
                <a:gd name="T28" fmla="*/ 15 w 322"/>
                <a:gd name="T29" fmla="*/ 241 h 281"/>
                <a:gd name="T30" fmla="*/ 16 w 322"/>
                <a:gd name="T31" fmla="*/ 253 h 281"/>
                <a:gd name="T32" fmla="*/ 39 w 322"/>
                <a:gd name="T33" fmla="*/ 258 h 281"/>
                <a:gd name="T34" fmla="*/ 39 w 322"/>
                <a:gd name="T35" fmla="*/ 274 h 281"/>
                <a:gd name="T36" fmla="*/ 46 w 322"/>
                <a:gd name="T37" fmla="*/ 267 h 281"/>
                <a:gd name="T38" fmla="*/ 53 w 322"/>
                <a:gd name="T39" fmla="*/ 267 h 281"/>
                <a:gd name="T40" fmla="*/ 70 w 322"/>
                <a:gd name="T41" fmla="*/ 281 h 281"/>
                <a:gd name="T42" fmla="*/ 71 w 322"/>
                <a:gd name="T43" fmla="*/ 260 h 281"/>
                <a:gd name="T44" fmla="*/ 77 w 322"/>
                <a:gd name="T45" fmla="*/ 250 h 281"/>
                <a:gd name="T46" fmla="*/ 79 w 322"/>
                <a:gd name="T47" fmla="*/ 236 h 281"/>
                <a:gd name="T48" fmla="*/ 85 w 322"/>
                <a:gd name="T49" fmla="*/ 232 h 281"/>
                <a:gd name="T50" fmla="*/ 107 w 322"/>
                <a:gd name="T51" fmla="*/ 229 h 281"/>
                <a:gd name="T52" fmla="*/ 128 w 322"/>
                <a:gd name="T53" fmla="*/ 237 h 281"/>
                <a:gd name="T54" fmla="*/ 136 w 322"/>
                <a:gd name="T55" fmla="*/ 246 h 281"/>
                <a:gd name="T56" fmla="*/ 147 w 322"/>
                <a:gd name="T57" fmla="*/ 246 h 281"/>
                <a:gd name="T58" fmla="*/ 157 w 322"/>
                <a:gd name="T59" fmla="*/ 241 h 281"/>
                <a:gd name="T60" fmla="*/ 182 w 322"/>
                <a:gd name="T61" fmla="*/ 253 h 281"/>
                <a:gd name="T62" fmla="*/ 192 w 322"/>
                <a:gd name="T63" fmla="*/ 253 h 281"/>
                <a:gd name="T64" fmla="*/ 205 w 322"/>
                <a:gd name="T65" fmla="*/ 243 h 281"/>
                <a:gd name="T66" fmla="*/ 218 w 322"/>
                <a:gd name="T67" fmla="*/ 244 h 281"/>
                <a:gd name="T68" fmla="*/ 223 w 322"/>
                <a:gd name="T69" fmla="*/ 240 h 281"/>
                <a:gd name="T70" fmla="*/ 234 w 322"/>
                <a:gd name="T71" fmla="*/ 242 h 281"/>
                <a:gd name="T72" fmla="*/ 250 w 322"/>
                <a:gd name="T73" fmla="*/ 248 h 281"/>
                <a:gd name="T74" fmla="*/ 266 w 322"/>
                <a:gd name="T75" fmla="*/ 235 h 281"/>
                <a:gd name="T76" fmla="*/ 272 w 322"/>
                <a:gd name="T77" fmla="*/ 236 h 281"/>
                <a:gd name="T78" fmla="*/ 286 w 322"/>
                <a:gd name="T79" fmla="*/ 262 h 281"/>
                <a:gd name="T80" fmla="*/ 289 w 322"/>
                <a:gd name="T81" fmla="*/ 261 h 281"/>
                <a:gd name="T82" fmla="*/ 290 w 322"/>
                <a:gd name="T83" fmla="*/ 254 h 281"/>
                <a:gd name="T84" fmla="*/ 296 w 322"/>
                <a:gd name="T85" fmla="*/ 252 h 281"/>
                <a:gd name="T86" fmla="*/ 298 w 322"/>
                <a:gd name="T87" fmla="*/ 242 h 281"/>
                <a:gd name="T88" fmla="*/ 285 w 322"/>
                <a:gd name="T89" fmla="*/ 241 h 281"/>
                <a:gd name="T90" fmla="*/ 285 w 322"/>
                <a:gd name="T91" fmla="*/ 225 h 281"/>
                <a:gd name="T92" fmla="*/ 275 w 322"/>
                <a:gd name="T93" fmla="*/ 217 h 281"/>
                <a:gd name="T94" fmla="*/ 285 w 322"/>
                <a:gd name="T95" fmla="*/ 186 h 281"/>
                <a:gd name="T96" fmla="*/ 310 w 322"/>
                <a:gd name="T97" fmla="*/ 163 h 281"/>
                <a:gd name="T98" fmla="*/ 311 w 322"/>
                <a:gd name="T99" fmla="*/ 132 h 281"/>
                <a:gd name="T100" fmla="*/ 317 w 322"/>
                <a:gd name="T101" fmla="*/ 84 h 281"/>
                <a:gd name="T102" fmla="*/ 322 w 322"/>
                <a:gd name="T103" fmla="*/ 74 h 281"/>
                <a:gd name="T104" fmla="*/ 313 w 322"/>
                <a:gd name="T105" fmla="*/ 65 h 281"/>
                <a:gd name="T106" fmla="*/ 313 w 322"/>
                <a:gd name="T107" fmla="*/ 58 h 281"/>
                <a:gd name="T108" fmla="*/ 305 w 322"/>
                <a:gd name="T109" fmla="*/ 51 h 281"/>
                <a:gd name="T110" fmla="*/ 299 w 322"/>
                <a:gd name="T111" fmla="*/ 15 h 281"/>
                <a:gd name="T112" fmla="*/ 285 w 322"/>
                <a:gd name="T113" fmla="*/ 23 h 281"/>
                <a:gd name="T114" fmla="*/ 273 w 322"/>
                <a:gd name="T115" fmla="*/ 10 h 281"/>
                <a:gd name="T116" fmla="*/ 273 w 322"/>
                <a:gd name="T117" fmla="*/ 10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22" h="281">
                  <a:moveTo>
                    <a:pt x="273" y="10"/>
                  </a:moveTo>
                  <a:lnTo>
                    <a:pt x="240" y="0"/>
                  </a:lnTo>
                  <a:lnTo>
                    <a:pt x="171" y="46"/>
                  </a:lnTo>
                  <a:lnTo>
                    <a:pt x="111" y="92"/>
                  </a:lnTo>
                  <a:lnTo>
                    <a:pt x="82" y="103"/>
                  </a:lnTo>
                  <a:lnTo>
                    <a:pt x="83" y="158"/>
                  </a:lnTo>
                  <a:lnTo>
                    <a:pt x="72" y="174"/>
                  </a:lnTo>
                  <a:lnTo>
                    <a:pt x="70" y="188"/>
                  </a:lnTo>
                  <a:lnTo>
                    <a:pt x="51" y="191"/>
                  </a:lnTo>
                  <a:lnTo>
                    <a:pt x="23" y="194"/>
                  </a:lnTo>
                  <a:lnTo>
                    <a:pt x="16" y="203"/>
                  </a:lnTo>
                  <a:lnTo>
                    <a:pt x="2" y="204"/>
                  </a:lnTo>
                  <a:lnTo>
                    <a:pt x="0" y="215"/>
                  </a:lnTo>
                  <a:lnTo>
                    <a:pt x="3" y="226"/>
                  </a:lnTo>
                  <a:lnTo>
                    <a:pt x="15" y="241"/>
                  </a:lnTo>
                  <a:lnTo>
                    <a:pt x="16" y="253"/>
                  </a:lnTo>
                  <a:lnTo>
                    <a:pt x="39" y="258"/>
                  </a:lnTo>
                  <a:lnTo>
                    <a:pt x="39" y="274"/>
                  </a:lnTo>
                  <a:lnTo>
                    <a:pt x="46" y="267"/>
                  </a:lnTo>
                  <a:lnTo>
                    <a:pt x="53" y="267"/>
                  </a:lnTo>
                  <a:lnTo>
                    <a:pt x="70" y="281"/>
                  </a:lnTo>
                  <a:lnTo>
                    <a:pt x="71" y="260"/>
                  </a:lnTo>
                  <a:lnTo>
                    <a:pt x="77" y="250"/>
                  </a:lnTo>
                  <a:lnTo>
                    <a:pt x="79" y="236"/>
                  </a:lnTo>
                  <a:lnTo>
                    <a:pt x="85" y="232"/>
                  </a:lnTo>
                  <a:lnTo>
                    <a:pt x="107" y="229"/>
                  </a:lnTo>
                  <a:lnTo>
                    <a:pt x="128" y="237"/>
                  </a:lnTo>
                  <a:lnTo>
                    <a:pt x="136" y="246"/>
                  </a:lnTo>
                  <a:lnTo>
                    <a:pt x="147" y="246"/>
                  </a:lnTo>
                  <a:lnTo>
                    <a:pt x="157" y="241"/>
                  </a:lnTo>
                  <a:lnTo>
                    <a:pt x="182" y="253"/>
                  </a:lnTo>
                  <a:lnTo>
                    <a:pt x="192" y="253"/>
                  </a:lnTo>
                  <a:lnTo>
                    <a:pt x="205" y="243"/>
                  </a:lnTo>
                  <a:lnTo>
                    <a:pt x="218" y="244"/>
                  </a:lnTo>
                  <a:lnTo>
                    <a:pt x="223" y="240"/>
                  </a:lnTo>
                  <a:lnTo>
                    <a:pt x="234" y="242"/>
                  </a:lnTo>
                  <a:lnTo>
                    <a:pt x="250" y="248"/>
                  </a:lnTo>
                  <a:lnTo>
                    <a:pt x="266" y="235"/>
                  </a:lnTo>
                  <a:lnTo>
                    <a:pt x="272" y="236"/>
                  </a:lnTo>
                  <a:lnTo>
                    <a:pt x="286" y="262"/>
                  </a:lnTo>
                  <a:lnTo>
                    <a:pt x="289" y="261"/>
                  </a:lnTo>
                  <a:lnTo>
                    <a:pt x="290" y="254"/>
                  </a:lnTo>
                  <a:lnTo>
                    <a:pt x="296" y="252"/>
                  </a:lnTo>
                  <a:lnTo>
                    <a:pt x="298" y="242"/>
                  </a:lnTo>
                  <a:lnTo>
                    <a:pt x="285" y="241"/>
                  </a:lnTo>
                  <a:lnTo>
                    <a:pt x="285" y="225"/>
                  </a:lnTo>
                  <a:lnTo>
                    <a:pt x="275" y="217"/>
                  </a:lnTo>
                  <a:lnTo>
                    <a:pt x="285" y="186"/>
                  </a:lnTo>
                  <a:lnTo>
                    <a:pt x="310" y="163"/>
                  </a:lnTo>
                  <a:lnTo>
                    <a:pt x="311" y="132"/>
                  </a:lnTo>
                  <a:lnTo>
                    <a:pt x="317" y="84"/>
                  </a:lnTo>
                  <a:lnTo>
                    <a:pt x="322" y="74"/>
                  </a:lnTo>
                  <a:lnTo>
                    <a:pt x="313" y="65"/>
                  </a:lnTo>
                  <a:lnTo>
                    <a:pt x="313" y="58"/>
                  </a:lnTo>
                  <a:lnTo>
                    <a:pt x="305" y="51"/>
                  </a:lnTo>
                  <a:lnTo>
                    <a:pt x="299" y="15"/>
                  </a:lnTo>
                  <a:lnTo>
                    <a:pt x="285" y="23"/>
                  </a:lnTo>
                  <a:lnTo>
                    <a:pt x="273" y="10"/>
                  </a:lnTo>
                  <a:lnTo>
                    <a:pt x="273" y="1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0" name="Nigeria">
              <a:extLst>
                <a:ext uri="{FF2B5EF4-FFF2-40B4-BE49-F238E27FC236}">
                  <a16:creationId xmlns:a16="http://schemas.microsoft.com/office/drawing/2014/main" id="{F6C16CCC-A1B3-4C74-AC4F-DDD73135039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4094" y="3539898"/>
              <a:ext cx="393700" cy="361950"/>
            </a:xfrm>
            <a:custGeom>
              <a:avLst/>
              <a:gdLst>
                <a:gd name="T0" fmla="*/ 239 w 248"/>
                <a:gd name="T1" fmla="*/ 32 h 228"/>
                <a:gd name="T2" fmla="*/ 236 w 248"/>
                <a:gd name="T3" fmla="*/ 33 h 228"/>
                <a:gd name="T4" fmla="*/ 222 w 248"/>
                <a:gd name="T5" fmla="*/ 7 h 228"/>
                <a:gd name="T6" fmla="*/ 216 w 248"/>
                <a:gd name="T7" fmla="*/ 6 h 228"/>
                <a:gd name="T8" fmla="*/ 200 w 248"/>
                <a:gd name="T9" fmla="*/ 19 h 228"/>
                <a:gd name="T10" fmla="*/ 184 w 248"/>
                <a:gd name="T11" fmla="*/ 13 h 228"/>
                <a:gd name="T12" fmla="*/ 173 w 248"/>
                <a:gd name="T13" fmla="*/ 11 h 228"/>
                <a:gd name="T14" fmla="*/ 168 w 248"/>
                <a:gd name="T15" fmla="*/ 15 h 228"/>
                <a:gd name="T16" fmla="*/ 155 w 248"/>
                <a:gd name="T17" fmla="*/ 14 h 228"/>
                <a:gd name="T18" fmla="*/ 142 w 248"/>
                <a:gd name="T19" fmla="*/ 24 h 228"/>
                <a:gd name="T20" fmla="*/ 132 w 248"/>
                <a:gd name="T21" fmla="*/ 24 h 228"/>
                <a:gd name="T22" fmla="*/ 107 w 248"/>
                <a:gd name="T23" fmla="*/ 12 h 228"/>
                <a:gd name="T24" fmla="*/ 97 w 248"/>
                <a:gd name="T25" fmla="*/ 17 h 228"/>
                <a:gd name="T26" fmla="*/ 86 w 248"/>
                <a:gd name="T27" fmla="*/ 17 h 228"/>
                <a:gd name="T28" fmla="*/ 78 w 248"/>
                <a:gd name="T29" fmla="*/ 8 h 228"/>
                <a:gd name="T30" fmla="*/ 57 w 248"/>
                <a:gd name="T31" fmla="*/ 0 h 228"/>
                <a:gd name="T32" fmla="*/ 35 w 248"/>
                <a:gd name="T33" fmla="*/ 3 h 228"/>
                <a:gd name="T34" fmla="*/ 29 w 248"/>
                <a:gd name="T35" fmla="*/ 7 h 228"/>
                <a:gd name="T36" fmla="*/ 27 w 248"/>
                <a:gd name="T37" fmla="*/ 21 h 228"/>
                <a:gd name="T38" fmla="*/ 21 w 248"/>
                <a:gd name="T39" fmla="*/ 31 h 228"/>
                <a:gd name="T40" fmla="*/ 20 w 248"/>
                <a:gd name="T41" fmla="*/ 52 h 228"/>
                <a:gd name="T42" fmla="*/ 19 w 248"/>
                <a:gd name="T43" fmla="*/ 59 h 228"/>
                <a:gd name="T44" fmla="*/ 24 w 248"/>
                <a:gd name="T45" fmla="*/ 74 h 228"/>
                <a:gd name="T46" fmla="*/ 19 w 248"/>
                <a:gd name="T47" fmla="*/ 84 h 228"/>
                <a:gd name="T48" fmla="*/ 22 w 248"/>
                <a:gd name="T49" fmla="*/ 89 h 228"/>
                <a:gd name="T50" fmla="*/ 12 w 248"/>
                <a:gd name="T51" fmla="*/ 104 h 228"/>
                <a:gd name="T52" fmla="*/ 5 w 248"/>
                <a:gd name="T53" fmla="*/ 112 h 228"/>
                <a:gd name="T54" fmla="*/ 1 w 248"/>
                <a:gd name="T55" fmla="*/ 127 h 228"/>
                <a:gd name="T56" fmla="*/ 1 w 248"/>
                <a:gd name="T57" fmla="*/ 142 h 228"/>
                <a:gd name="T58" fmla="*/ 0 w 248"/>
                <a:gd name="T59" fmla="*/ 180 h 228"/>
                <a:gd name="T60" fmla="*/ 19 w 248"/>
                <a:gd name="T61" fmla="*/ 180 h 228"/>
                <a:gd name="T62" fmla="*/ 35 w 248"/>
                <a:gd name="T63" fmla="*/ 180 h 228"/>
                <a:gd name="T64" fmla="*/ 50 w 248"/>
                <a:gd name="T65" fmla="*/ 196 h 228"/>
                <a:gd name="T66" fmla="*/ 56 w 248"/>
                <a:gd name="T67" fmla="*/ 213 h 228"/>
                <a:gd name="T68" fmla="*/ 68 w 248"/>
                <a:gd name="T69" fmla="*/ 228 h 228"/>
                <a:gd name="T70" fmla="*/ 84 w 248"/>
                <a:gd name="T71" fmla="*/ 228 h 228"/>
                <a:gd name="T72" fmla="*/ 93 w 248"/>
                <a:gd name="T73" fmla="*/ 223 h 228"/>
                <a:gd name="T74" fmla="*/ 100 w 248"/>
                <a:gd name="T75" fmla="*/ 224 h 228"/>
                <a:gd name="T76" fmla="*/ 123 w 248"/>
                <a:gd name="T77" fmla="*/ 215 h 228"/>
                <a:gd name="T78" fmla="*/ 127 w 248"/>
                <a:gd name="T79" fmla="*/ 199 h 228"/>
                <a:gd name="T80" fmla="*/ 138 w 248"/>
                <a:gd name="T81" fmla="*/ 176 h 228"/>
                <a:gd name="T82" fmla="*/ 143 w 248"/>
                <a:gd name="T83" fmla="*/ 175 h 228"/>
                <a:gd name="T84" fmla="*/ 156 w 248"/>
                <a:gd name="T85" fmla="*/ 162 h 228"/>
                <a:gd name="T86" fmla="*/ 164 w 248"/>
                <a:gd name="T87" fmla="*/ 161 h 228"/>
                <a:gd name="T88" fmla="*/ 176 w 248"/>
                <a:gd name="T89" fmla="*/ 172 h 228"/>
                <a:gd name="T90" fmla="*/ 190 w 248"/>
                <a:gd name="T91" fmla="*/ 163 h 228"/>
                <a:gd name="T92" fmla="*/ 192 w 248"/>
                <a:gd name="T93" fmla="*/ 153 h 228"/>
                <a:gd name="T94" fmla="*/ 197 w 248"/>
                <a:gd name="T95" fmla="*/ 143 h 228"/>
                <a:gd name="T96" fmla="*/ 199 w 248"/>
                <a:gd name="T97" fmla="*/ 131 h 228"/>
                <a:gd name="T98" fmla="*/ 211 w 248"/>
                <a:gd name="T99" fmla="*/ 122 h 228"/>
                <a:gd name="T100" fmla="*/ 215 w 248"/>
                <a:gd name="T101" fmla="*/ 105 h 228"/>
                <a:gd name="T102" fmla="*/ 220 w 248"/>
                <a:gd name="T103" fmla="*/ 100 h 228"/>
                <a:gd name="T104" fmla="*/ 222 w 248"/>
                <a:gd name="T105" fmla="*/ 87 h 228"/>
                <a:gd name="T106" fmla="*/ 227 w 248"/>
                <a:gd name="T107" fmla="*/ 73 h 228"/>
                <a:gd name="T108" fmla="*/ 245 w 248"/>
                <a:gd name="T109" fmla="*/ 54 h 228"/>
                <a:gd name="T110" fmla="*/ 246 w 248"/>
                <a:gd name="T111" fmla="*/ 46 h 228"/>
                <a:gd name="T112" fmla="*/ 248 w 248"/>
                <a:gd name="T113" fmla="*/ 42 h 228"/>
                <a:gd name="T114" fmla="*/ 239 w 248"/>
                <a:gd name="T115" fmla="*/ 32 h 228"/>
                <a:gd name="T116" fmla="*/ 239 w 248"/>
                <a:gd name="T117" fmla="*/ 3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48" h="228">
                  <a:moveTo>
                    <a:pt x="239" y="32"/>
                  </a:moveTo>
                  <a:lnTo>
                    <a:pt x="236" y="33"/>
                  </a:lnTo>
                  <a:lnTo>
                    <a:pt x="222" y="7"/>
                  </a:lnTo>
                  <a:lnTo>
                    <a:pt x="216" y="6"/>
                  </a:lnTo>
                  <a:lnTo>
                    <a:pt x="200" y="19"/>
                  </a:lnTo>
                  <a:lnTo>
                    <a:pt x="184" y="13"/>
                  </a:lnTo>
                  <a:lnTo>
                    <a:pt x="173" y="11"/>
                  </a:lnTo>
                  <a:lnTo>
                    <a:pt x="168" y="15"/>
                  </a:lnTo>
                  <a:lnTo>
                    <a:pt x="155" y="14"/>
                  </a:lnTo>
                  <a:lnTo>
                    <a:pt x="142" y="24"/>
                  </a:lnTo>
                  <a:lnTo>
                    <a:pt x="132" y="24"/>
                  </a:lnTo>
                  <a:lnTo>
                    <a:pt x="107" y="12"/>
                  </a:lnTo>
                  <a:lnTo>
                    <a:pt x="97" y="17"/>
                  </a:lnTo>
                  <a:lnTo>
                    <a:pt x="86" y="17"/>
                  </a:lnTo>
                  <a:lnTo>
                    <a:pt x="78" y="8"/>
                  </a:lnTo>
                  <a:lnTo>
                    <a:pt x="57" y="0"/>
                  </a:lnTo>
                  <a:lnTo>
                    <a:pt x="35" y="3"/>
                  </a:lnTo>
                  <a:lnTo>
                    <a:pt x="29" y="7"/>
                  </a:lnTo>
                  <a:lnTo>
                    <a:pt x="27" y="21"/>
                  </a:lnTo>
                  <a:lnTo>
                    <a:pt x="21" y="31"/>
                  </a:lnTo>
                  <a:lnTo>
                    <a:pt x="20" y="52"/>
                  </a:lnTo>
                  <a:lnTo>
                    <a:pt x="19" y="59"/>
                  </a:lnTo>
                  <a:lnTo>
                    <a:pt x="24" y="74"/>
                  </a:lnTo>
                  <a:lnTo>
                    <a:pt x="19" y="84"/>
                  </a:lnTo>
                  <a:lnTo>
                    <a:pt x="22" y="89"/>
                  </a:lnTo>
                  <a:lnTo>
                    <a:pt x="12" y="104"/>
                  </a:lnTo>
                  <a:lnTo>
                    <a:pt x="5" y="112"/>
                  </a:lnTo>
                  <a:lnTo>
                    <a:pt x="1" y="127"/>
                  </a:lnTo>
                  <a:lnTo>
                    <a:pt x="1" y="142"/>
                  </a:lnTo>
                  <a:lnTo>
                    <a:pt x="0" y="180"/>
                  </a:lnTo>
                  <a:lnTo>
                    <a:pt x="19" y="180"/>
                  </a:lnTo>
                  <a:lnTo>
                    <a:pt x="35" y="180"/>
                  </a:lnTo>
                  <a:lnTo>
                    <a:pt x="50" y="196"/>
                  </a:lnTo>
                  <a:lnTo>
                    <a:pt x="56" y="213"/>
                  </a:lnTo>
                  <a:lnTo>
                    <a:pt x="68" y="228"/>
                  </a:lnTo>
                  <a:lnTo>
                    <a:pt x="84" y="228"/>
                  </a:lnTo>
                  <a:lnTo>
                    <a:pt x="93" y="223"/>
                  </a:lnTo>
                  <a:lnTo>
                    <a:pt x="100" y="224"/>
                  </a:lnTo>
                  <a:lnTo>
                    <a:pt x="123" y="215"/>
                  </a:lnTo>
                  <a:lnTo>
                    <a:pt x="127" y="199"/>
                  </a:lnTo>
                  <a:lnTo>
                    <a:pt x="138" y="176"/>
                  </a:lnTo>
                  <a:lnTo>
                    <a:pt x="143" y="175"/>
                  </a:lnTo>
                  <a:lnTo>
                    <a:pt x="156" y="162"/>
                  </a:lnTo>
                  <a:lnTo>
                    <a:pt x="164" y="161"/>
                  </a:lnTo>
                  <a:lnTo>
                    <a:pt x="176" y="172"/>
                  </a:lnTo>
                  <a:lnTo>
                    <a:pt x="190" y="163"/>
                  </a:lnTo>
                  <a:lnTo>
                    <a:pt x="192" y="153"/>
                  </a:lnTo>
                  <a:lnTo>
                    <a:pt x="197" y="143"/>
                  </a:lnTo>
                  <a:lnTo>
                    <a:pt x="199" y="131"/>
                  </a:lnTo>
                  <a:lnTo>
                    <a:pt x="211" y="122"/>
                  </a:lnTo>
                  <a:lnTo>
                    <a:pt x="215" y="105"/>
                  </a:lnTo>
                  <a:lnTo>
                    <a:pt x="220" y="100"/>
                  </a:lnTo>
                  <a:lnTo>
                    <a:pt x="222" y="87"/>
                  </a:lnTo>
                  <a:lnTo>
                    <a:pt x="227" y="73"/>
                  </a:lnTo>
                  <a:lnTo>
                    <a:pt x="245" y="54"/>
                  </a:lnTo>
                  <a:lnTo>
                    <a:pt x="246" y="46"/>
                  </a:lnTo>
                  <a:lnTo>
                    <a:pt x="248" y="42"/>
                  </a:lnTo>
                  <a:lnTo>
                    <a:pt x="239" y="32"/>
                  </a:lnTo>
                  <a:lnTo>
                    <a:pt x="239" y="32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1" name="Nicaragua">
              <a:extLst>
                <a:ext uri="{FF2B5EF4-FFF2-40B4-BE49-F238E27FC236}">
                  <a16:creationId xmlns:a16="http://schemas.microsoft.com/office/drawing/2014/main" id="{33E89C48-234D-4A43-AE36-D6E05A51756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831" y="3495448"/>
              <a:ext cx="157162" cy="161925"/>
            </a:xfrm>
            <a:custGeom>
              <a:avLst/>
              <a:gdLst>
                <a:gd name="T0" fmla="*/ 99 w 99"/>
                <a:gd name="T1" fmla="*/ 1 h 102"/>
                <a:gd name="T2" fmla="*/ 93 w 99"/>
                <a:gd name="T3" fmla="*/ 0 h 102"/>
                <a:gd name="T4" fmla="*/ 89 w 99"/>
                <a:gd name="T5" fmla="*/ 3 h 102"/>
                <a:gd name="T6" fmla="*/ 81 w 99"/>
                <a:gd name="T7" fmla="*/ 6 h 102"/>
                <a:gd name="T8" fmla="*/ 77 w 99"/>
                <a:gd name="T9" fmla="*/ 6 h 102"/>
                <a:gd name="T10" fmla="*/ 71 w 99"/>
                <a:gd name="T11" fmla="*/ 9 h 102"/>
                <a:gd name="T12" fmla="*/ 67 w 99"/>
                <a:gd name="T13" fmla="*/ 8 h 102"/>
                <a:gd name="T14" fmla="*/ 64 w 99"/>
                <a:gd name="T15" fmla="*/ 5 h 102"/>
                <a:gd name="T16" fmla="*/ 62 w 99"/>
                <a:gd name="T17" fmla="*/ 5 h 102"/>
                <a:gd name="T18" fmla="*/ 59 w 99"/>
                <a:gd name="T19" fmla="*/ 11 h 102"/>
                <a:gd name="T20" fmla="*/ 57 w 99"/>
                <a:gd name="T21" fmla="*/ 11 h 102"/>
                <a:gd name="T22" fmla="*/ 56 w 99"/>
                <a:gd name="T23" fmla="*/ 16 h 102"/>
                <a:gd name="T24" fmla="*/ 48 w 99"/>
                <a:gd name="T25" fmla="*/ 22 h 102"/>
                <a:gd name="T26" fmla="*/ 44 w 99"/>
                <a:gd name="T27" fmla="*/ 25 h 102"/>
                <a:gd name="T28" fmla="*/ 41 w 99"/>
                <a:gd name="T29" fmla="*/ 28 h 102"/>
                <a:gd name="T30" fmla="*/ 36 w 99"/>
                <a:gd name="T31" fmla="*/ 23 h 102"/>
                <a:gd name="T32" fmla="*/ 31 w 99"/>
                <a:gd name="T33" fmla="*/ 30 h 102"/>
                <a:gd name="T34" fmla="*/ 26 w 99"/>
                <a:gd name="T35" fmla="*/ 30 h 102"/>
                <a:gd name="T36" fmla="*/ 22 w 99"/>
                <a:gd name="T37" fmla="*/ 31 h 102"/>
                <a:gd name="T38" fmla="*/ 21 w 99"/>
                <a:gd name="T39" fmla="*/ 42 h 102"/>
                <a:gd name="T40" fmla="*/ 18 w 99"/>
                <a:gd name="T41" fmla="*/ 42 h 102"/>
                <a:gd name="T42" fmla="*/ 15 w 99"/>
                <a:gd name="T43" fmla="*/ 47 h 102"/>
                <a:gd name="T44" fmla="*/ 8 w 99"/>
                <a:gd name="T45" fmla="*/ 48 h 102"/>
                <a:gd name="T46" fmla="*/ 7 w 99"/>
                <a:gd name="T47" fmla="*/ 50 h 102"/>
                <a:gd name="T48" fmla="*/ 3 w 99"/>
                <a:gd name="T49" fmla="*/ 46 h 102"/>
                <a:gd name="T50" fmla="*/ 0 w 99"/>
                <a:gd name="T51" fmla="*/ 50 h 102"/>
                <a:gd name="T52" fmla="*/ 11 w 99"/>
                <a:gd name="T53" fmla="*/ 61 h 102"/>
                <a:gd name="T54" fmla="*/ 19 w 99"/>
                <a:gd name="T55" fmla="*/ 69 h 102"/>
                <a:gd name="T56" fmla="*/ 23 w 99"/>
                <a:gd name="T57" fmla="*/ 76 h 102"/>
                <a:gd name="T58" fmla="*/ 32 w 99"/>
                <a:gd name="T59" fmla="*/ 86 h 102"/>
                <a:gd name="T60" fmla="*/ 39 w 99"/>
                <a:gd name="T61" fmla="*/ 93 h 102"/>
                <a:gd name="T62" fmla="*/ 41 w 99"/>
                <a:gd name="T63" fmla="*/ 90 h 102"/>
                <a:gd name="T64" fmla="*/ 54 w 99"/>
                <a:gd name="T65" fmla="*/ 97 h 102"/>
                <a:gd name="T66" fmla="*/ 60 w 99"/>
                <a:gd name="T67" fmla="*/ 94 h 102"/>
                <a:gd name="T68" fmla="*/ 67 w 99"/>
                <a:gd name="T69" fmla="*/ 96 h 102"/>
                <a:gd name="T70" fmla="*/ 69 w 99"/>
                <a:gd name="T71" fmla="*/ 101 h 102"/>
                <a:gd name="T72" fmla="*/ 76 w 99"/>
                <a:gd name="T73" fmla="*/ 102 h 102"/>
                <a:gd name="T74" fmla="*/ 81 w 99"/>
                <a:gd name="T75" fmla="*/ 97 h 102"/>
                <a:gd name="T76" fmla="*/ 78 w 99"/>
                <a:gd name="T77" fmla="*/ 93 h 102"/>
                <a:gd name="T78" fmla="*/ 78 w 99"/>
                <a:gd name="T79" fmla="*/ 87 h 102"/>
                <a:gd name="T80" fmla="*/ 82 w 99"/>
                <a:gd name="T81" fmla="*/ 81 h 102"/>
                <a:gd name="T82" fmla="*/ 81 w 99"/>
                <a:gd name="T83" fmla="*/ 74 h 102"/>
                <a:gd name="T84" fmla="*/ 84 w 99"/>
                <a:gd name="T85" fmla="*/ 64 h 102"/>
                <a:gd name="T86" fmla="*/ 87 w 99"/>
                <a:gd name="T87" fmla="*/ 61 h 102"/>
                <a:gd name="T88" fmla="*/ 88 w 99"/>
                <a:gd name="T89" fmla="*/ 51 h 102"/>
                <a:gd name="T90" fmla="*/ 87 w 99"/>
                <a:gd name="T91" fmla="*/ 45 h 102"/>
                <a:gd name="T92" fmla="*/ 88 w 99"/>
                <a:gd name="T93" fmla="*/ 34 h 102"/>
                <a:gd name="T94" fmla="*/ 92 w 99"/>
                <a:gd name="T95" fmla="*/ 25 h 102"/>
                <a:gd name="T96" fmla="*/ 97 w 99"/>
                <a:gd name="T97" fmla="*/ 17 h 102"/>
                <a:gd name="T98" fmla="*/ 95 w 99"/>
                <a:gd name="T99" fmla="*/ 8 h 102"/>
                <a:gd name="T100" fmla="*/ 97 w 99"/>
                <a:gd name="T101" fmla="*/ 3 h 102"/>
                <a:gd name="T102" fmla="*/ 99 w 99"/>
                <a:gd name="T103" fmla="*/ 1 h 102"/>
                <a:gd name="T104" fmla="*/ 99 w 99"/>
                <a:gd name="T105" fmla="*/ 1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9" h="102">
                  <a:moveTo>
                    <a:pt x="99" y="1"/>
                  </a:moveTo>
                  <a:lnTo>
                    <a:pt x="93" y="0"/>
                  </a:lnTo>
                  <a:lnTo>
                    <a:pt x="89" y="3"/>
                  </a:lnTo>
                  <a:lnTo>
                    <a:pt x="81" y="6"/>
                  </a:lnTo>
                  <a:lnTo>
                    <a:pt x="77" y="6"/>
                  </a:lnTo>
                  <a:lnTo>
                    <a:pt x="71" y="9"/>
                  </a:lnTo>
                  <a:lnTo>
                    <a:pt x="67" y="8"/>
                  </a:lnTo>
                  <a:lnTo>
                    <a:pt x="64" y="5"/>
                  </a:lnTo>
                  <a:lnTo>
                    <a:pt x="62" y="5"/>
                  </a:lnTo>
                  <a:lnTo>
                    <a:pt x="59" y="11"/>
                  </a:lnTo>
                  <a:lnTo>
                    <a:pt x="57" y="11"/>
                  </a:lnTo>
                  <a:lnTo>
                    <a:pt x="56" y="16"/>
                  </a:lnTo>
                  <a:lnTo>
                    <a:pt x="48" y="22"/>
                  </a:lnTo>
                  <a:lnTo>
                    <a:pt x="44" y="25"/>
                  </a:lnTo>
                  <a:lnTo>
                    <a:pt x="41" y="28"/>
                  </a:lnTo>
                  <a:lnTo>
                    <a:pt x="36" y="23"/>
                  </a:lnTo>
                  <a:lnTo>
                    <a:pt x="31" y="30"/>
                  </a:lnTo>
                  <a:lnTo>
                    <a:pt x="26" y="30"/>
                  </a:lnTo>
                  <a:lnTo>
                    <a:pt x="22" y="31"/>
                  </a:lnTo>
                  <a:lnTo>
                    <a:pt x="21" y="42"/>
                  </a:lnTo>
                  <a:lnTo>
                    <a:pt x="18" y="42"/>
                  </a:lnTo>
                  <a:lnTo>
                    <a:pt x="15" y="47"/>
                  </a:lnTo>
                  <a:lnTo>
                    <a:pt x="8" y="48"/>
                  </a:lnTo>
                  <a:lnTo>
                    <a:pt x="7" y="50"/>
                  </a:lnTo>
                  <a:lnTo>
                    <a:pt x="3" y="46"/>
                  </a:lnTo>
                  <a:lnTo>
                    <a:pt x="0" y="50"/>
                  </a:lnTo>
                  <a:lnTo>
                    <a:pt x="11" y="61"/>
                  </a:lnTo>
                  <a:lnTo>
                    <a:pt x="19" y="69"/>
                  </a:lnTo>
                  <a:lnTo>
                    <a:pt x="23" y="76"/>
                  </a:lnTo>
                  <a:lnTo>
                    <a:pt x="32" y="86"/>
                  </a:lnTo>
                  <a:lnTo>
                    <a:pt x="39" y="93"/>
                  </a:lnTo>
                  <a:lnTo>
                    <a:pt x="41" y="90"/>
                  </a:lnTo>
                  <a:lnTo>
                    <a:pt x="54" y="97"/>
                  </a:lnTo>
                  <a:lnTo>
                    <a:pt x="60" y="94"/>
                  </a:lnTo>
                  <a:lnTo>
                    <a:pt x="67" y="96"/>
                  </a:lnTo>
                  <a:lnTo>
                    <a:pt x="69" y="101"/>
                  </a:lnTo>
                  <a:lnTo>
                    <a:pt x="76" y="102"/>
                  </a:lnTo>
                  <a:lnTo>
                    <a:pt x="81" y="97"/>
                  </a:lnTo>
                  <a:lnTo>
                    <a:pt x="78" y="93"/>
                  </a:lnTo>
                  <a:lnTo>
                    <a:pt x="78" y="87"/>
                  </a:lnTo>
                  <a:lnTo>
                    <a:pt x="82" y="81"/>
                  </a:lnTo>
                  <a:lnTo>
                    <a:pt x="81" y="74"/>
                  </a:lnTo>
                  <a:lnTo>
                    <a:pt x="84" y="64"/>
                  </a:lnTo>
                  <a:lnTo>
                    <a:pt x="87" y="61"/>
                  </a:lnTo>
                  <a:lnTo>
                    <a:pt x="88" y="51"/>
                  </a:lnTo>
                  <a:lnTo>
                    <a:pt x="87" y="45"/>
                  </a:lnTo>
                  <a:lnTo>
                    <a:pt x="88" y="34"/>
                  </a:lnTo>
                  <a:lnTo>
                    <a:pt x="92" y="25"/>
                  </a:lnTo>
                  <a:lnTo>
                    <a:pt x="97" y="17"/>
                  </a:lnTo>
                  <a:lnTo>
                    <a:pt x="95" y="8"/>
                  </a:lnTo>
                  <a:lnTo>
                    <a:pt x="97" y="3"/>
                  </a:lnTo>
                  <a:lnTo>
                    <a:pt x="99" y="1"/>
                  </a:lnTo>
                  <a:lnTo>
                    <a:pt x="99" y="1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2" name="Netherlands">
              <a:extLst>
                <a:ext uri="{FF2B5EF4-FFF2-40B4-BE49-F238E27FC236}">
                  <a16:creationId xmlns:a16="http://schemas.microsoft.com/office/drawing/2014/main" id="{EDAD87E3-4514-4AE3-92BF-1FB1BC8CB53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0444" y="2055587"/>
              <a:ext cx="104775" cy="98425"/>
            </a:xfrm>
            <a:custGeom>
              <a:avLst/>
              <a:gdLst>
                <a:gd name="T0" fmla="*/ 48 w 66"/>
                <a:gd name="T1" fmla="*/ 38 h 62"/>
                <a:gd name="T2" fmla="*/ 59 w 66"/>
                <a:gd name="T3" fmla="*/ 38 h 62"/>
                <a:gd name="T4" fmla="*/ 63 w 66"/>
                <a:gd name="T5" fmla="*/ 29 h 62"/>
                <a:gd name="T6" fmla="*/ 66 w 66"/>
                <a:gd name="T7" fmla="*/ 9 h 62"/>
                <a:gd name="T8" fmla="*/ 63 w 66"/>
                <a:gd name="T9" fmla="*/ 1 h 62"/>
                <a:gd name="T10" fmla="*/ 48 w 66"/>
                <a:gd name="T11" fmla="*/ 0 h 62"/>
                <a:gd name="T12" fmla="*/ 24 w 66"/>
                <a:gd name="T13" fmla="*/ 10 h 62"/>
                <a:gd name="T14" fmla="*/ 10 w 66"/>
                <a:gd name="T15" fmla="*/ 43 h 62"/>
                <a:gd name="T16" fmla="*/ 0 w 66"/>
                <a:gd name="T17" fmla="*/ 50 h 62"/>
                <a:gd name="T18" fmla="*/ 0 w 66"/>
                <a:gd name="T19" fmla="*/ 50 h 62"/>
                <a:gd name="T20" fmla="*/ 13 w 66"/>
                <a:gd name="T21" fmla="*/ 51 h 62"/>
                <a:gd name="T22" fmla="*/ 30 w 66"/>
                <a:gd name="T23" fmla="*/ 47 h 62"/>
                <a:gd name="T24" fmla="*/ 41 w 66"/>
                <a:gd name="T25" fmla="*/ 57 h 62"/>
                <a:gd name="T26" fmla="*/ 52 w 66"/>
                <a:gd name="T27" fmla="*/ 62 h 62"/>
                <a:gd name="T28" fmla="*/ 48 w 66"/>
                <a:gd name="T29" fmla="*/ 38 h 62"/>
                <a:gd name="T30" fmla="*/ 48 w 66"/>
                <a:gd name="T31" fmla="*/ 38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6" h="62">
                  <a:moveTo>
                    <a:pt x="48" y="38"/>
                  </a:moveTo>
                  <a:lnTo>
                    <a:pt x="59" y="38"/>
                  </a:lnTo>
                  <a:lnTo>
                    <a:pt x="63" y="29"/>
                  </a:lnTo>
                  <a:lnTo>
                    <a:pt x="66" y="9"/>
                  </a:lnTo>
                  <a:lnTo>
                    <a:pt x="63" y="1"/>
                  </a:lnTo>
                  <a:lnTo>
                    <a:pt x="48" y="0"/>
                  </a:lnTo>
                  <a:lnTo>
                    <a:pt x="24" y="10"/>
                  </a:lnTo>
                  <a:lnTo>
                    <a:pt x="10" y="43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13" y="51"/>
                  </a:lnTo>
                  <a:lnTo>
                    <a:pt x="30" y="47"/>
                  </a:lnTo>
                  <a:lnTo>
                    <a:pt x="41" y="57"/>
                  </a:lnTo>
                  <a:lnTo>
                    <a:pt x="52" y="62"/>
                  </a:lnTo>
                  <a:lnTo>
                    <a:pt x="48" y="38"/>
                  </a:lnTo>
                  <a:lnTo>
                    <a:pt x="48" y="38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3" name="Norway">
              <a:extLst>
                <a:ext uri="{FF2B5EF4-FFF2-40B4-BE49-F238E27FC236}">
                  <a16:creationId xmlns:a16="http://schemas.microsoft.com/office/drawing/2014/main" id="{57AE92FD-3ABA-4B2E-B0CE-09FBEE7645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26956" y="1188812"/>
              <a:ext cx="617537" cy="704849"/>
            </a:xfrm>
            <a:custGeom>
              <a:avLst/>
              <a:gdLst>
                <a:gd name="T0" fmla="*/ 311 w 389"/>
                <a:gd name="T1" fmla="*/ 174 h 444"/>
                <a:gd name="T2" fmla="*/ 264 w 389"/>
                <a:gd name="T3" fmla="*/ 189 h 444"/>
                <a:gd name="T4" fmla="*/ 207 w 389"/>
                <a:gd name="T5" fmla="*/ 197 h 444"/>
                <a:gd name="T6" fmla="*/ 145 w 389"/>
                <a:gd name="T7" fmla="*/ 237 h 444"/>
                <a:gd name="T8" fmla="*/ 86 w 389"/>
                <a:gd name="T9" fmla="*/ 306 h 444"/>
                <a:gd name="T10" fmla="*/ 14 w 389"/>
                <a:gd name="T11" fmla="*/ 346 h 444"/>
                <a:gd name="T12" fmla="*/ 6 w 389"/>
                <a:gd name="T13" fmla="*/ 410 h 444"/>
                <a:gd name="T14" fmla="*/ 38 w 389"/>
                <a:gd name="T15" fmla="*/ 444 h 444"/>
                <a:gd name="T16" fmla="*/ 92 w 389"/>
                <a:gd name="T17" fmla="*/ 414 h 444"/>
                <a:gd name="T18" fmla="*/ 111 w 389"/>
                <a:gd name="T19" fmla="*/ 414 h 444"/>
                <a:gd name="T20" fmla="*/ 127 w 389"/>
                <a:gd name="T21" fmla="*/ 374 h 444"/>
                <a:gd name="T22" fmla="*/ 111 w 389"/>
                <a:gd name="T23" fmla="*/ 335 h 444"/>
                <a:gd name="T24" fmla="*/ 136 w 389"/>
                <a:gd name="T25" fmla="*/ 315 h 444"/>
                <a:gd name="T26" fmla="*/ 134 w 389"/>
                <a:gd name="T27" fmla="*/ 301 h 444"/>
                <a:gd name="T28" fmla="*/ 168 w 389"/>
                <a:gd name="T29" fmla="*/ 248 h 444"/>
                <a:gd name="T30" fmla="*/ 191 w 389"/>
                <a:gd name="T31" fmla="*/ 233 h 444"/>
                <a:gd name="T32" fmla="*/ 223 w 389"/>
                <a:gd name="T33" fmla="*/ 226 h 444"/>
                <a:gd name="T34" fmla="*/ 232 w 389"/>
                <a:gd name="T35" fmla="*/ 211 h 444"/>
                <a:gd name="T36" fmla="*/ 259 w 389"/>
                <a:gd name="T37" fmla="*/ 217 h 444"/>
                <a:gd name="T38" fmla="*/ 297 w 389"/>
                <a:gd name="T39" fmla="*/ 220 h 444"/>
                <a:gd name="T40" fmla="*/ 313 w 389"/>
                <a:gd name="T41" fmla="*/ 197 h 444"/>
                <a:gd name="T42" fmla="*/ 356 w 389"/>
                <a:gd name="T43" fmla="*/ 198 h 444"/>
                <a:gd name="T44" fmla="*/ 365 w 389"/>
                <a:gd name="T45" fmla="*/ 211 h 444"/>
                <a:gd name="T46" fmla="*/ 389 w 389"/>
                <a:gd name="T47" fmla="*/ 203 h 444"/>
                <a:gd name="T48" fmla="*/ 387 w 389"/>
                <a:gd name="T49" fmla="*/ 185 h 444"/>
                <a:gd name="T50" fmla="*/ 336 w 389"/>
                <a:gd name="T51" fmla="*/ 170 h 444"/>
                <a:gd name="T52" fmla="*/ 230 w 389"/>
                <a:gd name="T53" fmla="*/ 42 h 444"/>
                <a:gd name="T54" fmla="*/ 197 w 389"/>
                <a:gd name="T55" fmla="*/ 39 h 444"/>
                <a:gd name="T56" fmla="*/ 198 w 389"/>
                <a:gd name="T57" fmla="*/ 49 h 444"/>
                <a:gd name="T58" fmla="*/ 252 w 389"/>
                <a:gd name="T59" fmla="*/ 46 h 444"/>
                <a:gd name="T60" fmla="*/ 139 w 389"/>
                <a:gd name="T61" fmla="*/ 9 h 444"/>
                <a:gd name="T62" fmla="*/ 116 w 389"/>
                <a:gd name="T63" fmla="*/ 15 h 444"/>
                <a:gd name="T64" fmla="*/ 89 w 389"/>
                <a:gd name="T65" fmla="*/ 9 h 444"/>
                <a:gd name="T66" fmla="*/ 66 w 389"/>
                <a:gd name="T67" fmla="*/ 29 h 444"/>
                <a:gd name="T68" fmla="*/ 116 w 389"/>
                <a:gd name="T69" fmla="*/ 48 h 444"/>
                <a:gd name="T70" fmla="*/ 136 w 389"/>
                <a:gd name="T71" fmla="*/ 65 h 444"/>
                <a:gd name="T72" fmla="*/ 156 w 389"/>
                <a:gd name="T73" fmla="*/ 50 h 444"/>
                <a:gd name="T74" fmla="*/ 171 w 389"/>
                <a:gd name="T75" fmla="*/ 34 h 444"/>
                <a:gd name="T76" fmla="*/ 156 w 389"/>
                <a:gd name="T77" fmla="*/ 15 h 444"/>
                <a:gd name="T78" fmla="*/ 213 w 389"/>
                <a:gd name="T79" fmla="*/ 0 h 444"/>
                <a:gd name="T80" fmla="*/ 182 w 389"/>
                <a:gd name="T81" fmla="*/ 0 h 444"/>
                <a:gd name="T82" fmla="*/ 158 w 389"/>
                <a:gd name="T83" fmla="*/ 12 h 444"/>
                <a:gd name="T84" fmla="*/ 181 w 389"/>
                <a:gd name="T85" fmla="*/ 17 h 444"/>
                <a:gd name="T86" fmla="*/ 258 w 389"/>
                <a:gd name="T87" fmla="*/ 18 h 444"/>
                <a:gd name="T88" fmla="*/ 247 w 389"/>
                <a:gd name="T89" fmla="*/ 4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89" h="444">
                  <a:moveTo>
                    <a:pt x="336" y="170"/>
                  </a:moveTo>
                  <a:lnTo>
                    <a:pt x="311" y="174"/>
                  </a:lnTo>
                  <a:lnTo>
                    <a:pt x="282" y="174"/>
                  </a:lnTo>
                  <a:lnTo>
                    <a:pt x="264" y="189"/>
                  </a:lnTo>
                  <a:lnTo>
                    <a:pt x="239" y="188"/>
                  </a:lnTo>
                  <a:lnTo>
                    <a:pt x="207" y="197"/>
                  </a:lnTo>
                  <a:lnTo>
                    <a:pt x="170" y="222"/>
                  </a:lnTo>
                  <a:lnTo>
                    <a:pt x="145" y="237"/>
                  </a:lnTo>
                  <a:lnTo>
                    <a:pt x="113" y="277"/>
                  </a:lnTo>
                  <a:lnTo>
                    <a:pt x="86" y="306"/>
                  </a:lnTo>
                  <a:lnTo>
                    <a:pt x="56" y="329"/>
                  </a:lnTo>
                  <a:lnTo>
                    <a:pt x="14" y="346"/>
                  </a:lnTo>
                  <a:lnTo>
                    <a:pt x="0" y="359"/>
                  </a:lnTo>
                  <a:lnTo>
                    <a:pt x="6" y="410"/>
                  </a:lnTo>
                  <a:lnTo>
                    <a:pt x="14" y="433"/>
                  </a:lnTo>
                  <a:lnTo>
                    <a:pt x="38" y="444"/>
                  </a:lnTo>
                  <a:lnTo>
                    <a:pt x="60" y="439"/>
                  </a:lnTo>
                  <a:lnTo>
                    <a:pt x="92" y="414"/>
                  </a:lnTo>
                  <a:lnTo>
                    <a:pt x="104" y="428"/>
                  </a:lnTo>
                  <a:lnTo>
                    <a:pt x="111" y="414"/>
                  </a:lnTo>
                  <a:lnTo>
                    <a:pt x="123" y="400"/>
                  </a:lnTo>
                  <a:lnTo>
                    <a:pt x="127" y="374"/>
                  </a:lnTo>
                  <a:lnTo>
                    <a:pt x="114" y="363"/>
                  </a:lnTo>
                  <a:lnTo>
                    <a:pt x="111" y="335"/>
                  </a:lnTo>
                  <a:lnTo>
                    <a:pt x="120" y="315"/>
                  </a:lnTo>
                  <a:lnTo>
                    <a:pt x="136" y="315"/>
                  </a:lnTo>
                  <a:lnTo>
                    <a:pt x="141" y="307"/>
                  </a:lnTo>
                  <a:lnTo>
                    <a:pt x="134" y="301"/>
                  </a:lnTo>
                  <a:lnTo>
                    <a:pt x="156" y="271"/>
                  </a:lnTo>
                  <a:lnTo>
                    <a:pt x="168" y="248"/>
                  </a:lnTo>
                  <a:lnTo>
                    <a:pt x="176" y="233"/>
                  </a:lnTo>
                  <a:lnTo>
                    <a:pt x="191" y="233"/>
                  </a:lnTo>
                  <a:lnTo>
                    <a:pt x="193" y="222"/>
                  </a:lnTo>
                  <a:lnTo>
                    <a:pt x="223" y="226"/>
                  </a:lnTo>
                  <a:lnTo>
                    <a:pt x="223" y="213"/>
                  </a:lnTo>
                  <a:lnTo>
                    <a:pt x="232" y="211"/>
                  </a:lnTo>
                  <a:lnTo>
                    <a:pt x="240" y="206"/>
                  </a:lnTo>
                  <a:lnTo>
                    <a:pt x="259" y="217"/>
                  </a:lnTo>
                  <a:lnTo>
                    <a:pt x="279" y="216"/>
                  </a:lnTo>
                  <a:lnTo>
                    <a:pt x="297" y="220"/>
                  </a:lnTo>
                  <a:lnTo>
                    <a:pt x="309" y="212"/>
                  </a:lnTo>
                  <a:lnTo>
                    <a:pt x="313" y="197"/>
                  </a:lnTo>
                  <a:lnTo>
                    <a:pt x="335" y="190"/>
                  </a:lnTo>
                  <a:lnTo>
                    <a:pt x="356" y="198"/>
                  </a:lnTo>
                  <a:lnTo>
                    <a:pt x="353" y="213"/>
                  </a:lnTo>
                  <a:lnTo>
                    <a:pt x="365" y="211"/>
                  </a:lnTo>
                  <a:lnTo>
                    <a:pt x="389" y="203"/>
                  </a:lnTo>
                  <a:lnTo>
                    <a:pt x="389" y="203"/>
                  </a:lnTo>
                  <a:lnTo>
                    <a:pt x="368" y="190"/>
                  </a:lnTo>
                  <a:lnTo>
                    <a:pt x="387" y="185"/>
                  </a:lnTo>
                  <a:lnTo>
                    <a:pt x="336" y="170"/>
                  </a:lnTo>
                  <a:lnTo>
                    <a:pt x="336" y="170"/>
                  </a:lnTo>
                  <a:close/>
                  <a:moveTo>
                    <a:pt x="252" y="46"/>
                  </a:moveTo>
                  <a:lnTo>
                    <a:pt x="230" y="42"/>
                  </a:lnTo>
                  <a:lnTo>
                    <a:pt x="224" y="35"/>
                  </a:lnTo>
                  <a:lnTo>
                    <a:pt x="197" y="39"/>
                  </a:lnTo>
                  <a:lnTo>
                    <a:pt x="206" y="45"/>
                  </a:lnTo>
                  <a:lnTo>
                    <a:pt x="198" y="49"/>
                  </a:lnTo>
                  <a:lnTo>
                    <a:pt x="223" y="53"/>
                  </a:lnTo>
                  <a:lnTo>
                    <a:pt x="252" y="46"/>
                  </a:lnTo>
                  <a:close/>
                  <a:moveTo>
                    <a:pt x="156" y="15"/>
                  </a:moveTo>
                  <a:lnTo>
                    <a:pt x="139" y="9"/>
                  </a:lnTo>
                  <a:lnTo>
                    <a:pt x="120" y="9"/>
                  </a:lnTo>
                  <a:lnTo>
                    <a:pt x="116" y="15"/>
                  </a:lnTo>
                  <a:lnTo>
                    <a:pt x="98" y="15"/>
                  </a:lnTo>
                  <a:lnTo>
                    <a:pt x="89" y="9"/>
                  </a:lnTo>
                  <a:lnTo>
                    <a:pt x="55" y="16"/>
                  </a:lnTo>
                  <a:lnTo>
                    <a:pt x="66" y="29"/>
                  </a:lnTo>
                  <a:lnTo>
                    <a:pt x="95" y="43"/>
                  </a:lnTo>
                  <a:lnTo>
                    <a:pt x="116" y="48"/>
                  </a:lnTo>
                  <a:lnTo>
                    <a:pt x="105" y="54"/>
                  </a:lnTo>
                  <a:lnTo>
                    <a:pt x="136" y="65"/>
                  </a:lnTo>
                  <a:lnTo>
                    <a:pt x="153" y="64"/>
                  </a:lnTo>
                  <a:lnTo>
                    <a:pt x="156" y="50"/>
                  </a:lnTo>
                  <a:lnTo>
                    <a:pt x="167" y="47"/>
                  </a:lnTo>
                  <a:lnTo>
                    <a:pt x="171" y="34"/>
                  </a:lnTo>
                  <a:lnTo>
                    <a:pt x="203" y="27"/>
                  </a:lnTo>
                  <a:lnTo>
                    <a:pt x="156" y="15"/>
                  </a:lnTo>
                  <a:close/>
                  <a:moveTo>
                    <a:pt x="247" y="4"/>
                  </a:moveTo>
                  <a:lnTo>
                    <a:pt x="213" y="0"/>
                  </a:lnTo>
                  <a:lnTo>
                    <a:pt x="201" y="4"/>
                  </a:lnTo>
                  <a:lnTo>
                    <a:pt x="182" y="0"/>
                  </a:lnTo>
                  <a:lnTo>
                    <a:pt x="142" y="5"/>
                  </a:lnTo>
                  <a:lnTo>
                    <a:pt x="158" y="12"/>
                  </a:lnTo>
                  <a:lnTo>
                    <a:pt x="178" y="12"/>
                  </a:lnTo>
                  <a:lnTo>
                    <a:pt x="181" y="17"/>
                  </a:lnTo>
                  <a:lnTo>
                    <a:pt x="221" y="20"/>
                  </a:lnTo>
                  <a:lnTo>
                    <a:pt x="258" y="18"/>
                  </a:lnTo>
                  <a:lnTo>
                    <a:pt x="274" y="9"/>
                  </a:lnTo>
                  <a:lnTo>
                    <a:pt x="247" y="4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4" name="New Zealand">
              <a:extLst>
                <a:ext uri="{FF2B5EF4-FFF2-40B4-BE49-F238E27FC236}">
                  <a16:creationId xmlns:a16="http://schemas.microsoft.com/office/drawing/2014/main" id="{865B4FDF-F870-4F5B-A764-91F8CC8CCA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35494" y="5360760"/>
              <a:ext cx="601662" cy="457200"/>
            </a:xfrm>
            <a:custGeom>
              <a:avLst/>
              <a:gdLst>
                <a:gd name="T0" fmla="*/ 223 w 379"/>
                <a:gd name="T1" fmla="*/ 146 h 288"/>
                <a:gd name="T2" fmla="*/ 188 w 379"/>
                <a:gd name="T3" fmla="*/ 169 h 288"/>
                <a:gd name="T4" fmla="*/ 154 w 379"/>
                <a:gd name="T5" fmla="*/ 193 h 288"/>
                <a:gd name="T6" fmla="*/ 107 w 379"/>
                <a:gd name="T7" fmla="*/ 216 h 288"/>
                <a:gd name="T8" fmla="*/ 70 w 379"/>
                <a:gd name="T9" fmla="*/ 229 h 288"/>
                <a:gd name="T10" fmla="*/ 4 w 379"/>
                <a:gd name="T11" fmla="*/ 269 h 288"/>
                <a:gd name="T12" fmla="*/ 19 w 379"/>
                <a:gd name="T13" fmla="*/ 279 h 288"/>
                <a:gd name="T14" fmla="*/ 41 w 379"/>
                <a:gd name="T15" fmla="*/ 288 h 288"/>
                <a:gd name="T16" fmla="*/ 81 w 379"/>
                <a:gd name="T17" fmla="*/ 270 h 288"/>
                <a:gd name="T18" fmla="*/ 128 w 379"/>
                <a:gd name="T19" fmla="*/ 232 h 288"/>
                <a:gd name="T20" fmla="*/ 167 w 379"/>
                <a:gd name="T21" fmla="*/ 223 h 288"/>
                <a:gd name="T22" fmla="*/ 185 w 379"/>
                <a:gd name="T23" fmla="*/ 203 h 288"/>
                <a:gd name="T24" fmla="*/ 227 w 379"/>
                <a:gd name="T25" fmla="*/ 175 h 288"/>
                <a:gd name="T26" fmla="*/ 237 w 379"/>
                <a:gd name="T27" fmla="*/ 156 h 288"/>
                <a:gd name="T28" fmla="*/ 219 w 379"/>
                <a:gd name="T29" fmla="*/ 155 h 288"/>
                <a:gd name="T30" fmla="*/ 327 w 379"/>
                <a:gd name="T31" fmla="*/ 41 h 288"/>
                <a:gd name="T32" fmla="*/ 322 w 379"/>
                <a:gd name="T33" fmla="*/ 14 h 288"/>
                <a:gd name="T34" fmla="*/ 310 w 379"/>
                <a:gd name="T35" fmla="*/ 2 h 288"/>
                <a:gd name="T36" fmla="*/ 312 w 379"/>
                <a:gd name="T37" fmla="*/ 40 h 288"/>
                <a:gd name="T38" fmla="*/ 312 w 379"/>
                <a:gd name="T39" fmla="*/ 55 h 288"/>
                <a:gd name="T40" fmla="*/ 301 w 379"/>
                <a:gd name="T41" fmla="*/ 87 h 288"/>
                <a:gd name="T42" fmla="*/ 265 w 379"/>
                <a:gd name="T43" fmla="*/ 113 h 288"/>
                <a:gd name="T44" fmla="*/ 273 w 379"/>
                <a:gd name="T45" fmla="*/ 132 h 288"/>
                <a:gd name="T46" fmla="*/ 244 w 379"/>
                <a:gd name="T47" fmla="*/ 164 h 288"/>
                <a:gd name="T48" fmla="*/ 248 w 379"/>
                <a:gd name="T49" fmla="*/ 173 h 288"/>
                <a:gd name="T50" fmla="*/ 292 w 379"/>
                <a:gd name="T51" fmla="*/ 149 h 288"/>
                <a:gd name="T52" fmla="*/ 315 w 379"/>
                <a:gd name="T53" fmla="*/ 131 h 288"/>
                <a:gd name="T54" fmla="*/ 331 w 379"/>
                <a:gd name="T55" fmla="*/ 113 h 288"/>
                <a:gd name="T56" fmla="*/ 361 w 379"/>
                <a:gd name="T57" fmla="*/ 100 h 288"/>
                <a:gd name="T58" fmla="*/ 372 w 379"/>
                <a:gd name="T59" fmla="*/ 76 h 288"/>
                <a:gd name="T60" fmla="*/ 343 w 379"/>
                <a:gd name="T61" fmla="*/ 83 h 288"/>
                <a:gd name="T62" fmla="*/ 340 w 379"/>
                <a:gd name="T63" fmla="*/ 57 h 288"/>
                <a:gd name="T64" fmla="*/ 325 w 379"/>
                <a:gd name="T65" fmla="*/ 66 h 288"/>
                <a:gd name="T66" fmla="*/ 327 w 379"/>
                <a:gd name="T67" fmla="*/ 41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79" h="288">
                  <a:moveTo>
                    <a:pt x="219" y="155"/>
                  </a:moveTo>
                  <a:lnTo>
                    <a:pt x="223" y="146"/>
                  </a:lnTo>
                  <a:lnTo>
                    <a:pt x="201" y="156"/>
                  </a:lnTo>
                  <a:lnTo>
                    <a:pt x="188" y="169"/>
                  </a:lnTo>
                  <a:lnTo>
                    <a:pt x="176" y="175"/>
                  </a:lnTo>
                  <a:lnTo>
                    <a:pt x="154" y="193"/>
                  </a:lnTo>
                  <a:lnTo>
                    <a:pt x="133" y="205"/>
                  </a:lnTo>
                  <a:lnTo>
                    <a:pt x="107" y="216"/>
                  </a:lnTo>
                  <a:lnTo>
                    <a:pt x="86" y="225"/>
                  </a:lnTo>
                  <a:lnTo>
                    <a:pt x="70" y="229"/>
                  </a:lnTo>
                  <a:lnTo>
                    <a:pt x="28" y="252"/>
                  </a:lnTo>
                  <a:lnTo>
                    <a:pt x="4" y="269"/>
                  </a:lnTo>
                  <a:lnTo>
                    <a:pt x="0" y="278"/>
                  </a:lnTo>
                  <a:lnTo>
                    <a:pt x="19" y="279"/>
                  </a:lnTo>
                  <a:lnTo>
                    <a:pt x="25" y="287"/>
                  </a:lnTo>
                  <a:lnTo>
                    <a:pt x="41" y="288"/>
                  </a:lnTo>
                  <a:lnTo>
                    <a:pt x="56" y="281"/>
                  </a:lnTo>
                  <a:lnTo>
                    <a:pt x="81" y="270"/>
                  </a:lnTo>
                  <a:lnTo>
                    <a:pt x="111" y="248"/>
                  </a:lnTo>
                  <a:lnTo>
                    <a:pt x="128" y="232"/>
                  </a:lnTo>
                  <a:lnTo>
                    <a:pt x="152" y="223"/>
                  </a:lnTo>
                  <a:lnTo>
                    <a:pt x="167" y="223"/>
                  </a:lnTo>
                  <a:lnTo>
                    <a:pt x="168" y="212"/>
                  </a:lnTo>
                  <a:lnTo>
                    <a:pt x="185" y="203"/>
                  </a:lnTo>
                  <a:lnTo>
                    <a:pt x="211" y="186"/>
                  </a:lnTo>
                  <a:lnTo>
                    <a:pt x="227" y="175"/>
                  </a:lnTo>
                  <a:lnTo>
                    <a:pt x="236" y="165"/>
                  </a:lnTo>
                  <a:lnTo>
                    <a:pt x="237" y="156"/>
                  </a:lnTo>
                  <a:lnTo>
                    <a:pt x="216" y="165"/>
                  </a:lnTo>
                  <a:lnTo>
                    <a:pt x="219" y="155"/>
                  </a:lnTo>
                  <a:lnTo>
                    <a:pt x="219" y="155"/>
                  </a:lnTo>
                  <a:close/>
                  <a:moveTo>
                    <a:pt x="327" y="41"/>
                  </a:moveTo>
                  <a:lnTo>
                    <a:pt x="334" y="20"/>
                  </a:lnTo>
                  <a:lnTo>
                    <a:pt x="322" y="14"/>
                  </a:lnTo>
                  <a:lnTo>
                    <a:pt x="320" y="0"/>
                  </a:lnTo>
                  <a:lnTo>
                    <a:pt x="310" y="2"/>
                  </a:lnTo>
                  <a:lnTo>
                    <a:pt x="309" y="20"/>
                  </a:lnTo>
                  <a:lnTo>
                    <a:pt x="312" y="40"/>
                  </a:lnTo>
                  <a:lnTo>
                    <a:pt x="316" y="51"/>
                  </a:lnTo>
                  <a:lnTo>
                    <a:pt x="312" y="55"/>
                  </a:lnTo>
                  <a:lnTo>
                    <a:pt x="310" y="71"/>
                  </a:lnTo>
                  <a:lnTo>
                    <a:pt x="301" y="87"/>
                  </a:lnTo>
                  <a:lnTo>
                    <a:pt x="285" y="106"/>
                  </a:lnTo>
                  <a:lnTo>
                    <a:pt x="265" y="113"/>
                  </a:lnTo>
                  <a:lnTo>
                    <a:pt x="259" y="123"/>
                  </a:lnTo>
                  <a:lnTo>
                    <a:pt x="273" y="132"/>
                  </a:lnTo>
                  <a:lnTo>
                    <a:pt x="270" y="145"/>
                  </a:lnTo>
                  <a:lnTo>
                    <a:pt x="244" y="164"/>
                  </a:lnTo>
                  <a:lnTo>
                    <a:pt x="250" y="167"/>
                  </a:lnTo>
                  <a:lnTo>
                    <a:pt x="248" y="173"/>
                  </a:lnTo>
                  <a:lnTo>
                    <a:pt x="270" y="164"/>
                  </a:lnTo>
                  <a:lnTo>
                    <a:pt x="292" y="149"/>
                  </a:lnTo>
                  <a:lnTo>
                    <a:pt x="308" y="136"/>
                  </a:lnTo>
                  <a:lnTo>
                    <a:pt x="315" y="131"/>
                  </a:lnTo>
                  <a:lnTo>
                    <a:pt x="321" y="121"/>
                  </a:lnTo>
                  <a:lnTo>
                    <a:pt x="331" y="113"/>
                  </a:lnTo>
                  <a:lnTo>
                    <a:pt x="345" y="114"/>
                  </a:lnTo>
                  <a:lnTo>
                    <a:pt x="361" y="100"/>
                  </a:lnTo>
                  <a:lnTo>
                    <a:pt x="379" y="79"/>
                  </a:lnTo>
                  <a:lnTo>
                    <a:pt x="372" y="76"/>
                  </a:lnTo>
                  <a:lnTo>
                    <a:pt x="355" y="85"/>
                  </a:lnTo>
                  <a:lnTo>
                    <a:pt x="343" y="83"/>
                  </a:lnTo>
                  <a:lnTo>
                    <a:pt x="332" y="76"/>
                  </a:lnTo>
                  <a:lnTo>
                    <a:pt x="340" y="57"/>
                  </a:lnTo>
                  <a:lnTo>
                    <a:pt x="336" y="51"/>
                  </a:lnTo>
                  <a:lnTo>
                    <a:pt x="325" y="66"/>
                  </a:lnTo>
                  <a:lnTo>
                    <a:pt x="327" y="41"/>
                  </a:lnTo>
                  <a:lnTo>
                    <a:pt x="327" y="41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5" name="Nepal">
              <a:extLst>
                <a:ext uri="{FF2B5EF4-FFF2-40B4-BE49-F238E27FC236}">
                  <a16:creationId xmlns:a16="http://schemas.microsoft.com/office/drawing/2014/main" id="{A6D0492E-C3BF-4469-AAF5-14443859C4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6944" y="2914424"/>
              <a:ext cx="274637" cy="152400"/>
            </a:xfrm>
            <a:custGeom>
              <a:avLst/>
              <a:gdLst>
                <a:gd name="T0" fmla="*/ 167 w 173"/>
                <a:gd name="T1" fmla="*/ 60 h 96"/>
                <a:gd name="T2" fmla="*/ 143 w 173"/>
                <a:gd name="T3" fmla="*/ 59 h 96"/>
                <a:gd name="T4" fmla="*/ 119 w 173"/>
                <a:gd name="T5" fmla="*/ 53 h 96"/>
                <a:gd name="T6" fmla="*/ 100 w 173"/>
                <a:gd name="T7" fmla="*/ 43 h 96"/>
                <a:gd name="T8" fmla="*/ 83 w 173"/>
                <a:gd name="T9" fmla="*/ 38 h 96"/>
                <a:gd name="T10" fmla="*/ 74 w 173"/>
                <a:gd name="T11" fmla="*/ 26 h 96"/>
                <a:gd name="T12" fmla="*/ 62 w 173"/>
                <a:gd name="T13" fmla="*/ 23 h 96"/>
                <a:gd name="T14" fmla="*/ 39 w 173"/>
                <a:gd name="T15" fmla="*/ 7 h 96"/>
                <a:gd name="T16" fmla="*/ 21 w 173"/>
                <a:gd name="T17" fmla="*/ 0 h 96"/>
                <a:gd name="T18" fmla="*/ 13 w 173"/>
                <a:gd name="T19" fmla="*/ 5 h 96"/>
                <a:gd name="T20" fmla="*/ 3 w 173"/>
                <a:gd name="T21" fmla="*/ 17 h 96"/>
                <a:gd name="T22" fmla="*/ 0 w 173"/>
                <a:gd name="T23" fmla="*/ 39 h 96"/>
                <a:gd name="T24" fmla="*/ 21 w 173"/>
                <a:gd name="T25" fmla="*/ 48 h 96"/>
                <a:gd name="T26" fmla="*/ 43 w 173"/>
                <a:gd name="T27" fmla="*/ 59 h 96"/>
                <a:gd name="T28" fmla="*/ 71 w 173"/>
                <a:gd name="T29" fmla="*/ 73 h 96"/>
                <a:gd name="T30" fmla="*/ 100 w 173"/>
                <a:gd name="T31" fmla="*/ 76 h 96"/>
                <a:gd name="T32" fmla="*/ 114 w 173"/>
                <a:gd name="T33" fmla="*/ 87 h 96"/>
                <a:gd name="T34" fmla="*/ 130 w 173"/>
                <a:gd name="T35" fmla="*/ 90 h 96"/>
                <a:gd name="T36" fmla="*/ 155 w 173"/>
                <a:gd name="T37" fmla="*/ 96 h 96"/>
                <a:gd name="T38" fmla="*/ 173 w 173"/>
                <a:gd name="T39" fmla="*/ 95 h 96"/>
                <a:gd name="T40" fmla="*/ 173 w 173"/>
                <a:gd name="T41" fmla="*/ 86 h 96"/>
                <a:gd name="T42" fmla="*/ 167 w 173"/>
                <a:gd name="T43" fmla="*/ 71 h 96"/>
                <a:gd name="T44" fmla="*/ 167 w 173"/>
                <a:gd name="T45" fmla="*/ 60 h 96"/>
                <a:gd name="T46" fmla="*/ 167 w 173"/>
                <a:gd name="T47" fmla="*/ 6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3" h="96">
                  <a:moveTo>
                    <a:pt x="167" y="60"/>
                  </a:moveTo>
                  <a:lnTo>
                    <a:pt x="143" y="59"/>
                  </a:lnTo>
                  <a:lnTo>
                    <a:pt x="119" y="53"/>
                  </a:lnTo>
                  <a:lnTo>
                    <a:pt x="100" y="43"/>
                  </a:lnTo>
                  <a:lnTo>
                    <a:pt x="83" y="38"/>
                  </a:lnTo>
                  <a:lnTo>
                    <a:pt x="74" y="26"/>
                  </a:lnTo>
                  <a:lnTo>
                    <a:pt x="62" y="23"/>
                  </a:lnTo>
                  <a:lnTo>
                    <a:pt x="39" y="7"/>
                  </a:lnTo>
                  <a:lnTo>
                    <a:pt x="21" y="0"/>
                  </a:lnTo>
                  <a:lnTo>
                    <a:pt x="13" y="5"/>
                  </a:lnTo>
                  <a:lnTo>
                    <a:pt x="3" y="17"/>
                  </a:lnTo>
                  <a:lnTo>
                    <a:pt x="0" y="39"/>
                  </a:lnTo>
                  <a:lnTo>
                    <a:pt x="21" y="48"/>
                  </a:lnTo>
                  <a:lnTo>
                    <a:pt x="43" y="59"/>
                  </a:lnTo>
                  <a:lnTo>
                    <a:pt x="71" y="73"/>
                  </a:lnTo>
                  <a:lnTo>
                    <a:pt x="100" y="76"/>
                  </a:lnTo>
                  <a:lnTo>
                    <a:pt x="114" y="87"/>
                  </a:lnTo>
                  <a:lnTo>
                    <a:pt x="130" y="90"/>
                  </a:lnTo>
                  <a:lnTo>
                    <a:pt x="155" y="96"/>
                  </a:lnTo>
                  <a:lnTo>
                    <a:pt x="173" y="95"/>
                  </a:lnTo>
                  <a:lnTo>
                    <a:pt x="173" y="86"/>
                  </a:lnTo>
                  <a:lnTo>
                    <a:pt x="167" y="71"/>
                  </a:lnTo>
                  <a:lnTo>
                    <a:pt x="167" y="60"/>
                  </a:lnTo>
                  <a:lnTo>
                    <a:pt x="167" y="6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6" name="Oman">
              <a:extLst>
                <a:ext uri="{FF2B5EF4-FFF2-40B4-BE49-F238E27FC236}">
                  <a16:creationId xmlns:a16="http://schemas.microsoft.com/office/drawing/2014/main" id="{02ED1250-82D7-4D2E-B502-FA59FCDEA9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00169" y="3066823"/>
              <a:ext cx="244475" cy="366712"/>
            </a:xfrm>
            <a:custGeom>
              <a:avLst/>
              <a:gdLst>
                <a:gd name="T0" fmla="*/ 137 w 154"/>
                <a:gd name="T1" fmla="*/ 125 h 231"/>
                <a:gd name="T2" fmla="*/ 145 w 154"/>
                <a:gd name="T3" fmla="*/ 118 h 231"/>
                <a:gd name="T4" fmla="*/ 149 w 154"/>
                <a:gd name="T5" fmla="*/ 111 h 231"/>
                <a:gd name="T6" fmla="*/ 154 w 154"/>
                <a:gd name="T7" fmla="*/ 97 h 231"/>
                <a:gd name="T8" fmla="*/ 154 w 154"/>
                <a:gd name="T9" fmla="*/ 91 h 231"/>
                <a:gd name="T10" fmla="*/ 146 w 154"/>
                <a:gd name="T11" fmla="*/ 89 h 231"/>
                <a:gd name="T12" fmla="*/ 140 w 154"/>
                <a:gd name="T13" fmla="*/ 81 h 231"/>
                <a:gd name="T14" fmla="*/ 129 w 154"/>
                <a:gd name="T15" fmla="*/ 67 h 231"/>
                <a:gd name="T16" fmla="*/ 117 w 154"/>
                <a:gd name="T17" fmla="*/ 62 h 231"/>
                <a:gd name="T18" fmla="*/ 102 w 154"/>
                <a:gd name="T19" fmla="*/ 60 h 231"/>
                <a:gd name="T20" fmla="*/ 89 w 154"/>
                <a:gd name="T21" fmla="*/ 51 h 231"/>
                <a:gd name="T22" fmla="*/ 79 w 154"/>
                <a:gd name="T23" fmla="*/ 34 h 231"/>
                <a:gd name="T24" fmla="*/ 68 w 154"/>
                <a:gd name="T25" fmla="*/ 34 h 231"/>
                <a:gd name="T26" fmla="*/ 67 w 154"/>
                <a:gd name="T27" fmla="*/ 50 h 231"/>
                <a:gd name="T28" fmla="*/ 72 w 154"/>
                <a:gd name="T29" fmla="*/ 53 h 231"/>
                <a:gd name="T30" fmla="*/ 63 w 154"/>
                <a:gd name="T31" fmla="*/ 59 h 231"/>
                <a:gd name="T32" fmla="*/ 64 w 154"/>
                <a:gd name="T33" fmla="*/ 68 h 231"/>
                <a:gd name="T34" fmla="*/ 59 w 154"/>
                <a:gd name="T35" fmla="*/ 77 h 231"/>
                <a:gd name="T36" fmla="*/ 59 w 154"/>
                <a:gd name="T37" fmla="*/ 88 h 231"/>
                <a:gd name="T38" fmla="*/ 70 w 154"/>
                <a:gd name="T39" fmla="*/ 104 h 231"/>
                <a:gd name="T40" fmla="*/ 60 w 154"/>
                <a:gd name="T41" fmla="*/ 152 h 231"/>
                <a:gd name="T42" fmla="*/ 0 w 154"/>
                <a:gd name="T43" fmla="*/ 175 h 231"/>
                <a:gd name="T44" fmla="*/ 20 w 154"/>
                <a:gd name="T45" fmla="*/ 215 h 231"/>
                <a:gd name="T46" fmla="*/ 27 w 154"/>
                <a:gd name="T47" fmla="*/ 231 h 231"/>
                <a:gd name="T48" fmla="*/ 37 w 154"/>
                <a:gd name="T49" fmla="*/ 230 h 231"/>
                <a:gd name="T50" fmla="*/ 50 w 154"/>
                <a:gd name="T51" fmla="*/ 222 h 231"/>
                <a:gd name="T52" fmla="*/ 62 w 154"/>
                <a:gd name="T53" fmla="*/ 224 h 231"/>
                <a:gd name="T54" fmla="*/ 71 w 154"/>
                <a:gd name="T55" fmla="*/ 217 h 231"/>
                <a:gd name="T56" fmla="*/ 70 w 154"/>
                <a:gd name="T57" fmla="*/ 208 h 231"/>
                <a:gd name="T58" fmla="*/ 78 w 154"/>
                <a:gd name="T59" fmla="*/ 202 h 231"/>
                <a:gd name="T60" fmla="*/ 91 w 154"/>
                <a:gd name="T61" fmla="*/ 202 h 231"/>
                <a:gd name="T62" fmla="*/ 95 w 154"/>
                <a:gd name="T63" fmla="*/ 197 h 231"/>
                <a:gd name="T64" fmla="*/ 96 w 154"/>
                <a:gd name="T65" fmla="*/ 186 h 231"/>
                <a:gd name="T66" fmla="*/ 108 w 154"/>
                <a:gd name="T67" fmla="*/ 176 h 231"/>
                <a:gd name="T68" fmla="*/ 118 w 154"/>
                <a:gd name="T69" fmla="*/ 176 h 231"/>
                <a:gd name="T70" fmla="*/ 120 w 154"/>
                <a:gd name="T71" fmla="*/ 174 h 231"/>
                <a:gd name="T72" fmla="*/ 116 w 154"/>
                <a:gd name="T73" fmla="*/ 158 h 231"/>
                <a:gd name="T74" fmla="*/ 118 w 154"/>
                <a:gd name="T75" fmla="*/ 146 h 231"/>
                <a:gd name="T76" fmla="*/ 122 w 154"/>
                <a:gd name="T77" fmla="*/ 141 h 231"/>
                <a:gd name="T78" fmla="*/ 131 w 154"/>
                <a:gd name="T79" fmla="*/ 142 h 231"/>
                <a:gd name="T80" fmla="*/ 137 w 154"/>
                <a:gd name="T81" fmla="*/ 125 h 231"/>
                <a:gd name="T82" fmla="*/ 137 w 154"/>
                <a:gd name="T83" fmla="*/ 125 h 231"/>
                <a:gd name="T84" fmla="*/ 76 w 154"/>
                <a:gd name="T85" fmla="*/ 12 h 231"/>
                <a:gd name="T86" fmla="*/ 76 w 154"/>
                <a:gd name="T87" fmla="*/ 2 h 231"/>
                <a:gd name="T88" fmla="*/ 74 w 154"/>
                <a:gd name="T89" fmla="*/ 0 h 231"/>
                <a:gd name="T90" fmla="*/ 68 w 154"/>
                <a:gd name="T91" fmla="*/ 8 h 231"/>
                <a:gd name="T92" fmla="*/ 74 w 154"/>
                <a:gd name="T93" fmla="*/ 16 h 231"/>
                <a:gd name="T94" fmla="*/ 76 w 154"/>
                <a:gd name="T95" fmla="*/ 12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4" h="231">
                  <a:moveTo>
                    <a:pt x="137" y="125"/>
                  </a:moveTo>
                  <a:lnTo>
                    <a:pt x="145" y="118"/>
                  </a:lnTo>
                  <a:lnTo>
                    <a:pt x="149" y="111"/>
                  </a:lnTo>
                  <a:lnTo>
                    <a:pt x="154" y="97"/>
                  </a:lnTo>
                  <a:lnTo>
                    <a:pt x="154" y="91"/>
                  </a:lnTo>
                  <a:lnTo>
                    <a:pt x="146" y="89"/>
                  </a:lnTo>
                  <a:lnTo>
                    <a:pt x="140" y="81"/>
                  </a:lnTo>
                  <a:lnTo>
                    <a:pt x="129" y="67"/>
                  </a:lnTo>
                  <a:lnTo>
                    <a:pt x="117" y="62"/>
                  </a:lnTo>
                  <a:lnTo>
                    <a:pt x="102" y="60"/>
                  </a:lnTo>
                  <a:lnTo>
                    <a:pt x="89" y="51"/>
                  </a:lnTo>
                  <a:lnTo>
                    <a:pt x="79" y="34"/>
                  </a:lnTo>
                  <a:lnTo>
                    <a:pt x="68" y="34"/>
                  </a:lnTo>
                  <a:lnTo>
                    <a:pt x="67" y="50"/>
                  </a:lnTo>
                  <a:lnTo>
                    <a:pt x="72" y="53"/>
                  </a:lnTo>
                  <a:lnTo>
                    <a:pt x="63" y="59"/>
                  </a:lnTo>
                  <a:lnTo>
                    <a:pt x="64" y="68"/>
                  </a:lnTo>
                  <a:lnTo>
                    <a:pt x="59" y="77"/>
                  </a:lnTo>
                  <a:lnTo>
                    <a:pt x="59" y="88"/>
                  </a:lnTo>
                  <a:lnTo>
                    <a:pt x="70" y="104"/>
                  </a:lnTo>
                  <a:lnTo>
                    <a:pt x="60" y="152"/>
                  </a:lnTo>
                  <a:lnTo>
                    <a:pt x="0" y="175"/>
                  </a:lnTo>
                  <a:lnTo>
                    <a:pt x="20" y="215"/>
                  </a:lnTo>
                  <a:lnTo>
                    <a:pt x="27" y="231"/>
                  </a:lnTo>
                  <a:lnTo>
                    <a:pt x="37" y="230"/>
                  </a:lnTo>
                  <a:lnTo>
                    <a:pt x="50" y="222"/>
                  </a:lnTo>
                  <a:lnTo>
                    <a:pt x="62" y="224"/>
                  </a:lnTo>
                  <a:lnTo>
                    <a:pt x="71" y="217"/>
                  </a:lnTo>
                  <a:lnTo>
                    <a:pt x="70" y="208"/>
                  </a:lnTo>
                  <a:lnTo>
                    <a:pt x="78" y="202"/>
                  </a:lnTo>
                  <a:lnTo>
                    <a:pt x="91" y="202"/>
                  </a:lnTo>
                  <a:lnTo>
                    <a:pt x="95" y="197"/>
                  </a:lnTo>
                  <a:lnTo>
                    <a:pt x="96" y="186"/>
                  </a:lnTo>
                  <a:lnTo>
                    <a:pt x="108" y="176"/>
                  </a:lnTo>
                  <a:lnTo>
                    <a:pt x="118" y="176"/>
                  </a:lnTo>
                  <a:lnTo>
                    <a:pt x="120" y="174"/>
                  </a:lnTo>
                  <a:lnTo>
                    <a:pt x="116" y="158"/>
                  </a:lnTo>
                  <a:lnTo>
                    <a:pt x="118" y="146"/>
                  </a:lnTo>
                  <a:lnTo>
                    <a:pt x="122" y="141"/>
                  </a:lnTo>
                  <a:lnTo>
                    <a:pt x="131" y="142"/>
                  </a:lnTo>
                  <a:lnTo>
                    <a:pt x="137" y="125"/>
                  </a:lnTo>
                  <a:lnTo>
                    <a:pt x="137" y="125"/>
                  </a:lnTo>
                  <a:close/>
                  <a:moveTo>
                    <a:pt x="76" y="12"/>
                  </a:moveTo>
                  <a:lnTo>
                    <a:pt x="76" y="2"/>
                  </a:lnTo>
                  <a:lnTo>
                    <a:pt x="74" y="0"/>
                  </a:lnTo>
                  <a:lnTo>
                    <a:pt x="68" y="8"/>
                  </a:lnTo>
                  <a:lnTo>
                    <a:pt x="74" y="16"/>
                  </a:lnTo>
                  <a:lnTo>
                    <a:pt x="76" y="12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7" name="Pakistan">
              <a:extLst>
                <a:ext uri="{FF2B5EF4-FFF2-40B4-BE49-F238E27FC236}">
                  <a16:creationId xmlns:a16="http://schemas.microsoft.com/office/drawing/2014/main" id="{F4172F01-228B-4220-8E15-438317C355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056" y="2660424"/>
              <a:ext cx="492125" cy="508000"/>
            </a:xfrm>
            <a:custGeom>
              <a:avLst/>
              <a:gdLst>
                <a:gd name="T0" fmla="*/ 276 w 310"/>
                <a:gd name="T1" fmla="*/ 30 h 320"/>
                <a:gd name="T2" fmla="*/ 247 w 310"/>
                <a:gd name="T3" fmla="*/ 0 h 320"/>
                <a:gd name="T4" fmla="*/ 227 w 310"/>
                <a:gd name="T5" fmla="*/ 7 h 320"/>
                <a:gd name="T6" fmla="*/ 186 w 310"/>
                <a:gd name="T7" fmla="*/ 15 h 320"/>
                <a:gd name="T8" fmla="*/ 184 w 310"/>
                <a:gd name="T9" fmla="*/ 36 h 320"/>
                <a:gd name="T10" fmla="*/ 182 w 310"/>
                <a:gd name="T11" fmla="*/ 58 h 320"/>
                <a:gd name="T12" fmla="*/ 181 w 310"/>
                <a:gd name="T13" fmla="*/ 76 h 320"/>
                <a:gd name="T14" fmla="*/ 174 w 310"/>
                <a:gd name="T15" fmla="*/ 91 h 320"/>
                <a:gd name="T16" fmla="*/ 157 w 310"/>
                <a:gd name="T17" fmla="*/ 111 h 320"/>
                <a:gd name="T18" fmla="*/ 154 w 310"/>
                <a:gd name="T19" fmla="*/ 132 h 320"/>
                <a:gd name="T20" fmla="*/ 132 w 310"/>
                <a:gd name="T21" fmla="*/ 133 h 320"/>
                <a:gd name="T22" fmla="*/ 116 w 310"/>
                <a:gd name="T23" fmla="*/ 139 h 320"/>
                <a:gd name="T24" fmla="*/ 110 w 310"/>
                <a:gd name="T25" fmla="*/ 173 h 320"/>
                <a:gd name="T26" fmla="*/ 72 w 310"/>
                <a:gd name="T27" fmla="*/ 180 h 320"/>
                <a:gd name="T28" fmla="*/ 56 w 310"/>
                <a:gd name="T29" fmla="*/ 183 h 320"/>
                <a:gd name="T30" fmla="*/ 0 w 310"/>
                <a:gd name="T31" fmla="*/ 175 h 320"/>
                <a:gd name="T32" fmla="*/ 23 w 310"/>
                <a:gd name="T33" fmla="*/ 201 h 320"/>
                <a:gd name="T34" fmla="*/ 48 w 310"/>
                <a:gd name="T35" fmla="*/ 233 h 320"/>
                <a:gd name="T36" fmla="*/ 61 w 310"/>
                <a:gd name="T37" fmla="*/ 247 h 320"/>
                <a:gd name="T38" fmla="*/ 29 w 310"/>
                <a:gd name="T39" fmla="*/ 287 h 320"/>
                <a:gd name="T40" fmla="*/ 91 w 310"/>
                <a:gd name="T41" fmla="*/ 283 h 320"/>
                <a:gd name="T42" fmla="*/ 146 w 310"/>
                <a:gd name="T43" fmla="*/ 297 h 320"/>
                <a:gd name="T44" fmla="*/ 169 w 310"/>
                <a:gd name="T45" fmla="*/ 320 h 320"/>
                <a:gd name="T46" fmla="*/ 226 w 310"/>
                <a:gd name="T47" fmla="*/ 304 h 320"/>
                <a:gd name="T48" fmla="*/ 207 w 310"/>
                <a:gd name="T49" fmla="*/ 272 h 320"/>
                <a:gd name="T50" fmla="*/ 186 w 310"/>
                <a:gd name="T51" fmla="*/ 243 h 320"/>
                <a:gd name="T52" fmla="*/ 229 w 310"/>
                <a:gd name="T53" fmla="*/ 219 h 320"/>
                <a:gd name="T54" fmla="*/ 253 w 310"/>
                <a:gd name="T55" fmla="*/ 171 h 320"/>
                <a:gd name="T56" fmla="*/ 264 w 310"/>
                <a:gd name="T57" fmla="*/ 130 h 320"/>
                <a:gd name="T58" fmla="*/ 259 w 310"/>
                <a:gd name="T59" fmla="*/ 105 h 320"/>
                <a:gd name="T60" fmla="*/ 236 w 310"/>
                <a:gd name="T61" fmla="*/ 68 h 320"/>
                <a:gd name="T62" fmla="*/ 276 w 310"/>
                <a:gd name="T63" fmla="*/ 64 h 320"/>
                <a:gd name="T64" fmla="*/ 310 w 310"/>
                <a:gd name="T65" fmla="*/ 39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0" h="320">
                  <a:moveTo>
                    <a:pt x="310" y="39"/>
                  </a:moveTo>
                  <a:lnTo>
                    <a:pt x="276" y="30"/>
                  </a:lnTo>
                  <a:lnTo>
                    <a:pt x="264" y="11"/>
                  </a:lnTo>
                  <a:lnTo>
                    <a:pt x="247" y="0"/>
                  </a:lnTo>
                  <a:lnTo>
                    <a:pt x="236" y="3"/>
                  </a:lnTo>
                  <a:lnTo>
                    <a:pt x="227" y="7"/>
                  </a:lnTo>
                  <a:lnTo>
                    <a:pt x="206" y="10"/>
                  </a:lnTo>
                  <a:lnTo>
                    <a:pt x="186" y="15"/>
                  </a:lnTo>
                  <a:lnTo>
                    <a:pt x="177" y="25"/>
                  </a:lnTo>
                  <a:lnTo>
                    <a:pt x="184" y="36"/>
                  </a:lnTo>
                  <a:lnTo>
                    <a:pt x="190" y="48"/>
                  </a:lnTo>
                  <a:lnTo>
                    <a:pt x="182" y="58"/>
                  </a:lnTo>
                  <a:lnTo>
                    <a:pt x="185" y="67"/>
                  </a:lnTo>
                  <a:lnTo>
                    <a:pt x="181" y="76"/>
                  </a:lnTo>
                  <a:lnTo>
                    <a:pt x="163" y="75"/>
                  </a:lnTo>
                  <a:lnTo>
                    <a:pt x="174" y="91"/>
                  </a:lnTo>
                  <a:lnTo>
                    <a:pt x="163" y="96"/>
                  </a:lnTo>
                  <a:lnTo>
                    <a:pt x="157" y="111"/>
                  </a:lnTo>
                  <a:lnTo>
                    <a:pt x="161" y="125"/>
                  </a:lnTo>
                  <a:lnTo>
                    <a:pt x="154" y="132"/>
                  </a:lnTo>
                  <a:lnTo>
                    <a:pt x="147" y="130"/>
                  </a:lnTo>
                  <a:lnTo>
                    <a:pt x="132" y="133"/>
                  </a:lnTo>
                  <a:lnTo>
                    <a:pt x="131" y="139"/>
                  </a:lnTo>
                  <a:lnTo>
                    <a:pt x="116" y="139"/>
                  </a:lnTo>
                  <a:lnTo>
                    <a:pt x="108" y="152"/>
                  </a:lnTo>
                  <a:lnTo>
                    <a:pt x="110" y="173"/>
                  </a:lnTo>
                  <a:lnTo>
                    <a:pt x="86" y="182"/>
                  </a:lnTo>
                  <a:lnTo>
                    <a:pt x="72" y="180"/>
                  </a:lnTo>
                  <a:lnTo>
                    <a:pt x="68" y="186"/>
                  </a:lnTo>
                  <a:lnTo>
                    <a:pt x="56" y="183"/>
                  </a:lnTo>
                  <a:lnTo>
                    <a:pt x="37" y="186"/>
                  </a:lnTo>
                  <a:lnTo>
                    <a:pt x="0" y="175"/>
                  </a:lnTo>
                  <a:lnTo>
                    <a:pt x="12" y="187"/>
                  </a:lnTo>
                  <a:lnTo>
                    <a:pt x="23" y="201"/>
                  </a:lnTo>
                  <a:lnTo>
                    <a:pt x="44" y="211"/>
                  </a:lnTo>
                  <a:lnTo>
                    <a:pt x="48" y="233"/>
                  </a:lnTo>
                  <a:lnTo>
                    <a:pt x="57" y="236"/>
                  </a:lnTo>
                  <a:lnTo>
                    <a:pt x="61" y="247"/>
                  </a:lnTo>
                  <a:lnTo>
                    <a:pt x="33" y="260"/>
                  </a:lnTo>
                  <a:lnTo>
                    <a:pt x="29" y="287"/>
                  </a:lnTo>
                  <a:lnTo>
                    <a:pt x="57" y="284"/>
                  </a:lnTo>
                  <a:lnTo>
                    <a:pt x="91" y="283"/>
                  </a:lnTo>
                  <a:lnTo>
                    <a:pt x="127" y="279"/>
                  </a:lnTo>
                  <a:lnTo>
                    <a:pt x="146" y="297"/>
                  </a:lnTo>
                  <a:lnTo>
                    <a:pt x="153" y="314"/>
                  </a:lnTo>
                  <a:lnTo>
                    <a:pt x="169" y="320"/>
                  </a:lnTo>
                  <a:lnTo>
                    <a:pt x="181" y="304"/>
                  </a:lnTo>
                  <a:lnTo>
                    <a:pt x="226" y="304"/>
                  </a:lnTo>
                  <a:lnTo>
                    <a:pt x="220" y="284"/>
                  </a:lnTo>
                  <a:lnTo>
                    <a:pt x="207" y="272"/>
                  </a:lnTo>
                  <a:lnTo>
                    <a:pt x="201" y="253"/>
                  </a:lnTo>
                  <a:lnTo>
                    <a:pt x="186" y="243"/>
                  </a:lnTo>
                  <a:lnTo>
                    <a:pt x="205" y="218"/>
                  </a:lnTo>
                  <a:lnTo>
                    <a:pt x="229" y="219"/>
                  </a:lnTo>
                  <a:lnTo>
                    <a:pt x="246" y="195"/>
                  </a:lnTo>
                  <a:lnTo>
                    <a:pt x="253" y="171"/>
                  </a:lnTo>
                  <a:lnTo>
                    <a:pt x="268" y="147"/>
                  </a:lnTo>
                  <a:lnTo>
                    <a:pt x="264" y="130"/>
                  </a:lnTo>
                  <a:lnTo>
                    <a:pt x="278" y="117"/>
                  </a:lnTo>
                  <a:lnTo>
                    <a:pt x="259" y="105"/>
                  </a:lnTo>
                  <a:lnTo>
                    <a:pt x="249" y="89"/>
                  </a:lnTo>
                  <a:lnTo>
                    <a:pt x="236" y="68"/>
                  </a:lnTo>
                  <a:lnTo>
                    <a:pt x="244" y="57"/>
                  </a:lnTo>
                  <a:lnTo>
                    <a:pt x="276" y="64"/>
                  </a:lnTo>
                  <a:lnTo>
                    <a:pt x="296" y="60"/>
                  </a:lnTo>
                  <a:lnTo>
                    <a:pt x="310" y="39"/>
                  </a:lnTo>
                  <a:lnTo>
                    <a:pt x="310" y="39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8" name="Panama">
              <a:extLst>
                <a:ext uri="{FF2B5EF4-FFF2-40B4-BE49-F238E27FC236}">
                  <a16:creationId xmlns:a16="http://schemas.microsoft.com/office/drawing/2014/main" id="{16721E52-31B0-4D4B-B661-A8BF428BC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0881" y="3700236"/>
              <a:ext cx="188912" cy="90488"/>
            </a:xfrm>
            <a:custGeom>
              <a:avLst/>
              <a:gdLst>
                <a:gd name="T0" fmla="*/ 117 w 119"/>
                <a:gd name="T1" fmla="*/ 22 h 57"/>
                <a:gd name="T2" fmla="*/ 110 w 119"/>
                <a:gd name="T3" fmla="*/ 15 h 57"/>
                <a:gd name="T4" fmla="*/ 103 w 119"/>
                <a:gd name="T5" fmla="*/ 8 h 57"/>
                <a:gd name="T6" fmla="*/ 94 w 119"/>
                <a:gd name="T7" fmla="*/ 4 h 57"/>
                <a:gd name="T8" fmla="*/ 83 w 119"/>
                <a:gd name="T9" fmla="*/ 3 h 57"/>
                <a:gd name="T10" fmla="*/ 84 w 119"/>
                <a:gd name="T11" fmla="*/ 1 h 57"/>
                <a:gd name="T12" fmla="*/ 73 w 119"/>
                <a:gd name="T13" fmla="*/ 0 h 57"/>
                <a:gd name="T14" fmla="*/ 65 w 119"/>
                <a:gd name="T15" fmla="*/ 7 h 57"/>
                <a:gd name="T16" fmla="*/ 52 w 119"/>
                <a:gd name="T17" fmla="*/ 12 h 57"/>
                <a:gd name="T18" fmla="*/ 43 w 119"/>
                <a:gd name="T19" fmla="*/ 17 h 57"/>
                <a:gd name="T20" fmla="*/ 32 w 119"/>
                <a:gd name="T21" fmla="*/ 19 h 57"/>
                <a:gd name="T22" fmla="*/ 27 w 119"/>
                <a:gd name="T23" fmla="*/ 14 h 57"/>
                <a:gd name="T24" fmla="*/ 25 w 119"/>
                <a:gd name="T25" fmla="*/ 15 h 57"/>
                <a:gd name="T26" fmla="*/ 17 w 119"/>
                <a:gd name="T27" fmla="*/ 14 h 57"/>
                <a:gd name="T28" fmla="*/ 17 w 119"/>
                <a:gd name="T29" fmla="*/ 9 h 57"/>
                <a:gd name="T30" fmla="*/ 10 w 119"/>
                <a:gd name="T31" fmla="*/ 0 h 57"/>
                <a:gd name="T32" fmla="*/ 2 w 119"/>
                <a:gd name="T33" fmla="*/ 3 h 57"/>
                <a:gd name="T34" fmla="*/ 2 w 119"/>
                <a:gd name="T35" fmla="*/ 13 h 57"/>
                <a:gd name="T36" fmla="*/ 5 w 119"/>
                <a:gd name="T37" fmla="*/ 16 h 57"/>
                <a:gd name="T38" fmla="*/ 3 w 119"/>
                <a:gd name="T39" fmla="*/ 18 h 57"/>
                <a:gd name="T40" fmla="*/ 3 w 119"/>
                <a:gd name="T41" fmla="*/ 23 h 57"/>
                <a:gd name="T42" fmla="*/ 1 w 119"/>
                <a:gd name="T43" fmla="*/ 28 h 57"/>
                <a:gd name="T44" fmla="*/ 0 w 119"/>
                <a:gd name="T45" fmla="*/ 32 h 57"/>
                <a:gd name="T46" fmla="*/ 2 w 119"/>
                <a:gd name="T47" fmla="*/ 36 h 57"/>
                <a:gd name="T48" fmla="*/ 3 w 119"/>
                <a:gd name="T49" fmla="*/ 31 h 57"/>
                <a:gd name="T50" fmla="*/ 12 w 119"/>
                <a:gd name="T51" fmla="*/ 31 h 57"/>
                <a:gd name="T52" fmla="*/ 17 w 119"/>
                <a:gd name="T53" fmla="*/ 33 h 57"/>
                <a:gd name="T54" fmla="*/ 26 w 119"/>
                <a:gd name="T55" fmla="*/ 35 h 57"/>
                <a:gd name="T56" fmla="*/ 30 w 119"/>
                <a:gd name="T57" fmla="*/ 44 h 57"/>
                <a:gd name="T58" fmla="*/ 36 w 119"/>
                <a:gd name="T59" fmla="*/ 46 h 57"/>
                <a:gd name="T60" fmla="*/ 39 w 119"/>
                <a:gd name="T61" fmla="*/ 42 h 57"/>
                <a:gd name="T62" fmla="*/ 42 w 119"/>
                <a:gd name="T63" fmla="*/ 57 h 57"/>
                <a:gd name="T64" fmla="*/ 52 w 119"/>
                <a:gd name="T65" fmla="*/ 56 h 57"/>
                <a:gd name="T66" fmla="*/ 55 w 119"/>
                <a:gd name="T67" fmla="*/ 52 h 57"/>
                <a:gd name="T68" fmla="*/ 60 w 119"/>
                <a:gd name="T69" fmla="*/ 48 h 57"/>
                <a:gd name="T70" fmla="*/ 51 w 119"/>
                <a:gd name="T71" fmla="*/ 36 h 57"/>
                <a:gd name="T72" fmla="*/ 54 w 119"/>
                <a:gd name="T73" fmla="*/ 31 h 57"/>
                <a:gd name="T74" fmla="*/ 59 w 119"/>
                <a:gd name="T75" fmla="*/ 29 h 57"/>
                <a:gd name="T76" fmla="*/ 67 w 119"/>
                <a:gd name="T77" fmla="*/ 24 h 57"/>
                <a:gd name="T78" fmla="*/ 72 w 119"/>
                <a:gd name="T79" fmla="*/ 15 h 57"/>
                <a:gd name="T80" fmla="*/ 81 w 119"/>
                <a:gd name="T81" fmla="*/ 14 h 57"/>
                <a:gd name="T82" fmla="*/ 91 w 119"/>
                <a:gd name="T83" fmla="*/ 21 h 57"/>
                <a:gd name="T84" fmla="*/ 95 w 119"/>
                <a:gd name="T85" fmla="*/ 28 h 57"/>
                <a:gd name="T86" fmla="*/ 100 w 119"/>
                <a:gd name="T87" fmla="*/ 30 h 57"/>
                <a:gd name="T88" fmla="*/ 94 w 119"/>
                <a:gd name="T89" fmla="*/ 37 h 57"/>
                <a:gd name="T90" fmla="*/ 98 w 119"/>
                <a:gd name="T91" fmla="*/ 50 h 57"/>
                <a:gd name="T92" fmla="*/ 104 w 119"/>
                <a:gd name="T93" fmla="*/ 57 h 57"/>
                <a:gd name="T94" fmla="*/ 108 w 119"/>
                <a:gd name="T95" fmla="*/ 44 h 57"/>
                <a:gd name="T96" fmla="*/ 115 w 119"/>
                <a:gd name="T97" fmla="*/ 46 h 57"/>
                <a:gd name="T98" fmla="*/ 119 w 119"/>
                <a:gd name="T99" fmla="*/ 40 h 57"/>
                <a:gd name="T100" fmla="*/ 115 w 119"/>
                <a:gd name="T101" fmla="*/ 26 h 57"/>
                <a:gd name="T102" fmla="*/ 117 w 119"/>
                <a:gd name="T103" fmla="*/ 2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9" h="57">
                  <a:moveTo>
                    <a:pt x="117" y="22"/>
                  </a:moveTo>
                  <a:lnTo>
                    <a:pt x="110" y="15"/>
                  </a:lnTo>
                  <a:lnTo>
                    <a:pt x="103" y="8"/>
                  </a:lnTo>
                  <a:lnTo>
                    <a:pt x="94" y="4"/>
                  </a:lnTo>
                  <a:lnTo>
                    <a:pt x="83" y="3"/>
                  </a:lnTo>
                  <a:lnTo>
                    <a:pt x="84" y="1"/>
                  </a:lnTo>
                  <a:lnTo>
                    <a:pt x="73" y="0"/>
                  </a:lnTo>
                  <a:lnTo>
                    <a:pt x="65" y="7"/>
                  </a:lnTo>
                  <a:lnTo>
                    <a:pt x="52" y="12"/>
                  </a:lnTo>
                  <a:lnTo>
                    <a:pt x="43" y="17"/>
                  </a:lnTo>
                  <a:lnTo>
                    <a:pt x="32" y="19"/>
                  </a:lnTo>
                  <a:lnTo>
                    <a:pt x="27" y="14"/>
                  </a:lnTo>
                  <a:lnTo>
                    <a:pt x="25" y="15"/>
                  </a:lnTo>
                  <a:lnTo>
                    <a:pt x="17" y="14"/>
                  </a:lnTo>
                  <a:lnTo>
                    <a:pt x="17" y="9"/>
                  </a:lnTo>
                  <a:lnTo>
                    <a:pt x="10" y="0"/>
                  </a:lnTo>
                  <a:lnTo>
                    <a:pt x="2" y="3"/>
                  </a:lnTo>
                  <a:lnTo>
                    <a:pt x="2" y="13"/>
                  </a:lnTo>
                  <a:lnTo>
                    <a:pt x="5" y="16"/>
                  </a:lnTo>
                  <a:lnTo>
                    <a:pt x="3" y="18"/>
                  </a:lnTo>
                  <a:lnTo>
                    <a:pt x="3" y="23"/>
                  </a:lnTo>
                  <a:lnTo>
                    <a:pt x="1" y="28"/>
                  </a:lnTo>
                  <a:lnTo>
                    <a:pt x="0" y="32"/>
                  </a:lnTo>
                  <a:lnTo>
                    <a:pt x="2" y="36"/>
                  </a:lnTo>
                  <a:lnTo>
                    <a:pt x="3" y="31"/>
                  </a:lnTo>
                  <a:lnTo>
                    <a:pt x="12" y="31"/>
                  </a:lnTo>
                  <a:lnTo>
                    <a:pt x="17" y="33"/>
                  </a:lnTo>
                  <a:lnTo>
                    <a:pt x="26" y="35"/>
                  </a:lnTo>
                  <a:lnTo>
                    <a:pt x="30" y="44"/>
                  </a:lnTo>
                  <a:lnTo>
                    <a:pt x="36" y="46"/>
                  </a:lnTo>
                  <a:lnTo>
                    <a:pt x="39" y="42"/>
                  </a:lnTo>
                  <a:lnTo>
                    <a:pt x="42" y="57"/>
                  </a:lnTo>
                  <a:lnTo>
                    <a:pt x="52" y="56"/>
                  </a:lnTo>
                  <a:lnTo>
                    <a:pt x="55" y="52"/>
                  </a:lnTo>
                  <a:lnTo>
                    <a:pt x="60" y="48"/>
                  </a:lnTo>
                  <a:lnTo>
                    <a:pt x="51" y="36"/>
                  </a:lnTo>
                  <a:lnTo>
                    <a:pt x="54" y="31"/>
                  </a:lnTo>
                  <a:lnTo>
                    <a:pt x="59" y="29"/>
                  </a:lnTo>
                  <a:lnTo>
                    <a:pt x="67" y="24"/>
                  </a:lnTo>
                  <a:lnTo>
                    <a:pt x="72" y="15"/>
                  </a:lnTo>
                  <a:lnTo>
                    <a:pt x="81" y="14"/>
                  </a:lnTo>
                  <a:lnTo>
                    <a:pt x="91" y="21"/>
                  </a:lnTo>
                  <a:lnTo>
                    <a:pt x="95" y="28"/>
                  </a:lnTo>
                  <a:lnTo>
                    <a:pt x="100" y="30"/>
                  </a:lnTo>
                  <a:lnTo>
                    <a:pt x="94" y="37"/>
                  </a:lnTo>
                  <a:lnTo>
                    <a:pt x="98" y="50"/>
                  </a:lnTo>
                  <a:lnTo>
                    <a:pt x="104" y="57"/>
                  </a:lnTo>
                  <a:lnTo>
                    <a:pt x="108" y="44"/>
                  </a:lnTo>
                  <a:lnTo>
                    <a:pt x="115" y="46"/>
                  </a:lnTo>
                  <a:lnTo>
                    <a:pt x="119" y="40"/>
                  </a:lnTo>
                  <a:lnTo>
                    <a:pt x="115" y="26"/>
                  </a:lnTo>
                  <a:lnTo>
                    <a:pt x="117" y="22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9" name="Peru">
              <a:extLst>
                <a:ext uri="{FF2B5EF4-FFF2-40B4-BE49-F238E27FC236}">
                  <a16:creationId xmlns:a16="http://schemas.microsoft.com/office/drawing/2014/main" id="{3996C256-8014-4FA1-8308-06F7371010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6919" y="4063773"/>
              <a:ext cx="438150" cy="690563"/>
            </a:xfrm>
            <a:custGeom>
              <a:avLst/>
              <a:gdLst>
                <a:gd name="T0" fmla="*/ 230 w 276"/>
                <a:gd name="T1" fmla="*/ 88 h 435"/>
                <a:gd name="T2" fmla="*/ 237 w 276"/>
                <a:gd name="T3" fmla="*/ 64 h 435"/>
                <a:gd name="T4" fmla="*/ 208 w 276"/>
                <a:gd name="T5" fmla="*/ 54 h 435"/>
                <a:gd name="T6" fmla="*/ 189 w 276"/>
                <a:gd name="T7" fmla="*/ 57 h 435"/>
                <a:gd name="T8" fmla="*/ 160 w 276"/>
                <a:gd name="T9" fmla="*/ 29 h 435"/>
                <a:gd name="T10" fmla="*/ 143 w 276"/>
                <a:gd name="T11" fmla="*/ 11 h 435"/>
                <a:gd name="T12" fmla="*/ 124 w 276"/>
                <a:gd name="T13" fmla="*/ 2 h 435"/>
                <a:gd name="T14" fmla="*/ 121 w 276"/>
                <a:gd name="T15" fmla="*/ 36 h 435"/>
                <a:gd name="T16" fmla="*/ 73 w 276"/>
                <a:gd name="T17" fmla="*/ 70 h 435"/>
                <a:gd name="T18" fmla="*/ 58 w 276"/>
                <a:gd name="T19" fmla="*/ 107 h 435"/>
                <a:gd name="T20" fmla="*/ 37 w 276"/>
                <a:gd name="T21" fmla="*/ 105 h 435"/>
                <a:gd name="T22" fmla="*/ 19 w 276"/>
                <a:gd name="T23" fmla="*/ 104 h 435"/>
                <a:gd name="T24" fmla="*/ 25 w 276"/>
                <a:gd name="T25" fmla="*/ 90 h 435"/>
                <a:gd name="T26" fmla="*/ 5 w 276"/>
                <a:gd name="T27" fmla="*/ 95 h 435"/>
                <a:gd name="T28" fmla="*/ 11 w 276"/>
                <a:gd name="T29" fmla="*/ 135 h 435"/>
                <a:gd name="T30" fmla="*/ 19 w 276"/>
                <a:gd name="T31" fmla="*/ 154 h 435"/>
                <a:gd name="T32" fmla="*/ 44 w 276"/>
                <a:gd name="T33" fmla="*/ 187 h 435"/>
                <a:gd name="T34" fmla="*/ 75 w 276"/>
                <a:gd name="T35" fmla="*/ 246 h 435"/>
                <a:gd name="T36" fmla="*/ 118 w 276"/>
                <a:gd name="T37" fmla="*/ 320 h 435"/>
                <a:gd name="T38" fmla="*/ 126 w 276"/>
                <a:gd name="T39" fmla="*/ 348 h 435"/>
                <a:gd name="T40" fmla="*/ 184 w 276"/>
                <a:gd name="T41" fmla="*/ 388 h 435"/>
                <a:gd name="T42" fmla="*/ 229 w 276"/>
                <a:gd name="T43" fmla="*/ 421 h 435"/>
                <a:gd name="T44" fmla="*/ 261 w 276"/>
                <a:gd name="T45" fmla="*/ 429 h 435"/>
                <a:gd name="T46" fmla="*/ 276 w 276"/>
                <a:gd name="T47" fmla="*/ 391 h 435"/>
                <a:gd name="T48" fmla="*/ 270 w 276"/>
                <a:gd name="T49" fmla="*/ 363 h 435"/>
                <a:gd name="T50" fmla="*/ 272 w 276"/>
                <a:gd name="T51" fmla="*/ 342 h 435"/>
                <a:gd name="T52" fmla="*/ 271 w 276"/>
                <a:gd name="T53" fmla="*/ 306 h 435"/>
                <a:gd name="T54" fmla="*/ 255 w 276"/>
                <a:gd name="T55" fmla="*/ 259 h 435"/>
                <a:gd name="T56" fmla="*/ 234 w 276"/>
                <a:gd name="T57" fmla="*/ 261 h 435"/>
                <a:gd name="T58" fmla="*/ 216 w 276"/>
                <a:gd name="T59" fmla="*/ 238 h 435"/>
                <a:gd name="T60" fmla="*/ 189 w 276"/>
                <a:gd name="T61" fmla="*/ 225 h 435"/>
                <a:gd name="T62" fmla="*/ 180 w 276"/>
                <a:gd name="T63" fmla="*/ 213 h 435"/>
                <a:gd name="T64" fmla="*/ 157 w 276"/>
                <a:gd name="T65" fmla="*/ 178 h 435"/>
                <a:gd name="T66" fmla="*/ 163 w 276"/>
                <a:gd name="T67" fmla="*/ 164 h 435"/>
                <a:gd name="T68" fmla="*/ 172 w 276"/>
                <a:gd name="T69" fmla="*/ 144 h 435"/>
                <a:gd name="T70" fmla="*/ 179 w 276"/>
                <a:gd name="T71" fmla="*/ 124 h 435"/>
                <a:gd name="T72" fmla="*/ 219 w 276"/>
                <a:gd name="T73" fmla="*/ 104 h 435"/>
                <a:gd name="T74" fmla="*/ 241 w 276"/>
                <a:gd name="T75" fmla="*/ 101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76" h="435">
                  <a:moveTo>
                    <a:pt x="241" y="101"/>
                  </a:moveTo>
                  <a:lnTo>
                    <a:pt x="230" y="88"/>
                  </a:lnTo>
                  <a:lnTo>
                    <a:pt x="224" y="88"/>
                  </a:lnTo>
                  <a:lnTo>
                    <a:pt x="237" y="64"/>
                  </a:lnTo>
                  <a:lnTo>
                    <a:pt x="220" y="53"/>
                  </a:lnTo>
                  <a:lnTo>
                    <a:pt x="208" y="54"/>
                  </a:lnTo>
                  <a:lnTo>
                    <a:pt x="200" y="51"/>
                  </a:lnTo>
                  <a:lnTo>
                    <a:pt x="189" y="57"/>
                  </a:lnTo>
                  <a:lnTo>
                    <a:pt x="173" y="54"/>
                  </a:lnTo>
                  <a:lnTo>
                    <a:pt x="160" y="29"/>
                  </a:lnTo>
                  <a:lnTo>
                    <a:pt x="150" y="23"/>
                  </a:lnTo>
                  <a:lnTo>
                    <a:pt x="143" y="11"/>
                  </a:lnTo>
                  <a:lnTo>
                    <a:pt x="129" y="0"/>
                  </a:lnTo>
                  <a:lnTo>
                    <a:pt x="124" y="2"/>
                  </a:lnTo>
                  <a:lnTo>
                    <a:pt x="128" y="21"/>
                  </a:lnTo>
                  <a:lnTo>
                    <a:pt x="121" y="36"/>
                  </a:lnTo>
                  <a:lnTo>
                    <a:pt x="99" y="61"/>
                  </a:lnTo>
                  <a:lnTo>
                    <a:pt x="73" y="70"/>
                  </a:lnTo>
                  <a:lnTo>
                    <a:pt x="61" y="91"/>
                  </a:lnTo>
                  <a:lnTo>
                    <a:pt x="58" y="107"/>
                  </a:lnTo>
                  <a:lnTo>
                    <a:pt x="46" y="117"/>
                  </a:lnTo>
                  <a:lnTo>
                    <a:pt x="37" y="105"/>
                  </a:lnTo>
                  <a:lnTo>
                    <a:pt x="29" y="102"/>
                  </a:lnTo>
                  <a:lnTo>
                    <a:pt x="19" y="104"/>
                  </a:lnTo>
                  <a:lnTo>
                    <a:pt x="19" y="95"/>
                  </a:lnTo>
                  <a:lnTo>
                    <a:pt x="25" y="90"/>
                  </a:lnTo>
                  <a:lnTo>
                    <a:pt x="22" y="80"/>
                  </a:lnTo>
                  <a:lnTo>
                    <a:pt x="5" y="95"/>
                  </a:lnTo>
                  <a:lnTo>
                    <a:pt x="0" y="111"/>
                  </a:lnTo>
                  <a:lnTo>
                    <a:pt x="11" y="135"/>
                  </a:lnTo>
                  <a:lnTo>
                    <a:pt x="4" y="145"/>
                  </a:lnTo>
                  <a:lnTo>
                    <a:pt x="19" y="154"/>
                  </a:lnTo>
                  <a:lnTo>
                    <a:pt x="36" y="170"/>
                  </a:lnTo>
                  <a:lnTo>
                    <a:pt x="44" y="187"/>
                  </a:lnTo>
                  <a:lnTo>
                    <a:pt x="53" y="198"/>
                  </a:lnTo>
                  <a:lnTo>
                    <a:pt x="75" y="246"/>
                  </a:lnTo>
                  <a:lnTo>
                    <a:pt x="99" y="290"/>
                  </a:lnTo>
                  <a:lnTo>
                    <a:pt x="118" y="320"/>
                  </a:lnTo>
                  <a:lnTo>
                    <a:pt x="115" y="327"/>
                  </a:lnTo>
                  <a:lnTo>
                    <a:pt x="126" y="348"/>
                  </a:lnTo>
                  <a:lnTo>
                    <a:pt x="143" y="362"/>
                  </a:lnTo>
                  <a:lnTo>
                    <a:pt x="184" y="388"/>
                  </a:lnTo>
                  <a:lnTo>
                    <a:pt x="227" y="411"/>
                  </a:lnTo>
                  <a:lnTo>
                    <a:pt x="229" y="421"/>
                  </a:lnTo>
                  <a:lnTo>
                    <a:pt x="251" y="435"/>
                  </a:lnTo>
                  <a:lnTo>
                    <a:pt x="261" y="429"/>
                  </a:lnTo>
                  <a:lnTo>
                    <a:pt x="266" y="417"/>
                  </a:lnTo>
                  <a:lnTo>
                    <a:pt x="276" y="391"/>
                  </a:lnTo>
                  <a:lnTo>
                    <a:pt x="266" y="371"/>
                  </a:lnTo>
                  <a:lnTo>
                    <a:pt x="270" y="363"/>
                  </a:lnTo>
                  <a:lnTo>
                    <a:pt x="266" y="354"/>
                  </a:lnTo>
                  <a:lnTo>
                    <a:pt x="272" y="342"/>
                  </a:lnTo>
                  <a:lnTo>
                    <a:pt x="271" y="322"/>
                  </a:lnTo>
                  <a:lnTo>
                    <a:pt x="271" y="306"/>
                  </a:lnTo>
                  <a:lnTo>
                    <a:pt x="275" y="297"/>
                  </a:lnTo>
                  <a:lnTo>
                    <a:pt x="255" y="259"/>
                  </a:lnTo>
                  <a:lnTo>
                    <a:pt x="243" y="264"/>
                  </a:lnTo>
                  <a:lnTo>
                    <a:pt x="234" y="261"/>
                  </a:lnTo>
                  <a:lnTo>
                    <a:pt x="233" y="224"/>
                  </a:lnTo>
                  <a:lnTo>
                    <a:pt x="216" y="238"/>
                  </a:lnTo>
                  <a:lnTo>
                    <a:pt x="199" y="237"/>
                  </a:lnTo>
                  <a:lnTo>
                    <a:pt x="189" y="225"/>
                  </a:lnTo>
                  <a:lnTo>
                    <a:pt x="176" y="224"/>
                  </a:lnTo>
                  <a:lnTo>
                    <a:pt x="180" y="213"/>
                  </a:lnTo>
                  <a:lnTo>
                    <a:pt x="167" y="199"/>
                  </a:lnTo>
                  <a:lnTo>
                    <a:pt x="157" y="178"/>
                  </a:lnTo>
                  <a:lnTo>
                    <a:pt x="163" y="174"/>
                  </a:lnTo>
                  <a:lnTo>
                    <a:pt x="163" y="164"/>
                  </a:lnTo>
                  <a:lnTo>
                    <a:pt x="175" y="156"/>
                  </a:lnTo>
                  <a:lnTo>
                    <a:pt x="172" y="144"/>
                  </a:lnTo>
                  <a:lnTo>
                    <a:pt x="177" y="136"/>
                  </a:lnTo>
                  <a:lnTo>
                    <a:pt x="179" y="124"/>
                  </a:lnTo>
                  <a:lnTo>
                    <a:pt x="202" y="109"/>
                  </a:lnTo>
                  <a:lnTo>
                    <a:pt x="219" y="104"/>
                  </a:lnTo>
                  <a:lnTo>
                    <a:pt x="222" y="100"/>
                  </a:lnTo>
                  <a:lnTo>
                    <a:pt x="241" y="101"/>
                  </a:lnTo>
                  <a:lnTo>
                    <a:pt x="241" y="101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0" name="The Philippines">
              <a:extLst>
                <a:ext uri="{FF2B5EF4-FFF2-40B4-BE49-F238E27FC236}">
                  <a16:creationId xmlns:a16="http://schemas.microsoft.com/office/drawing/2014/main" id="{63D093DA-88B6-4636-B45E-8EDB662265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86156" y="3365273"/>
              <a:ext cx="314325" cy="487363"/>
            </a:xfrm>
            <a:custGeom>
              <a:avLst/>
              <a:gdLst>
                <a:gd name="T0" fmla="*/ 191 w 198"/>
                <a:gd name="T1" fmla="*/ 230 h 307"/>
                <a:gd name="T2" fmla="*/ 170 w 198"/>
                <a:gd name="T3" fmla="*/ 207 h 307"/>
                <a:gd name="T4" fmla="*/ 158 w 198"/>
                <a:gd name="T5" fmla="*/ 226 h 307"/>
                <a:gd name="T6" fmla="*/ 140 w 198"/>
                <a:gd name="T7" fmla="*/ 243 h 307"/>
                <a:gd name="T8" fmla="*/ 122 w 198"/>
                <a:gd name="T9" fmla="*/ 241 h 307"/>
                <a:gd name="T10" fmla="*/ 101 w 198"/>
                <a:gd name="T11" fmla="*/ 268 h 307"/>
                <a:gd name="T12" fmla="*/ 120 w 198"/>
                <a:gd name="T13" fmla="*/ 262 h 307"/>
                <a:gd name="T14" fmla="*/ 136 w 198"/>
                <a:gd name="T15" fmla="*/ 253 h 307"/>
                <a:gd name="T16" fmla="*/ 144 w 198"/>
                <a:gd name="T17" fmla="*/ 276 h 307"/>
                <a:gd name="T18" fmla="*/ 177 w 198"/>
                <a:gd name="T19" fmla="*/ 307 h 307"/>
                <a:gd name="T20" fmla="*/ 174 w 198"/>
                <a:gd name="T21" fmla="*/ 278 h 307"/>
                <a:gd name="T22" fmla="*/ 193 w 198"/>
                <a:gd name="T23" fmla="*/ 290 h 307"/>
                <a:gd name="T24" fmla="*/ 196 w 198"/>
                <a:gd name="T25" fmla="*/ 255 h 307"/>
                <a:gd name="T26" fmla="*/ 193 w 198"/>
                <a:gd name="T27" fmla="*/ 239 h 307"/>
                <a:gd name="T28" fmla="*/ 138 w 198"/>
                <a:gd name="T29" fmla="*/ 172 h 307"/>
                <a:gd name="T30" fmla="*/ 127 w 198"/>
                <a:gd name="T31" fmla="*/ 179 h 307"/>
                <a:gd name="T32" fmla="*/ 115 w 198"/>
                <a:gd name="T33" fmla="*/ 196 h 307"/>
                <a:gd name="T34" fmla="*/ 107 w 198"/>
                <a:gd name="T35" fmla="*/ 209 h 307"/>
                <a:gd name="T36" fmla="*/ 127 w 198"/>
                <a:gd name="T37" fmla="*/ 218 h 307"/>
                <a:gd name="T38" fmla="*/ 138 w 198"/>
                <a:gd name="T39" fmla="*/ 195 h 307"/>
                <a:gd name="T40" fmla="*/ 26 w 198"/>
                <a:gd name="T41" fmla="*/ 218 h 307"/>
                <a:gd name="T42" fmla="*/ 49 w 198"/>
                <a:gd name="T43" fmla="*/ 188 h 307"/>
                <a:gd name="T44" fmla="*/ 34 w 198"/>
                <a:gd name="T45" fmla="*/ 192 h 307"/>
                <a:gd name="T46" fmla="*/ 10 w 198"/>
                <a:gd name="T47" fmla="*/ 224 h 307"/>
                <a:gd name="T48" fmla="*/ 26 w 198"/>
                <a:gd name="T49" fmla="*/ 218 h 307"/>
                <a:gd name="T50" fmla="*/ 92 w 198"/>
                <a:gd name="T51" fmla="*/ 156 h 307"/>
                <a:gd name="T52" fmla="*/ 96 w 198"/>
                <a:gd name="T53" fmla="*/ 180 h 307"/>
                <a:gd name="T54" fmla="*/ 110 w 198"/>
                <a:gd name="T55" fmla="*/ 183 h 307"/>
                <a:gd name="T56" fmla="*/ 118 w 198"/>
                <a:gd name="T57" fmla="*/ 164 h 307"/>
                <a:gd name="T58" fmla="*/ 92 w 198"/>
                <a:gd name="T59" fmla="*/ 156 h 307"/>
                <a:gd name="T60" fmla="*/ 166 w 198"/>
                <a:gd name="T61" fmla="*/ 150 h 307"/>
                <a:gd name="T62" fmla="*/ 139 w 198"/>
                <a:gd name="T63" fmla="*/ 141 h 307"/>
                <a:gd name="T64" fmla="*/ 155 w 198"/>
                <a:gd name="T65" fmla="*/ 168 h 307"/>
                <a:gd name="T66" fmla="*/ 148 w 198"/>
                <a:gd name="T67" fmla="*/ 181 h 307"/>
                <a:gd name="T68" fmla="*/ 156 w 198"/>
                <a:gd name="T69" fmla="*/ 198 h 307"/>
                <a:gd name="T70" fmla="*/ 159 w 198"/>
                <a:gd name="T71" fmla="*/ 178 h 307"/>
                <a:gd name="T72" fmla="*/ 175 w 198"/>
                <a:gd name="T73" fmla="*/ 177 h 307"/>
                <a:gd name="T74" fmla="*/ 166 w 198"/>
                <a:gd name="T75" fmla="*/ 150 h 307"/>
                <a:gd name="T76" fmla="*/ 72 w 198"/>
                <a:gd name="T77" fmla="*/ 120 h 307"/>
                <a:gd name="T78" fmla="*/ 68 w 198"/>
                <a:gd name="T79" fmla="*/ 137 h 307"/>
                <a:gd name="T80" fmla="*/ 81 w 198"/>
                <a:gd name="T81" fmla="*/ 128 h 307"/>
                <a:gd name="T82" fmla="*/ 56 w 198"/>
                <a:gd name="T83" fmla="*/ 0 h 307"/>
                <a:gd name="T84" fmla="*/ 41 w 198"/>
                <a:gd name="T85" fmla="*/ 21 h 307"/>
                <a:gd name="T86" fmla="*/ 36 w 198"/>
                <a:gd name="T87" fmla="*/ 50 h 307"/>
                <a:gd name="T88" fmla="*/ 44 w 198"/>
                <a:gd name="T89" fmla="*/ 84 h 307"/>
                <a:gd name="T90" fmla="*/ 58 w 198"/>
                <a:gd name="T91" fmla="*/ 88 h 307"/>
                <a:gd name="T92" fmla="*/ 59 w 198"/>
                <a:gd name="T93" fmla="*/ 100 h 307"/>
                <a:gd name="T94" fmla="*/ 70 w 198"/>
                <a:gd name="T95" fmla="*/ 115 h 307"/>
                <a:gd name="T96" fmla="*/ 104 w 198"/>
                <a:gd name="T97" fmla="*/ 126 h 307"/>
                <a:gd name="T98" fmla="*/ 118 w 198"/>
                <a:gd name="T99" fmla="*/ 129 h 307"/>
                <a:gd name="T100" fmla="*/ 137 w 198"/>
                <a:gd name="T101" fmla="*/ 130 h 307"/>
                <a:gd name="T102" fmla="*/ 129 w 198"/>
                <a:gd name="T103" fmla="*/ 112 h 307"/>
                <a:gd name="T104" fmla="*/ 93 w 198"/>
                <a:gd name="T105" fmla="*/ 101 h 307"/>
                <a:gd name="T106" fmla="*/ 73 w 198"/>
                <a:gd name="T107" fmla="*/ 80 h 307"/>
                <a:gd name="T108" fmla="*/ 85 w 198"/>
                <a:gd name="T109" fmla="*/ 53 h 307"/>
                <a:gd name="T110" fmla="*/ 77 w 198"/>
                <a:gd name="T111" fmla="*/ 15 h 307"/>
                <a:gd name="T112" fmla="*/ 76 w 198"/>
                <a:gd name="T113" fmla="*/ 0 h 307"/>
                <a:gd name="T114" fmla="*/ 56 w 198"/>
                <a:gd name="T115" fmla="*/ 0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98" h="307">
                  <a:moveTo>
                    <a:pt x="193" y="239"/>
                  </a:moveTo>
                  <a:lnTo>
                    <a:pt x="191" y="230"/>
                  </a:lnTo>
                  <a:lnTo>
                    <a:pt x="188" y="218"/>
                  </a:lnTo>
                  <a:lnTo>
                    <a:pt x="170" y="207"/>
                  </a:lnTo>
                  <a:lnTo>
                    <a:pt x="173" y="225"/>
                  </a:lnTo>
                  <a:lnTo>
                    <a:pt x="158" y="226"/>
                  </a:lnTo>
                  <a:lnTo>
                    <a:pt x="155" y="237"/>
                  </a:lnTo>
                  <a:lnTo>
                    <a:pt x="140" y="243"/>
                  </a:lnTo>
                  <a:lnTo>
                    <a:pt x="132" y="233"/>
                  </a:lnTo>
                  <a:lnTo>
                    <a:pt x="122" y="241"/>
                  </a:lnTo>
                  <a:lnTo>
                    <a:pt x="109" y="248"/>
                  </a:lnTo>
                  <a:lnTo>
                    <a:pt x="101" y="268"/>
                  </a:lnTo>
                  <a:lnTo>
                    <a:pt x="106" y="275"/>
                  </a:lnTo>
                  <a:lnTo>
                    <a:pt x="120" y="262"/>
                  </a:lnTo>
                  <a:lnTo>
                    <a:pt x="130" y="263"/>
                  </a:lnTo>
                  <a:lnTo>
                    <a:pt x="136" y="253"/>
                  </a:lnTo>
                  <a:lnTo>
                    <a:pt x="150" y="264"/>
                  </a:lnTo>
                  <a:lnTo>
                    <a:pt x="144" y="276"/>
                  </a:lnTo>
                  <a:lnTo>
                    <a:pt x="152" y="293"/>
                  </a:lnTo>
                  <a:lnTo>
                    <a:pt x="177" y="307"/>
                  </a:lnTo>
                  <a:lnTo>
                    <a:pt x="182" y="296"/>
                  </a:lnTo>
                  <a:lnTo>
                    <a:pt x="174" y="278"/>
                  </a:lnTo>
                  <a:lnTo>
                    <a:pt x="183" y="266"/>
                  </a:lnTo>
                  <a:lnTo>
                    <a:pt x="193" y="290"/>
                  </a:lnTo>
                  <a:lnTo>
                    <a:pt x="198" y="268"/>
                  </a:lnTo>
                  <a:lnTo>
                    <a:pt x="196" y="255"/>
                  </a:lnTo>
                  <a:lnTo>
                    <a:pt x="193" y="239"/>
                  </a:lnTo>
                  <a:lnTo>
                    <a:pt x="193" y="239"/>
                  </a:lnTo>
                  <a:close/>
                  <a:moveTo>
                    <a:pt x="138" y="195"/>
                  </a:moveTo>
                  <a:lnTo>
                    <a:pt x="138" y="172"/>
                  </a:lnTo>
                  <a:lnTo>
                    <a:pt x="125" y="195"/>
                  </a:lnTo>
                  <a:lnTo>
                    <a:pt x="127" y="179"/>
                  </a:lnTo>
                  <a:lnTo>
                    <a:pt x="116" y="181"/>
                  </a:lnTo>
                  <a:lnTo>
                    <a:pt x="115" y="196"/>
                  </a:lnTo>
                  <a:lnTo>
                    <a:pt x="110" y="202"/>
                  </a:lnTo>
                  <a:lnTo>
                    <a:pt x="107" y="209"/>
                  </a:lnTo>
                  <a:lnTo>
                    <a:pt x="121" y="225"/>
                  </a:lnTo>
                  <a:lnTo>
                    <a:pt x="127" y="218"/>
                  </a:lnTo>
                  <a:lnTo>
                    <a:pt x="132" y="203"/>
                  </a:lnTo>
                  <a:lnTo>
                    <a:pt x="138" y="195"/>
                  </a:lnTo>
                  <a:lnTo>
                    <a:pt x="138" y="195"/>
                  </a:lnTo>
                  <a:close/>
                  <a:moveTo>
                    <a:pt x="26" y="218"/>
                  </a:moveTo>
                  <a:lnTo>
                    <a:pt x="36" y="201"/>
                  </a:lnTo>
                  <a:lnTo>
                    <a:pt x="49" y="188"/>
                  </a:lnTo>
                  <a:lnTo>
                    <a:pt x="43" y="169"/>
                  </a:lnTo>
                  <a:lnTo>
                    <a:pt x="34" y="192"/>
                  </a:lnTo>
                  <a:lnTo>
                    <a:pt x="24" y="209"/>
                  </a:lnTo>
                  <a:lnTo>
                    <a:pt x="10" y="224"/>
                  </a:lnTo>
                  <a:lnTo>
                    <a:pt x="0" y="240"/>
                  </a:lnTo>
                  <a:lnTo>
                    <a:pt x="26" y="218"/>
                  </a:lnTo>
                  <a:lnTo>
                    <a:pt x="26" y="218"/>
                  </a:lnTo>
                  <a:close/>
                  <a:moveTo>
                    <a:pt x="92" y="156"/>
                  </a:moveTo>
                  <a:lnTo>
                    <a:pt x="96" y="168"/>
                  </a:lnTo>
                  <a:lnTo>
                    <a:pt x="96" y="180"/>
                  </a:lnTo>
                  <a:lnTo>
                    <a:pt x="97" y="191"/>
                  </a:lnTo>
                  <a:lnTo>
                    <a:pt x="110" y="183"/>
                  </a:lnTo>
                  <a:lnTo>
                    <a:pt x="119" y="173"/>
                  </a:lnTo>
                  <a:lnTo>
                    <a:pt x="118" y="164"/>
                  </a:lnTo>
                  <a:lnTo>
                    <a:pt x="105" y="164"/>
                  </a:lnTo>
                  <a:lnTo>
                    <a:pt x="92" y="156"/>
                  </a:lnTo>
                  <a:lnTo>
                    <a:pt x="92" y="156"/>
                  </a:lnTo>
                  <a:close/>
                  <a:moveTo>
                    <a:pt x="166" y="150"/>
                  </a:moveTo>
                  <a:lnTo>
                    <a:pt x="159" y="141"/>
                  </a:lnTo>
                  <a:lnTo>
                    <a:pt x="139" y="141"/>
                  </a:lnTo>
                  <a:lnTo>
                    <a:pt x="154" y="158"/>
                  </a:lnTo>
                  <a:lnTo>
                    <a:pt x="155" y="168"/>
                  </a:lnTo>
                  <a:lnTo>
                    <a:pt x="143" y="166"/>
                  </a:lnTo>
                  <a:lnTo>
                    <a:pt x="148" y="181"/>
                  </a:lnTo>
                  <a:lnTo>
                    <a:pt x="153" y="182"/>
                  </a:lnTo>
                  <a:lnTo>
                    <a:pt x="156" y="198"/>
                  </a:lnTo>
                  <a:lnTo>
                    <a:pt x="166" y="193"/>
                  </a:lnTo>
                  <a:lnTo>
                    <a:pt x="159" y="178"/>
                  </a:lnTo>
                  <a:lnTo>
                    <a:pt x="158" y="170"/>
                  </a:lnTo>
                  <a:lnTo>
                    <a:pt x="175" y="177"/>
                  </a:lnTo>
                  <a:lnTo>
                    <a:pt x="166" y="150"/>
                  </a:lnTo>
                  <a:lnTo>
                    <a:pt x="166" y="150"/>
                  </a:lnTo>
                  <a:close/>
                  <a:moveTo>
                    <a:pt x="81" y="128"/>
                  </a:moveTo>
                  <a:lnTo>
                    <a:pt x="72" y="120"/>
                  </a:lnTo>
                  <a:lnTo>
                    <a:pt x="54" y="119"/>
                  </a:lnTo>
                  <a:lnTo>
                    <a:pt x="68" y="137"/>
                  </a:lnTo>
                  <a:lnTo>
                    <a:pt x="78" y="149"/>
                  </a:lnTo>
                  <a:lnTo>
                    <a:pt x="81" y="128"/>
                  </a:lnTo>
                  <a:lnTo>
                    <a:pt x="81" y="128"/>
                  </a:lnTo>
                  <a:close/>
                  <a:moveTo>
                    <a:pt x="56" y="0"/>
                  </a:moveTo>
                  <a:lnTo>
                    <a:pt x="44" y="0"/>
                  </a:lnTo>
                  <a:lnTo>
                    <a:pt x="41" y="21"/>
                  </a:lnTo>
                  <a:lnTo>
                    <a:pt x="45" y="57"/>
                  </a:lnTo>
                  <a:lnTo>
                    <a:pt x="36" y="50"/>
                  </a:lnTo>
                  <a:lnTo>
                    <a:pt x="40" y="72"/>
                  </a:lnTo>
                  <a:lnTo>
                    <a:pt x="44" y="84"/>
                  </a:lnTo>
                  <a:lnTo>
                    <a:pt x="56" y="97"/>
                  </a:lnTo>
                  <a:lnTo>
                    <a:pt x="58" y="88"/>
                  </a:lnTo>
                  <a:lnTo>
                    <a:pt x="65" y="94"/>
                  </a:lnTo>
                  <a:lnTo>
                    <a:pt x="59" y="100"/>
                  </a:lnTo>
                  <a:lnTo>
                    <a:pt x="60" y="110"/>
                  </a:lnTo>
                  <a:lnTo>
                    <a:pt x="70" y="115"/>
                  </a:lnTo>
                  <a:lnTo>
                    <a:pt x="89" y="112"/>
                  </a:lnTo>
                  <a:lnTo>
                    <a:pt x="104" y="126"/>
                  </a:lnTo>
                  <a:lnTo>
                    <a:pt x="109" y="117"/>
                  </a:lnTo>
                  <a:lnTo>
                    <a:pt x="118" y="129"/>
                  </a:lnTo>
                  <a:lnTo>
                    <a:pt x="136" y="141"/>
                  </a:lnTo>
                  <a:lnTo>
                    <a:pt x="137" y="130"/>
                  </a:lnTo>
                  <a:lnTo>
                    <a:pt x="129" y="125"/>
                  </a:lnTo>
                  <a:lnTo>
                    <a:pt x="129" y="112"/>
                  </a:lnTo>
                  <a:lnTo>
                    <a:pt x="101" y="99"/>
                  </a:lnTo>
                  <a:lnTo>
                    <a:pt x="93" y="101"/>
                  </a:lnTo>
                  <a:lnTo>
                    <a:pt x="81" y="99"/>
                  </a:lnTo>
                  <a:lnTo>
                    <a:pt x="73" y="80"/>
                  </a:lnTo>
                  <a:lnTo>
                    <a:pt x="74" y="60"/>
                  </a:lnTo>
                  <a:lnTo>
                    <a:pt x="85" y="53"/>
                  </a:lnTo>
                  <a:lnTo>
                    <a:pt x="87" y="33"/>
                  </a:lnTo>
                  <a:lnTo>
                    <a:pt x="77" y="15"/>
                  </a:lnTo>
                  <a:lnTo>
                    <a:pt x="79" y="6"/>
                  </a:lnTo>
                  <a:lnTo>
                    <a:pt x="76" y="0"/>
                  </a:lnTo>
                  <a:lnTo>
                    <a:pt x="70" y="6"/>
                  </a:lnTo>
                  <a:lnTo>
                    <a:pt x="56" y="0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1" name="Papua New Guinea">
              <a:extLst>
                <a:ext uri="{FF2B5EF4-FFF2-40B4-BE49-F238E27FC236}">
                  <a16:creationId xmlns:a16="http://schemas.microsoft.com/office/drawing/2014/main" id="{8B84CA4B-9E84-4350-A818-14F6076C14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76731" y="4155848"/>
              <a:ext cx="504825" cy="307975"/>
            </a:xfrm>
            <a:custGeom>
              <a:avLst/>
              <a:gdLst>
                <a:gd name="T0" fmla="*/ 318 w 318"/>
                <a:gd name="T1" fmla="*/ 96 h 194"/>
                <a:gd name="T2" fmla="*/ 301 w 318"/>
                <a:gd name="T3" fmla="*/ 73 h 194"/>
                <a:gd name="T4" fmla="*/ 292 w 318"/>
                <a:gd name="T5" fmla="*/ 61 h 194"/>
                <a:gd name="T6" fmla="*/ 293 w 318"/>
                <a:gd name="T7" fmla="*/ 81 h 194"/>
                <a:gd name="T8" fmla="*/ 309 w 318"/>
                <a:gd name="T9" fmla="*/ 106 h 194"/>
                <a:gd name="T10" fmla="*/ 316 w 318"/>
                <a:gd name="T11" fmla="*/ 103 h 194"/>
                <a:gd name="T12" fmla="*/ 244 w 318"/>
                <a:gd name="T13" fmla="*/ 56 h 194"/>
                <a:gd name="T14" fmla="*/ 242 w 318"/>
                <a:gd name="T15" fmla="*/ 39 h 194"/>
                <a:gd name="T16" fmla="*/ 231 w 318"/>
                <a:gd name="T17" fmla="*/ 54 h 194"/>
                <a:gd name="T18" fmla="*/ 212 w 318"/>
                <a:gd name="T19" fmla="*/ 71 h 194"/>
                <a:gd name="T20" fmla="*/ 198 w 318"/>
                <a:gd name="T21" fmla="*/ 60 h 194"/>
                <a:gd name="T22" fmla="*/ 191 w 318"/>
                <a:gd name="T23" fmla="*/ 72 h 194"/>
                <a:gd name="T24" fmla="*/ 161 w 318"/>
                <a:gd name="T25" fmla="*/ 70 h 194"/>
                <a:gd name="T26" fmla="*/ 171 w 318"/>
                <a:gd name="T27" fmla="*/ 84 h 194"/>
                <a:gd name="T28" fmla="*/ 198 w 318"/>
                <a:gd name="T29" fmla="*/ 92 h 194"/>
                <a:gd name="T30" fmla="*/ 221 w 318"/>
                <a:gd name="T31" fmla="*/ 79 h 194"/>
                <a:gd name="T32" fmla="*/ 236 w 318"/>
                <a:gd name="T33" fmla="*/ 71 h 194"/>
                <a:gd name="T34" fmla="*/ 133 w 318"/>
                <a:gd name="T35" fmla="*/ 117 h 194"/>
                <a:gd name="T36" fmla="*/ 148 w 318"/>
                <a:gd name="T37" fmla="*/ 98 h 194"/>
                <a:gd name="T38" fmla="*/ 110 w 318"/>
                <a:gd name="T39" fmla="*/ 71 h 194"/>
                <a:gd name="T40" fmla="*/ 97 w 318"/>
                <a:gd name="T41" fmla="*/ 45 h 194"/>
                <a:gd name="T42" fmla="*/ 46 w 318"/>
                <a:gd name="T43" fmla="*/ 19 h 194"/>
                <a:gd name="T44" fmla="*/ 6 w 318"/>
                <a:gd name="T45" fmla="*/ 80 h 194"/>
                <a:gd name="T46" fmla="*/ 21 w 318"/>
                <a:gd name="T47" fmla="*/ 159 h 194"/>
                <a:gd name="T48" fmla="*/ 50 w 318"/>
                <a:gd name="T49" fmla="*/ 154 h 194"/>
                <a:gd name="T50" fmla="*/ 62 w 318"/>
                <a:gd name="T51" fmla="*/ 129 h 194"/>
                <a:gd name="T52" fmla="*/ 107 w 318"/>
                <a:gd name="T53" fmla="*/ 133 h 194"/>
                <a:gd name="T54" fmla="*/ 127 w 318"/>
                <a:gd name="T55" fmla="*/ 166 h 194"/>
                <a:gd name="T56" fmla="*/ 161 w 318"/>
                <a:gd name="T57" fmla="*/ 185 h 194"/>
                <a:gd name="T58" fmla="*/ 184 w 318"/>
                <a:gd name="T59" fmla="*/ 194 h 194"/>
                <a:gd name="T60" fmla="*/ 201 w 318"/>
                <a:gd name="T61" fmla="*/ 186 h 194"/>
                <a:gd name="T62" fmla="*/ 187 w 318"/>
                <a:gd name="T63" fmla="*/ 171 h 194"/>
                <a:gd name="T64" fmla="*/ 173 w 318"/>
                <a:gd name="T65" fmla="*/ 157 h 194"/>
                <a:gd name="T66" fmla="*/ 150 w 318"/>
                <a:gd name="T67" fmla="*/ 132 h 194"/>
                <a:gd name="T68" fmla="*/ 133 w 318"/>
                <a:gd name="T69" fmla="*/ 117 h 194"/>
                <a:gd name="T70" fmla="*/ 260 w 318"/>
                <a:gd name="T71" fmla="*/ 36 h 194"/>
                <a:gd name="T72" fmla="*/ 245 w 318"/>
                <a:gd name="T73" fmla="*/ 18 h 194"/>
                <a:gd name="T74" fmla="*/ 229 w 318"/>
                <a:gd name="T75" fmla="*/ 8 h 194"/>
                <a:gd name="T76" fmla="*/ 212 w 318"/>
                <a:gd name="T77" fmla="*/ 6 h 194"/>
                <a:gd name="T78" fmla="*/ 238 w 318"/>
                <a:gd name="T79" fmla="*/ 23 h 194"/>
                <a:gd name="T80" fmla="*/ 252 w 318"/>
                <a:gd name="T81" fmla="*/ 40 h 194"/>
                <a:gd name="T82" fmla="*/ 262 w 318"/>
                <a:gd name="T83" fmla="*/ 48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18" h="194">
                  <a:moveTo>
                    <a:pt x="316" y="103"/>
                  </a:moveTo>
                  <a:lnTo>
                    <a:pt x="318" y="96"/>
                  </a:lnTo>
                  <a:lnTo>
                    <a:pt x="310" y="88"/>
                  </a:lnTo>
                  <a:lnTo>
                    <a:pt x="301" y="73"/>
                  </a:lnTo>
                  <a:lnTo>
                    <a:pt x="294" y="67"/>
                  </a:lnTo>
                  <a:lnTo>
                    <a:pt x="292" y="61"/>
                  </a:lnTo>
                  <a:lnTo>
                    <a:pt x="289" y="64"/>
                  </a:lnTo>
                  <a:lnTo>
                    <a:pt x="293" y="81"/>
                  </a:lnTo>
                  <a:lnTo>
                    <a:pt x="302" y="96"/>
                  </a:lnTo>
                  <a:lnTo>
                    <a:pt x="309" y="106"/>
                  </a:lnTo>
                  <a:lnTo>
                    <a:pt x="316" y="103"/>
                  </a:lnTo>
                  <a:lnTo>
                    <a:pt x="316" y="103"/>
                  </a:lnTo>
                  <a:close/>
                  <a:moveTo>
                    <a:pt x="236" y="71"/>
                  </a:moveTo>
                  <a:lnTo>
                    <a:pt x="244" y="56"/>
                  </a:lnTo>
                  <a:lnTo>
                    <a:pt x="245" y="43"/>
                  </a:lnTo>
                  <a:lnTo>
                    <a:pt x="242" y="39"/>
                  </a:lnTo>
                  <a:lnTo>
                    <a:pt x="229" y="40"/>
                  </a:lnTo>
                  <a:lnTo>
                    <a:pt x="231" y="54"/>
                  </a:lnTo>
                  <a:lnTo>
                    <a:pt x="217" y="63"/>
                  </a:lnTo>
                  <a:lnTo>
                    <a:pt x="212" y="71"/>
                  </a:lnTo>
                  <a:lnTo>
                    <a:pt x="200" y="73"/>
                  </a:lnTo>
                  <a:lnTo>
                    <a:pt x="198" y="60"/>
                  </a:lnTo>
                  <a:lnTo>
                    <a:pt x="195" y="60"/>
                  </a:lnTo>
                  <a:lnTo>
                    <a:pt x="191" y="72"/>
                  </a:lnTo>
                  <a:lnTo>
                    <a:pt x="180" y="74"/>
                  </a:lnTo>
                  <a:lnTo>
                    <a:pt x="161" y="70"/>
                  </a:lnTo>
                  <a:lnTo>
                    <a:pt x="159" y="78"/>
                  </a:lnTo>
                  <a:lnTo>
                    <a:pt x="171" y="84"/>
                  </a:lnTo>
                  <a:lnTo>
                    <a:pt x="188" y="92"/>
                  </a:lnTo>
                  <a:lnTo>
                    <a:pt x="198" y="92"/>
                  </a:lnTo>
                  <a:lnTo>
                    <a:pt x="209" y="86"/>
                  </a:lnTo>
                  <a:lnTo>
                    <a:pt x="221" y="79"/>
                  </a:lnTo>
                  <a:lnTo>
                    <a:pt x="225" y="73"/>
                  </a:lnTo>
                  <a:lnTo>
                    <a:pt x="236" y="71"/>
                  </a:lnTo>
                  <a:lnTo>
                    <a:pt x="236" y="71"/>
                  </a:lnTo>
                  <a:close/>
                  <a:moveTo>
                    <a:pt x="133" y="117"/>
                  </a:moveTo>
                  <a:lnTo>
                    <a:pt x="129" y="101"/>
                  </a:lnTo>
                  <a:lnTo>
                    <a:pt x="148" y="98"/>
                  </a:lnTo>
                  <a:lnTo>
                    <a:pt x="145" y="86"/>
                  </a:lnTo>
                  <a:lnTo>
                    <a:pt x="110" y="71"/>
                  </a:lnTo>
                  <a:lnTo>
                    <a:pt x="108" y="57"/>
                  </a:lnTo>
                  <a:lnTo>
                    <a:pt x="97" y="45"/>
                  </a:lnTo>
                  <a:lnTo>
                    <a:pt x="83" y="33"/>
                  </a:lnTo>
                  <a:lnTo>
                    <a:pt x="46" y="19"/>
                  </a:lnTo>
                  <a:lnTo>
                    <a:pt x="9" y="3"/>
                  </a:lnTo>
                  <a:lnTo>
                    <a:pt x="6" y="80"/>
                  </a:lnTo>
                  <a:lnTo>
                    <a:pt x="0" y="158"/>
                  </a:lnTo>
                  <a:lnTo>
                    <a:pt x="21" y="159"/>
                  </a:lnTo>
                  <a:lnTo>
                    <a:pt x="33" y="163"/>
                  </a:lnTo>
                  <a:lnTo>
                    <a:pt x="50" y="154"/>
                  </a:lnTo>
                  <a:lnTo>
                    <a:pt x="49" y="136"/>
                  </a:lnTo>
                  <a:lnTo>
                    <a:pt x="62" y="129"/>
                  </a:lnTo>
                  <a:lnTo>
                    <a:pt x="81" y="122"/>
                  </a:lnTo>
                  <a:lnTo>
                    <a:pt x="107" y="133"/>
                  </a:lnTo>
                  <a:lnTo>
                    <a:pt x="116" y="153"/>
                  </a:lnTo>
                  <a:lnTo>
                    <a:pt x="127" y="166"/>
                  </a:lnTo>
                  <a:lnTo>
                    <a:pt x="141" y="181"/>
                  </a:lnTo>
                  <a:lnTo>
                    <a:pt x="161" y="185"/>
                  </a:lnTo>
                  <a:lnTo>
                    <a:pt x="180" y="188"/>
                  </a:lnTo>
                  <a:lnTo>
                    <a:pt x="184" y="194"/>
                  </a:lnTo>
                  <a:lnTo>
                    <a:pt x="198" y="192"/>
                  </a:lnTo>
                  <a:lnTo>
                    <a:pt x="201" y="186"/>
                  </a:lnTo>
                  <a:lnTo>
                    <a:pt x="180" y="176"/>
                  </a:lnTo>
                  <a:lnTo>
                    <a:pt x="187" y="171"/>
                  </a:lnTo>
                  <a:lnTo>
                    <a:pt x="171" y="167"/>
                  </a:lnTo>
                  <a:lnTo>
                    <a:pt x="173" y="157"/>
                  </a:lnTo>
                  <a:lnTo>
                    <a:pt x="161" y="157"/>
                  </a:lnTo>
                  <a:lnTo>
                    <a:pt x="150" y="132"/>
                  </a:lnTo>
                  <a:lnTo>
                    <a:pt x="133" y="117"/>
                  </a:lnTo>
                  <a:lnTo>
                    <a:pt x="133" y="117"/>
                  </a:lnTo>
                  <a:close/>
                  <a:moveTo>
                    <a:pt x="262" y="48"/>
                  </a:moveTo>
                  <a:lnTo>
                    <a:pt x="260" y="36"/>
                  </a:lnTo>
                  <a:lnTo>
                    <a:pt x="253" y="28"/>
                  </a:lnTo>
                  <a:lnTo>
                    <a:pt x="245" y="18"/>
                  </a:lnTo>
                  <a:lnTo>
                    <a:pt x="236" y="12"/>
                  </a:lnTo>
                  <a:lnTo>
                    <a:pt x="229" y="8"/>
                  </a:lnTo>
                  <a:lnTo>
                    <a:pt x="218" y="0"/>
                  </a:lnTo>
                  <a:lnTo>
                    <a:pt x="212" y="6"/>
                  </a:lnTo>
                  <a:lnTo>
                    <a:pt x="227" y="13"/>
                  </a:lnTo>
                  <a:lnTo>
                    <a:pt x="238" y="23"/>
                  </a:lnTo>
                  <a:lnTo>
                    <a:pt x="247" y="31"/>
                  </a:lnTo>
                  <a:lnTo>
                    <a:pt x="252" y="40"/>
                  </a:lnTo>
                  <a:lnTo>
                    <a:pt x="255" y="54"/>
                  </a:lnTo>
                  <a:lnTo>
                    <a:pt x="262" y="48"/>
                  </a:lnTo>
                  <a:lnTo>
                    <a:pt x="262" y="48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2" name="Poland">
              <a:extLst>
                <a:ext uri="{FF2B5EF4-FFF2-40B4-BE49-F238E27FC236}">
                  <a16:creationId xmlns:a16="http://schemas.microsoft.com/office/drawing/2014/main" id="{31C63E05-83F8-4AE2-95A3-18F06A1B734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2069" y="2007962"/>
              <a:ext cx="295275" cy="211138"/>
            </a:xfrm>
            <a:custGeom>
              <a:avLst/>
              <a:gdLst>
                <a:gd name="T0" fmla="*/ 97 w 186"/>
                <a:gd name="T1" fmla="*/ 10 h 133"/>
                <a:gd name="T2" fmla="*/ 79 w 186"/>
                <a:gd name="T3" fmla="*/ 10 h 133"/>
                <a:gd name="T4" fmla="*/ 77 w 186"/>
                <a:gd name="T5" fmla="*/ 4 h 133"/>
                <a:gd name="T6" fmla="*/ 59 w 186"/>
                <a:gd name="T7" fmla="*/ 0 h 133"/>
                <a:gd name="T8" fmla="*/ 38 w 186"/>
                <a:gd name="T9" fmla="*/ 8 h 133"/>
                <a:gd name="T10" fmla="*/ 12 w 186"/>
                <a:gd name="T11" fmla="*/ 18 h 133"/>
                <a:gd name="T12" fmla="*/ 0 w 186"/>
                <a:gd name="T13" fmla="*/ 24 h 133"/>
                <a:gd name="T14" fmla="*/ 5 w 186"/>
                <a:gd name="T15" fmla="*/ 37 h 133"/>
                <a:gd name="T16" fmla="*/ 1 w 186"/>
                <a:gd name="T17" fmla="*/ 42 h 133"/>
                <a:gd name="T18" fmla="*/ 8 w 186"/>
                <a:gd name="T19" fmla="*/ 51 h 133"/>
                <a:gd name="T20" fmla="*/ 14 w 186"/>
                <a:gd name="T21" fmla="*/ 63 h 133"/>
                <a:gd name="T22" fmla="*/ 13 w 186"/>
                <a:gd name="T23" fmla="*/ 70 h 133"/>
                <a:gd name="T24" fmla="*/ 22 w 186"/>
                <a:gd name="T25" fmla="*/ 85 h 133"/>
                <a:gd name="T26" fmla="*/ 31 w 186"/>
                <a:gd name="T27" fmla="*/ 93 h 133"/>
                <a:gd name="T28" fmla="*/ 45 w 186"/>
                <a:gd name="T29" fmla="*/ 95 h 133"/>
                <a:gd name="T30" fmla="*/ 45 w 186"/>
                <a:gd name="T31" fmla="*/ 101 h 133"/>
                <a:gd name="T32" fmla="*/ 54 w 186"/>
                <a:gd name="T33" fmla="*/ 106 h 133"/>
                <a:gd name="T34" fmla="*/ 57 w 186"/>
                <a:gd name="T35" fmla="*/ 100 h 133"/>
                <a:gd name="T36" fmla="*/ 69 w 186"/>
                <a:gd name="T37" fmla="*/ 102 h 133"/>
                <a:gd name="T38" fmla="*/ 72 w 186"/>
                <a:gd name="T39" fmla="*/ 109 h 133"/>
                <a:gd name="T40" fmla="*/ 86 w 186"/>
                <a:gd name="T41" fmla="*/ 110 h 133"/>
                <a:gd name="T42" fmla="*/ 95 w 186"/>
                <a:gd name="T43" fmla="*/ 123 h 133"/>
                <a:gd name="T44" fmla="*/ 96 w 186"/>
                <a:gd name="T45" fmla="*/ 123 h 133"/>
                <a:gd name="T46" fmla="*/ 103 w 186"/>
                <a:gd name="T47" fmla="*/ 121 h 133"/>
                <a:gd name="T48" fmla="*/ 114 w 186"/>
                <a:gd name="T49" fmla="*/ 128 h 133"/>
                <a:gd name="T50" fmla="*/ 124 w 186"/>
                <a:gd name="T51" fmla="*/ 123 h 133"/>
                <a:gd name="T52" fmla="*/ 132 w 186"/>
                <a:gd name="T53" fmla="*/ 126 h 133"/>
                <a:gd name="T54" fmla="*/ 145 w 186"/>
                <a:gd name="T55" fmla="*/ 123 h 133"/>
                <a:gd name="T56" fmla="*/ 164 w 186"/>
                <a:gd name="T57" fmla="*/ 132 h 133"/>
                <a:gd name="T58" fmla="*/ 168 w 186"/>
                <a:gd name="T59" fmla="*/ 133 h 133"/>
                <a:gd name="T60" fmla="*/ 162 w 186"/>
                <a:gd name="T61" fmla="*/ 123 h 133"/>
                <a:gd name="T62" fmla="*/ 176 w 186"/>
                <a:gd name="T63" fmla="*/ 104 h 133"/>
                <a:gd name="T64" fmla="*/ 185 w 186"/>
                <a:gd name="T65" fmla="*/ 101 h 133"/>
                <a:gd name="T66" fmla="*/ 186 w 186"/>
                <a:gd name="T67" fmla="*/ 95 h 133"/>
                <a:gd name="T68" fmla="*/ 174 w 186"/>
                <a:gd name="T69" fmla="*/ 74 h 133"/>
                <a:gd name="T70" fmla="*/ 172 w 186"/>
                <a:gd name="T71" fmla="*/ 65 h 133"/>
                <a:gd name="T72" fmla="*/ 165 w 186"/>
                <a:gd name="T73" fmla="*/ 53 h 133"/>
                <a:gd name="T74" fmla="*/ 175 w 186"/>
                <a:gd name="T75" fmla="*/ 49 h 133"/>
                <a:gd name="T76" fmla="*/ 174 w 186"/>
                <a:gd name="T77" fmla="*/ 40 h 133"/>
                <a:gd name="T78" fmla="*/ 168 w 186"/>
                <a:gd name="T79" fmla="*/ 31 h 133"/>
                <a:gd name="T80" fmla="*/ 166 w 186"/>
                <a:gd name="T81" fmla="*/ 22 h 133"/>
                <a:gd name="T82" fmla="*/ 160 w 186"/>
                <a:gd name="T83" fmla="*/ 14 h 133"/>
                <a:gd name="T84" fmla="*/ 151 w 186"/>
                <a:gd name="T85" fmla="*/ 12 h 133"/>
                <a:gd name="T86" fmla="*/ 118 w 186"/>
                <a:gd name="T87" fmla="*/ 12 h 133"/>
                <a:gd name="T88" fmla="*/ 97 w 186"/>
                <a:gd name="T89" fmla="*/ 10 h 133"/>
                <a:gd name="T90" fmla="*/ 97 w 186"/>
                <a:gd name="T91" fmla="*/ 1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6" h="133">
                  <a:moveTo>
                    <a:pt x="97" y="10"/>
                  </a:moveTo>
                  <a:lnTo>
                    <a:pt x="79" y="10"/>
                  </a:lnTo>
                  <a:lnTo>
                    <a:pt x="77" y="4"/>
                  </a:lnTo>
                  <a:lnTo>
                    <a:pt x="59" y="0"/>
                  </a:lnTo>
                  <a:lnTo>
                    <a:pt x="38" y="8"/>
                  </a:lnTo>
                  <a:lnTo>
                    <a:pt x="12" y="18"/>
                  </a:lnTo>
                  <a:lnTo>
                    <a:pt x="0" y="24"/>
                  </a:lnTo>
                  <a:lnTo>
                    <a:pt x="5" y="37"/>
                  </a:lnTo>
                  <a:lnTo>
                    <a:pt x="1" y="42"/>
                  </a:lnTo>
                  <a:lnTo>
                    <a:pt x="8" y="51"/>
                  </a:lnTo>
                  <a:lnTo>
                    <a:pt x="14" y="63"/>
                  </a:lnTo>
                  <a:lnTo>
                    <a:pt x="13" y="70"/>
                  </a:lnTo>
                  <a:lnTo>
                    <a:pt x="22" y="85"/>
                  </a:lnTo>
                  <a:lnTo>
                    <a:pt x="31" y="93"/>
                  </a:lnTo>
                  <a:lnTo>
                    <a:pt x="45" y="95"/>
                  </a:lnTo>
                  <a:lnTo>
                    <a:pt x="45" y="101"/>
                  </a:lnTo>
                  <a:lnTo>
                    <a:pt x="54" y="106"/>
                  </a:lnTo>
                  <a:lnTo>
                    <a:pt x="57" y="100"/>
                  </a:lnTo>
                  <a:lnTo>
                    <a:pt x="69" y="102"/>
                  </a:lnTo>
                  <a:lnTo>
                    <a:pt x="72" y="109"/>
                  </a:lnTo>
                  <a:lnTo>
                    <a:pt x="86" y="110"/>
                  </a:lnTo>
                  <a:lnTo>
                    <a:pt x="95" y="123"/>
                  </a:lnTo>
                  <a:lnTo>
                    <a:pt x="96" y="123"/>
                  </a:lnTo>
                  <a:lnTo>
                    <a:pt x="103" y="121"/>
                  </a:lnTo>
                  <a:lnTo>
                    <a:pt x="114" y="128"/>
                  </a:lnTo>
                  <a:lnTo>
                    <a:pt x="124" y="123"/>
                  </a:lnTo>
                  <a:lnTo>
                    <a:pt x="132" y="126"/>
                  </a:lnTo>
                  <a:lnTo>
                    <a:pt x="145" y="123"/>
                  </a:lnTo>
                  <a:lnTo>
                    <a:pt x="164" y="132"/>
                  </a:lnTo>
                  <a:lnTo>
                    <a:pt x="168" y="133"/>
                  </a:lnTo>
                  <a:lnTo>
                    <a:pt x="162" y="123"/>
                  </a:lnTo>
                  <a:lnTo>
                    <a:pt x="176" y="104"/>
                  </a:lnTo>
                  <a:lnTo>
                    <a:pt x="185" y="101"/>
                  </a:lnTo>
                  <a:lnTo>
                    <a:pt x="186" y="95"/>
                  </a:lnTo>
                  <a:lnTo>
                    <a:pt x="174" y="74"/>
                  </a:lnTo>
                  <a:lnTo>
                    <a:pt x="172" y="65"/>
                  </a:lnTo>
                  <a:lnTo>
                    <a:pt x="165" y="53"/>
                  </a:lnTo>
                  <a:lnTo>
                    <a:pt x="175" y="49"/>
                  </a:lnTo>
                  <a:lnTo>
                    <a:pt x="174" y="40"/>
                  </a:lnTo>
                  <a:lnTo>
                    <a:pt x="168" y="31"/>
                  </a:lnTo>
                  <a:lnTo>
                    <a:pt x="166" y="22"/>
                  </a:lnTo>
                  <a:lnTo>
                    <a:pt x="160" y="14"/>
                  </a:lnTo>
                  <a:lnTo>
                    <a:pt x="151" y="12"/>
                  </a:lnTo>
                  <a:lnTo>
                    <a:pt x="118" y="12"/>
                  </a:lnTo>
                  <a:lnTo>
                    <a:pt x="97" y="10"/>
                  </a:lnTo>
                  <a:lnTo>
                    <a:pt x="97" y="1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3" name="North Korea">
              <a:extLst>
                <a:ext uri="{FF2B5EF4-FFF2-40B4-BE49-F238E27FC236}">
                  <a16:creationId xmlns:a16="http://schemas.microsoft.com/office/drawing/2014/main" id="{AE1E3C87-96D8-4A40-883B-DB3666819D7F}"/>
                </a:ext>
              </a:extLst>
            </p:cNvPr>
            <p:cNvSpPr>
              <a:spLocks/>
            </p:cNvSpPr>
            <p:nvPr/>
          </p:nvSpPr>
          <p:spPr bwMode="auto">
            <a:xfrm>
              <a:off x="9813131" y="2441348"/>
              <a:ext cx="150812" cy="198438"/>
            </a:xfrm>
            <a:custGeom>
              <a:avLst/>
              <a:gdLst>
                <a:gd name="T0" fmla="*/ 90 w 95"/>
                <a:gd name="T1" fmla="*/ 13 h 125"/>
                <a:gd name="T2" fmla="*/ 90 w 95"/>
                <a:gd name="T3" fmla="*/ 13 h 125"/>
                <a:gd name="T4" fmla="*/ 70 w 95"/>
                <a:gd name="T5" fmla="*/ 0 h 125"/>
                <a:gd name="T6" fmla="*/ 70 w 95"/>
                <a:gd name="T7" fmla="*/ 13 h 125"/>
                <a:gd name="T8" fmla="*/ 46 w 95"/>
                <a:gd name="T9" fmla="*/ 22 h 125"/>
                <a:gd name="T10" fmla="*/ 57 w 95"/>
                <a:gd name="T11" fmla="*/ 34 h 125"/>
                <a:gd name="T12" fmla="*/ 39 w 95"/>
                <a:gd name="T13" fmla="*/ 34 h 125"/>
                <a:gd name="T14" fmla="*/ 26 w 95"/>
                <a:gd name="T15" fmla="*/ 27 h 125"/>
                <a:gd name="T16" fmla="*/ 22 w 95"/>
                <a:gd name="T17" fmla="*/ 43 h 125"/>
                <a:gd name="T18" fmla="*/ 8 w 95"/>
                <a:gd name="T19" fmla="*/ 56 h 125"/>
                <a:gd name="T20" fmla="*/ 0 w 95"/>
                <a:gd name="T21" fmla="*/ 71 h 125"/>
                <a:gd name="T22" fmla="*/ 13 w 95"/>
                <a:gd name="T23" fmla="*/ 77 h 125"/>
                <a:gd name="T24" fmla="*/ 25 w 95"/>
                <a:gd name="T25" fmla="*/ 79 h 125"/>
                <a:gd name="T26" fmla="*/ 28 w 95"/>
                <a:gd name="T27" fmla="*/ 83 h 125"/>
                <a:gd name="T28" fmla="*/ 29 w 95"/>
                <a:gd name="T29" fmla="*/ 96 h 125"/>
                <a:gd name="T30" fmla="*/ 33 w 95"/>
                <a:gd name="T31" fmla="*/ 101 h 125"/>
                <a:gd name="T32" fmla="*/ 30 w 95"/>
                <a:gd name="T33" fmla="*/ 103 h 125"/>
                <a:gd name="T34" fmla="*/ 29 w 95"/>
                <a:gd name="T35" fmla="*/ 115 h 125"/>
                <a:gd name="T36" fmla="*/ 37 w 95"/>
                <a:gd name="T37" fmla="*/ 118 h 125"/>
                <a:gd name="T38" fmla="*/ 43 w 95"/>
                <a:gd name="T39" fmla="*/ 120 h 125"/>
                <a:gd name="T40" fmla="*/ 46 w 95"/>
                <a:gd name="T41" fmla="*/ 125 h 125"/>
                <a:gd name="T42" fmla="*/ 51 w 95"/>
                <a:gd name="T43" fmla="*/ 123 h 125"/>
                <a:gd name="T44" fmla="*/ 51 w 95"/>
                <a:gd name="T45" fmla="*/ 118 h 125"/>
                <a:gd name="T46" fmla="*/ 62 w 95"/>
                <a:gd name="T47" fmla="*/ 123 h 125"/>
                <a:gd name="T48" fmla="*/ 63 w 95"/>
                <a:gd name="T49" fmla="*/ 120 h 125"/>
                <a:gd name="T50" fmla="*/ 72 w 95"/>
                <a:gd name="T51" fmla="*/ 121 h 125"/>
                <a:gd name="T52" fmla="*/ 74 w 95"/>
                <a:gd name="T53" fmla="*/ 111 h 125"/>
                <a:gd name="T54" fmla="*/ 87 w 95"/>
                <a:gd name="T55" fmla="*/ 109 h 125"/>
                <a:gd name="T56" fmla="*/ 95 w 95"/>
                <a:gd name="T57" fmla="*/ 108 h 125"/>
                <a:gd name="T58" fmla="*/ 95 w 95"/>
                <a:gd name="T59" fmla="*/ 102 h 125"/>
                <a:gd name="T60" fmla="*/ 79 w 95"/>
                <a:gd name="T61" fmla="*/ 91 h 125"/>
                <a:gd name="T62" fmla="*/ 69 w 95"/>
                <a:gd name="T63" fmla="*/ 88 h 125"/>
                <a:gd name="T64" fmla="*/ 70 w 95"/>
                <a:gd name="T65" fmla="*/ 85 h 125"/>
                <a:gd name="T66" fmla="*/ 65 w 95"/>
                <a:gd name="T67" fmla="*/ 75 h 125"/>
                <a:gd name="T68" fmla="*/ 71 w 95"/>
                <a:gd name="T69" fmla="*/ 68 h 125"/>
                <a:gd name="T70" fmla="*/ 81 w 95"/>
                <a:gd name="T71" fmla="*/ 64 h 125"/>
                <a:gd name="T72" fmla="*/ 85 w 95"/>
                <a:gd name="T73" fmla="*/ 58 h 125"/>
                <a:gd name="T74" fmla="*/ 86 w 95"/>
                <a:gd name="T75" fmla="*/ 53 h 125"/>
                <a:gd name="T76" fmla="*/ 93 w 95"/>
                <a:gd name="T77" fmla="*/ 48 h 125"/>
                <a:gd name="T78" fmla="*/ 83 w 95"/>
                <a:gd name="T79" fmla="*/ 32 h 125"/>
                <a:gd name="T80" fmla="*/ 84 w 95"/>
                <a:gd name="T81" fmla="*/ 23 h 125"/>
                <a:gd name="T82" fmla="*/ 87 w 95"/>
                <a:gd name="T83" fmla="*/ 16 h 125"/>
                <a:gd name="T84" fmla="*/ 95 w 95"/>
                <a:gd name="T85" fmla="*/ 18 h 125"/>
                <a:gd name="T86" fmla="*/ 95 w 95"/>
                <a:gd name="T87" fmla="*/ 18 h 125"/>
                <a:gd name="T88" fmla="*/ 95 w 95"/>
                <a:gd name="T89" fmla="*/ 18 h 125"/>
                <a:gd name="T90" fmla="*/ 95 w 95"/>
                <a:gd name="T91" fmla="*/ 18 h 125"/>
                <a:gd name="T92" fmla="*/ 90 w 95"/>
                <a:gd name="T93" fmla="*/ 13 h 125"/>
                <a:gd name="T94" fmla="*/ 90 w 95"/>
                <a:gd name="T95" fmla="*/ 13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5" h="125">
                  <a:moveTo>
                    <a:pt x="90" y="13"/>
                  </a:moveTo>
                  <a:lnTo>
                    <a:pt x="90" y="13"/>
                  </a:lnTo>
                  <a:lnTo>
                    <a:pt x="70" y="0"/>
                  </a:lnTo>
                  <a:lnTo>
                    <a:pt x="70" y="13"/>
                  </a:lnTo>
                  <a:lnTo>
                    <a:pt x="46" y="22"/>
                  </a:lnTo>
                  <a:lnTo>
                    <a:pt x="57" y="34"/>
                  </a:lnTo>
                  <a:lnTo>
                    <a:pt x="39" y="34"/>
                  </a:lnTo>
                  <a:lnTo>
                    <a:pt x="26" y="27"/>
                  </a:lnTo>
                  <a:lnTo>
                    <a:pt x="22" y="43"/>
                  </a:lnTo>
                  <a:lnTo>
                    <a:pt x="8" y="56"/>
                  </a:lnTo>
                  <a:lnTo>
                    <a:pt x="0" y="71"/>
                  </a:lnTo>
                  <a:lnTo>
                    <a:pt x="13" y="77"/>
                  </a:lnTo>
                  <a:lnTo>
                    <a:pt x="25" y="79"/>
                  </a:lnTo>
                  <a:lnTo>
                    <a:pt x="28" y="83"/>
                  </a:lnTo>
                  <a:lnTo>
                    <a:pt x="29" y="96"/>
                  </a:lnTo>
                  <a:lnTo>
                    <a:pt x="33" y="101"/>
                  </a:lnTo>
                  <a:lnTo>
                    <a:pt x="30" y="103"/>
                  </a:lnTo>
                  <a:lnTo>
                    <a:pt x="29" y="115"/>
                  </a:lnTo>
                  <a:lnTo>
                    <a:pt x="37" y="118"/>
                  </a:lnTo>
                  <a:lnTo>
                    <a:pt x="43" y="120"/>
                  </a:lnTo>
                  <a:lnTo>
                    <a:pt x="46" y="125"/>
                  </a:lnTo>
                  <a:lnTo>
                    <a:pt x="51" y="123"/>
                  </a:lnTo>
                  <a:lnTo>
                    <a:pt x="51" y="118"/>
                  </a:lnTo>
                  <a:lnTo>
                    <a:pt x="62" y="123"/>
                  </a:lnTo>
                  <a:lnTo>
                    <a:pt x="63" y="120"/>
                  </a:lnTo>
                  <a:lnTo>
                    <a:pt x="72" y="121"/>
                  </a:lnTo>
                  <a:lnTo>
                    <a:pt x="74" y="111"/>
                  </a:lnTo>
                  <a:lnTo>
                    <a:pt x="87" y="109"/>
                  </a:lnTo>
                  <a:lnTo>
                    <a:pt x="95" y="108"/>
                  </a:lnTo>
                  <a:lnTo>
                    <a:pt x="95" y="102"/>
                  </a:lnTo>
                  <a:lnTo>
                    <a:pt x="79" y="91"/>
                  </a:lnTo>
                  <a:lnTo>
                    <a:pt x="69" y="88"/>
                  </a:lnTo>
                  <a:lnTo>
                    <a:pt x="70" y="85"/>
                  </a:lnTo>
                  <a:lnTo>
                    <a:pt x="65" y="75"/>
                  </a:lnTo>
                  <a:lnTo>
                    <a:pt x="71" y="68"/>
                  </a:lnTo>
                  <a:lnTo>
                    <a:pt x="81" y="64"/>
                  </a:lnTo>
                  <a:lnTo>
                    <a:pt x="85" y="58"/>
                  </a:lnTo>
                  <a:lnTo>
                    <a:pt x="86" y="53"/>
                  </a:lnTo>
                  <a:lnTo>
                    <a:pt x="93" y="48"/>
                  </a:lnTo>
                  <a:lnTo>
                    <a:pt x="83" y="32"/>
                  </a:lnTo>
                  <a:lnTo>
                    <a:pt x="84" y="23"/>
                  </a:lnTo>
                  <a:lnTo>
                    <a:pt x="87" y="16"/>
                  </a:lnTo>
                  <a:lnTo>
                    <a:pt x="95" y="18"/>
                  </a:lnTo>
                  <a:lnTo>
                    <a:pt x="95" y="18"/>
                  </a:lnTo>
                  <a:lnTo>
                    <a:pt x="95" y="18"/>
                  </a:lnTo>
                  <a:lnTo>
                    <a:pt x="95" y="18"/>
                  </a:lnTo>
                  <a:lnTo>
                    <a:pt x="90" y="13"/>
                  </a:lnTo>
                  <a:lnTo>
                    <a:pt x="90" y="13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4" name="Portugal">
              <a:extLst>
                <a:ext uri="{FF2B5EF4-FFF2-40B4-BE49-F238E27FC236}">
                  <a16:creationId xmlns:a16="http://schemas.microsoft.com/office/drawing/2014/main" id="{65827131-3869-4654-AB39-7DA7D7837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1506" y="2466749"/>
              <a:ext cx="98425" cy="204788"/>
            </a:xfrm>
            <a:custGeom>
              <a:avLst/>
              <a:gdLst>
                <a:gd name="T0" fmla="*/ 39 w 62"/>
                <a:gd name="T1" fmla="*/ 123 h 129"/>
                <a:gd name="T2" fmla="*/ 38 w 62"/>
                <a:gd name="T3" fmla="*/ 115 h 129"/>
                <a:gd name="T4" fmla="*/ 45 w 62"/>
                <a:gd name="T5" fmla="*/ 105 h 129"/>
                <a:gd name="T6" fmla="*/ 48 w 62"/>
                <a:gd name="T7" fmla="*/ 99 h 129"/>
                <a:gd name="T8" fmla="*/ 42 w 62"/>
                <a:gd name="T9" fmla="*/ 92 h 129"/>
                <a:gd name="T10" fmla="*/ 47 w 62"/>
                <a:gd name="T11" fmla="*/ 76 h 129"/>
                <a:gd name="T12" fmla="*/ 40 w 62"/>
                <a:gd name="T13" fmla="*/ 61 h 129"/>
                <a:gd name="T14" fmla="*/ 48 w 62"/>
                <a:gd name="T15" fmla="*/ 59 h 129"/>
                <a:gd name="T16" fmla="*/ 49 w 62"/>
                <a:gd name="T17" fmla="*/ 48 h 129"/>
                <a:gd name="T18" fmla="*/ 53 w 62"/>
                <a:gd name="T19" fmla="*/ 45 h 129"/>
                <a:gd name="T20" fmla="*/ 54 w 62"/>
                <a:gd name="T21" fmla="*/ 27 h 129"/>
                <a:gd name="T22" fmla="*/ 62 w 62"/>
                <a:gd name="T23" fmla="*/ 20 h 129"/>
                <a:gd name="T24" fmla="*/ 58 w 62"/>
                <a:gd name="T25" fmla="*/ 9 h 129"/>
                <a:gd name="T26" fmla="*/ 46 w 62"/>
                <a:gd name="T27" fmla="*/ 8 h 129"/>
                <a:gd name="T28" fmla="*/ 43 w 62"/>
                <a:gd name="T29" fmla="*/ 11 h 129"/>
                <a:gd name="T30" fmla="*/ 31 w 62"/>
                <a:gd name="T31" fmla="*/ 11 h 129"/>
                <a:gd name="T32" fmla="*/ 28 w 62"/>
                <a:gd name="T33" fmla="*/ 0 h 129"/>
                <a:gd name="T34" fmla="*/ 19 w 62"/>
                <a:gd name="T35" fmla="*/ 3 h 129"/>
                <a:gd name="T36" fmla="*/ 13 w 62"/>
                <a:gd name="T37" fmla="*/ 9 h 129"/>
                <a:gd name="T38" fmla="*/ 13 w 62"/>
                <a:gd name="T39" fmla="*/ 17 h 129"/>
                <a:gd name="T40" fmla="*/ 16 w 62"/>
                <a:gd name="T41" fmla="*/ 25 h 129"/>
                <a:gd name="T42" fmla="*/ 16 w 62"/>
                <a:gd name="T43" fmla="*/ 35 h 129"/>
                <a:gd name="T44" fmla="*/ 12 w 62"/>
                <a:gd name="T45" fmla="*/ 49 h 129"/>
                <a:gd name="T46" fmla="*/ 10 w 62"/>
                <a:gd name="T47" fmla="*/ 59 h 129"/>
                <a:gd name="T48" fmla="*/ 2 w 62"/>
                <a:gd name="T49" fmla="*/ 67 h 129"/>
                <a:gd name="T50" fmla="*/ 0 w 62"/>
                <a:gd name="T51" fmla="*/ 83 h 129"/>
                <a:gd name="T52" fmla="*/ 4 w 62"/>
                <a:gd name="T53" fmla="*/ 92 h 129"/>
                <a:gd name="T54" fmla="*/ 13 w 62"/>
                <a:gd name="T55" fmla="*/ 94 h 129"/>
                <a:gd name="T56" fmla="*/ 15 w 62"/>
                <a:gd name="T57" fmla="*/ 109 h 129"/>
                <a:gd name="T58" fmla="*/ 11 w 62"/>
                <a:gd name="T59" fmla="*/ 129 h 129"/>
                <a:gd name="T60" fmla="*/ 21 w 62"/>
                <a:gd name="T61" fmla="*/ 126 h 129"/>
                <a:gd name="T62" fmla="*/ 31 w 62"/>
                <a:gd name="T63" fmla="*/ 129 h 129"/>
                <a:gd name="T64" fmla="*/ 39 w 62"/>
                <a:gd name="T65" fmla="*/ 123 h 129"/>
                <a:gd name="T66" fmla="*/ 39 w 62"/>
                <a:gd name="T67" fmla="*/ 12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2" h="129">
                  <a:moveTo>
                    <a:pt x="39" y="123"/>
                  </a:moveTo>
                  <a:lnTo>
                    <a:pt x="38" y="115"/>
                  </a:lnTo>
                  <a:lnTo>
                    <a:pt x="45" y="105"/>
                  </a:lnTo>
                  <a:lnTo>
                    <a:pt x="48" y="99"/>
                  </a:lnTo>
                  <a:lnTo>
                    <a:pt x="42" y="92"/>
                  </a:lnTo>
                  <a:lnTo>
                    <a:pt x="47" y="76"/>
                  </a:lnTo>
                  <a:lnTo>
                    <a:pt x="40" y="61"/>
                  </a:lnTo>
                  <a:lnTo>
                    <a:pt x="48" y="59"/>
                  </a:lnTo>
                  <a:lnTo>
                    <a:pt x="49" y="48"/>
                  </a:lnTo>
                  <a:lnTo>
                    <a:pt x="53" y="45"/>
                  </a:lnTo>
                  <a:lnTo>
                    <a:pt x="54" y="27"/>
                  </a:lnTo>
                  <a:lnTo>
                    <a:pt x="62" y="20"/>
                  </a:lnTo>
                  <a:lnTo>
                    <a:pt x="58" y="9"/>
                  </a:lnTo>
                  <a:lnTo>
                    <a:pt x="46" y="8"/>
                  </a:lnTo>
                  <a:lnTo>
                    <a:pt x="43" y="11"/>
                  </a:lnTo>
                  <a:lnTo>
                    <a:pt x="31" y="11"/>
                  </a:lnTo>
                  <a:lnTo>
                    <a:pt x="28" y="0"/>
                  </a:lnTo>
                  <a:lnTo>
                    <a:pt x="19" y="3"/>
                  </a:lnTo>
                  <a:lnTo>
                    <a:pt x="13" y="9"/>
                  </a:lnTo>
                  <a:lnTo>
                    <a:pt x="13" y="17"/>
                  </a:lnTo>
                  <a:lnTo>
                    <a:pt x="16" y="25"/>
                  </a:lnTo>
                  <a:lnTo>
                    <a:pt x="16" y="35"/>
                  </a:lnTo>
                  <a:lnTo>
                    <a:pt x="12" y="49"/>
                  </a:lnTo>
                  <a:lnTo>
                    <a:pt x="10" y="59"/>
                  </a:lnTo>
                  <a:lnTo>
                    <a:pt x="2" y="67"/>
                  </a:lnTo>
                  <a:lnTo>
                    <a:pt x="0" y="83"/>
                  </a:lnTo>
                  <a:lnTo>
                    <a:pt x="4" y="92"/>
                  </a:lnTo>
                  <a:lnTo>
                    <a:pt x="13" y="94"/>
                  </a:lnTo>
                  <a:lnTo>
                    <a:pt x="15" y="109"/>
                  </a:lnTo>
                  <a:lnTo>
                    <a:pt x="11" y="129"/>
                  </a:lnTo>
                  <a:lnTo>
                    <a:pt x="21" y="126"/>
                  </a:lnTo>
                  <a:lnTo>
                    <a:pt x="31" y="129"/>
                  </a:lnTo>
                  <a:lnTo>
                    <a:pt x="39" y="123"/>
                  </a:lnTo>
                  <a:lnTo>
                    <a:pt x="39" y="123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5" name="Paraguay">
              <a:extLst>
                <a:ext uri="{FF2B5EF4-FFF2-40B4-BE49-F238E27FC236}">
                  <a16:creationId xmlns:a16="http://schemas.microsoft.com/office/drawing/2014/main" id="{DBB55648-1CB5-43FD-A56B-A97AB752D8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2081" y="4792435"/>
              <a:ext cx="280987" cy="309562"/>
            </a:xfrm>
            <a:custGeom>
              <a:avLst/>
              <a:gdLst>
                <a:gd name="T0" fmla="*/ 89 w 177"/>
                <a:gd name="T1" fmla="*/ 19 h 195"/>
                <a:gd name="T2" fmla="*/ 88 w 177"/>
                <a:gd name="T3" fmla="*/ 12 h 195"/>
                <a:gd name="T4" fmla="*/ 67 w 177"/>
                <a:gd name="T5" fmla="*/ 0 h 195"/>
                <a:gd name="T6" fmla="*/ 48 w 177"/>
                <a:gd name="T7" fmla="*/ 0 h 195"/>
                <a:gd name="T8" fmla="*/ 13 w 177"/>
                <a:gd name="T9" fmla="*/ 6 h 195"/>
                <a:gd name="T10" fmla="*/ 5 w 177"/>
                <a:gd name="T11" fmla="*/ 28 h 195"/>
                <a:gd name="T12" fmla="*/ 6 w 177"/>
                <a:gd name="T13" fmla="*/ 40 h 195"/>
                <a:gd name="T14" fmla="*/ 0 w 177"/>
                <a:gd name="T15" fmla="*/ 69 h 195"/>
                <a:gd name="T16" fmla="*/ 42 w 177"/>
                <a:gd name="T17" fmla="*/ 107 h 195"/>
                <a:gd name="T18" fmla="*/ 59 w 177"/>
                <a:gd name="T19" fmla="*/ 111 h 195"/>
                <a:gd name="T20" fmla="*/ 86 w 177"/>
                <a:gd name="T21" fmla="*/ 129 h 195"/>
                <a:gd name="T22" fmla="*/ 108 w 177"/>
                <a:gd name="T23" fmla="*/ 138 h 195"/>
                <a:gd name="T24" fmla="*/ 112 w 177"/>
                <a:gd name="T25" fmla="*/ 148 h 195"/>
                <a:gd name="T26" fmla="*/ 96 w 177"/>
                <a:gd name="T27" fmla="*/ 185 h 195"/>
                <a:gd name="T28" fmla="*/ 118 w 177"/>
                <a:gd name="T29" fmla="*/ 191 h 195"/>
                <a:gd name="T30" fmla="*/ 141 w 177"/>
                <a:gd name="T31" fmla="*/ 195 h 195"/>
                <a:gd name="T32" fmla="*/ 157 w 177"/>
                <a:gd name="T33" fmla="*/ 191 h 195"/>
                <a:gd name="T34" fmla="*/ 173 w 177"/>
                <a:gd name="T35" fmla="*/ 172 h 195"/>
                <a:gd name="T36" fmla="*/ 174 w 177"/>
                <a:gd name="T37" fmla="*/ 152 h 195"/>
                <a:gd name="T38" fmla="*/ 176 w 177"/>
                <a:gd name="T39" fmla="*/ 138 h 195"/>
                <a:gd name="T40" fmla="*/ 177 w 177"/>
                <a:gd name="T41" fmla="*/ 124 h 195"/>
                <a:gd name="T42" fmla="*/ 176 w 177"/>
                <a:gd name="T43" fmla="*/ 111 h 195"/>
                <a:gd name="T44" fmla="*/ 168 w 177"/>
                <a:gd name="T45" fmla="*/ 106 h 195"/>
                <a:gd name="T46" fmla="*/ 161 w 177"/>
                <a:gd name="T47" fmla="*/ 111 h 195"/>
                <a:gd name="T48" fmla="*/ 153 w 177"/>
                <a:gd name="T49" fmla="*/ 109 h 195"/>
                <a:gd name="T50" fmla="*/ 150 w 177"/>
                <a:gd name="T51" fmla="*/ 100 h 195"/>
                <a:gd name="T52" fmla="*/ 147 w 177"/>
                <a:gd name="T53" fmla="*/ 78 h 195"/>
                <a:gd name="T54" fmla="*/ 142 w 177"/>
                <a:gd name="T55" fmla="*/ 72 h 195"/>
                <a:gd name="T56" fmla="*/ 127 w 177"/>
                <a:gd name="T57" fmla="*/ 65 h 195"/>
                <a:gd name="T58" fmla="*/ 119 w 177"/>
                <a:gd name="T59" fmla="*/ 70 h 195"/>
                <a:gd name="T60" fmla="*/ 97 w 177"/>
                <a:gd name="T61" fmla="*/ 65 h 195"/>
                <a:gd name="T62" fmla="*/ 95 w 177"/>
                <a:gd name="T63" fmla="*/ 32 h 195"/>
                <a:gd name="T64" fmla="*/ 89 w 177"/>
                <a:gd name="T65" fmla="*/ 19 h 195"/>
                <a:gd name="T66" fmla="*/ 89 w 177"/>
                <a:gd name="T67" fmla="*/ 19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77" h="195">
                  <a:moveTo>
                    <a:pt x="89" y="19"/>
                  </a:moveTo>
                  <a:lnTo>
                    <a:pt x="88" y="12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13" y="6"/>
                  </a:lnTo>
                  <a:lnTo>
                    <a:pt x="5" y="28"/>
                  </a:lnTo>
                  <a:lnTo>
                    <a:pt x="6" y="40"/>
                  </a:lnTo>
                  <a:lnTo>
                    <a:pt x="0" y="69"/>
                  </a:lnTo>
                  <a:lnTo>
                    <a:pt x="42" y="107"/>
                  </a:lnTo>
                  <a:lnTo>
                    <a:pt x="59" y="111"/>
                  </a:lnTo>
                  <a:lnTo>
                    <a:pt x="86" y="129"/>
                  </a:lnTo>
                  <a:lnTo>
                    <a:pt x="108" y="138"/>
                  </a:lnTo>
                  <a:lnTo>
                    <a:pt x="112" y="148"/>
                  </a:lnTo>
                  <a:lnTo>
                    <a:pt x="96" y="185"/>
                  </a:lnTo>
                  <a:lnTo>
                    <a:pt x="118" y="191"/>
                  </a:lnTo>
                  <a:lnTo>
                    <a:pt x="141" y="195"/>
                  </a:lnTo>
                  <a:lnTo>
                    <a:pt x="157" y="191"/>
                  </a:lnTo>
                  <a:lnTo>
                    <a:pt x="173" y="172"/>
                  </a:lnTo>
                  <a:lnTo>
                    <a:pt x="174" y="152"/>
                  </a:lnTo>
                  <a:lnTo>
                    <a:pt x="176" y="138"/>
                  </a:lnTo>
                  <a:lnTo>
                    <a:pt x="177" y="124"/>
                  </a:lnTo>
                  <a:lnTo>
                    <a:pt x="176" y="111"/>
                  </a:lnTo>
                  <a:lnTo>
                    <a:pt x="168" y="106"/>
                  </a:lnTo>
                  <a:lnTo>
                    <a:pt x="161" y="111"/>
                  </a:lnTo>
                  <a:lnTo>
                    <a:pt x="153" y="109"/>
                  </a:lnTo>
                  <a:lnTo>
                    <a:pt x="150" y="100"/>
                  </a:lnTo>
                  <a:lnTo>
                    <a:pt x="147" y="78"/>
                  </a:lnTo>
                  <a:lnTo>
                    <a:pt x="142" y="72"/>
                  </a:lnTo>
                  <a:lnTo>
                    <a:pt x="127" y="65"/>
                  </a:lnTo>
                  <a:lnTo>
                    <a:pt x="119" y="70"/>
                  </a:lnTo>
                  <a:lnTo>
                    <a:pt x="97" y="65"/>
                  </a:lnTo>
                  <a:lnTo>
                    <a:pt x="95" y="32"/>
                  </a:lnTo>
                  <a:lnTo>
                    <a:pt x="89" y="19"/>
                  </a:lnTo>
                  <a:lnTo>
                    <a:pt x="89" y="19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6" name="Cisjordania">
              <a:extLst>
                <a:ext uri="{FF2B5EF4-FFF2-40B4-BE49-F238E27FC236}">
                  <a16:creationId xmlns:a16="http://schemas.microsoft.com/office/drawing/2014/main" id="{299E9570-1806-4D75-B78F-60DE85A726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8031" y="2835048"/>
              <a:ext cx="17462" cy="44450"/>
            </a:xfrm>
            <a:custGeom>
              <a:avLst/>
              <a:gdLst>
                <a:gd name="T0" fmla="*/ 10 w 11"/>
                <a:gd name="T1" fmla="*/ 3 h 28"/>
                <a:gd name="T2" fmla="*/ 2 w 11"/>
                <a:gd name="T3" fmla="*/ 0 h 28"/>
                <a:gd name="T4" fmla="*/ 0 w 11"/>
                <a:gd name="T5" fmla="*/ 16 h 28"/>
                <a:gd name="T6" fmla="*/ 4 w 11"/>
                <a:gd name="T7" fmla="*/ 19 h 28"/>
                <a:gd name="T8" fmla="*/ 1 w 11"/>
                <a:gd name="T9" fmla="*/ 22 h 28"/>
                <a:gd name="T10" fmla="*/ 0 w 11"/>
                <a:gd name="T11" fmla="*/ 28 h 28"/>
                <a:gd name="T12" fmla="*/ 9 w 11"/>
                <a:gd name="T13" fmla="*/ 25 h 28"/>
                <a:gd name="T14" fmla="*/ 11 w 11"/>
                <a:gd name="T15" fmla="*/ 18 h 28"/>
                <a:gd name="T16" fmla="*/ 10 w 11"/>
                <a:gd name="T17" fmla="*/ 3 h 28"/>
                <a:gd name="T18" fmla="*/ 10 w 11"/>
                <a:gd name="T19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28">
                  <a:moveTo>
                    <a:pt x="10" y="3"/>
                  </a:moveTo>
                  <a:lnTo>
                    <a:pt x="2" y="0"/>
                  </a:lnTo>
                  <a:lnTo>
                    <a:pt x="0" y="16"/>
                  </a:lnTo>
                  <a:lnTo>
                    <a:pt x="4" y="19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9" y="25"/>
                  </a:lnTo>
                  <a:lnTo>
                    <a:pt x="11" y="18"/>
                  </a:lnTo>
                  <a:lnTo>
                    <a:pt x="10" y="3"/>
                  </a:lnTo>
                  <a:lnTo>
                    <a:pt x="10" y="3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7" name="Bahrain">
              <a:extLst>
                <a:ext uri="{FF2B5EF4-FFF2-40B4-BE49-F238E27FC236}">
                  <a16:creationId xmlns:a16="http://schemas.microsoft.com/office/drawing/2014/main" id="{A0DF79F4-AD3E-4E0D-996F-93C042032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7639844" y="3076348"/>
              <a:ext cx="28575" cy="60325"/>
            </a:xfrm>
            <a:custGeom>
              <a:avLst/>
              <a:gdLst>
                <a:gd name="T0" fmla="*/ 15 w 18"/>
                <a:gd name="T1" fmla="*/ 36 h 38"/>
                <a:gd name="T2" fmla="*/ 18 w 18"/>
                <a:gd name="T3" fmla="*/ 22 h 38"/>
                <a:gd name="T4" fmla="*/ 16 w 18"/>
                <a:gd name="T5" fmla="*/ 8 h 38"/>
                <a:gd name="T6" fmla="*/ 9 w 18"/>
                <a:gd name="T7" fmla="*/ 0 h 38"/>
                <a:gd name="T8" fmla="*/ 4 w 18"/>
                <a:gd name="T9" fmla="*/ 3 h 38"/>
                <a:gd name="T10" fmla="*/ 0 w 18"/>
                <a:gd name="T11" fmla="*/ 15 h 38"/>
                <a:gd name="T12" fmla="*/ 3 w 18"/>
                <a:gd name="T13" fmla="*/ 33 h 38"/>
                <a:gd name="T14" fmla="*/ 9 w 18"/>
                <a:gd name="T15" fmla="*/ 38 h 38"/>
                <a:gd name="T16" fmla="*/ 15 w 18"/>
                <a:gd name="T17" fmla="*/ 36 h 38"/>
                <a:gd name="T18" fmla="*/ 15 w 18"/>
                <a:gd name="T19" fmla="*/ 3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38">
                  <a:moveTo>
                    <a:pt x="15" y="36"/>
                  </a:moveTo>
                  <a:lnTo>
                    <a:pt x="18" y="22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3"/>
                  </a:lnTo>
                  <a:lnTo>
                    <a:pt x="0" y="15"/>
                  </a:lnTo>
                  <a:lnTo>
                    <a:pt x="3" y="33"/>
                  </a:lnTo>
                  <a:lnTo>
                    <a:pt x="9" y="38"/>
                  </a:lnTo>
                  <a:lnTo>
                    <a:pt x="15" y="36"/>
                  </a:lnTo>
                  <a:lnTo>
                    <a:pt x="15" y="36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8" name="Romania">
              <a:extLst>
                <a:ext uri="{FF2B5EF4-FFF2-40B4-BE49-F238E27FC236}">
                  <a16:creationId xmlns:a16="http://schemas.microsoft.com/office/drawing/2014/main" id="{4860D278-9674-46A6-ABF1-82A980612F2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6856" y="2247673"/>
              <a:ext cx="284162" cy="168275"/>
            </a:xfrm>
            <a:custGeom>
              <a:avLst/>
              <a:gdLst>
                <a:gd name="T0" fmla="*/ 112 w 179"/>
                <a:gd name="T1" fmla="*/ 0 h 106"/>
                <a:gd name="T2" fmla="*/ 104 w 179"/>
                <a:gd name="T3" fmla="*/ 0 h 106"/>
                <a:gd name="T4" fmla="*/ 100 w 179"/>
                <a:gd name="T5" fmla="*/ 6 h 106"/>
                <a:gd name="T6" fmla="*/ 87 w 179"/>
                <a:gd name="T7" fmla="*/ 9 h 106"/>
                <a:gd name="T8" fmla="*/ 81 w 179"/>
                <a:gd name="T9" fmla="*/ 12 h 106"/>
                <a:gd name="T10" fmla="*/ 72 w 179"/>
                <a:gd name="T11" fmla="*/ 6 h 106"/>
                <a:gd name="T12" fmla="*/ 60 w 179"/>
                <a:gd name="T13" fmla="*/ 6 h 106"/>
                <a:gd name="T14" fmla="*/ 48 w 179"/>
                <a:gd name="T15" fmla="*/ 3 h 106"/>
                <a:gd name="T16" fmla="*/ 41 w 179"/>
                <a:gd name="T17" fmla="*/ 9 h 106"/>
                <a:gd name="T18" fmla="*/ 30 w 179"/>
                <a:gd name="T19" fmla="*/ 14 h 106"/>
                <a:gd name="T20" fmla="*/ 23 w 179"/>
                <a:gd name="T21" fmla="*/ 29 h 106"/>
                <a:gd name="T22" fmla="*/ 14 w 179"/>
                <a:gd name="T23" fmla="*/ 45 h 106"/>
                <a:gd name="T24" fmla="*/ 0 w 179"/>
                <a:gd name="T25" fmla="*/ 49 h 106"/>
                <a:gd name="T26" fmla="*/ 10 w 179"/>
                <a:gd name="T27" fmla="*/ 58 h 106"/>
                <a:gd name="T28" fmla="*/ 13 w 179"/>
                <a:gd name="T29" fmla="*/ 66 h 106"/>
                <a:gd name="T30" fmla="*/ 25 w 179"/>
                <a:gd name="T31" fmla="*/ 71 h 106"/>
                <a:gd name="T32" fmla="*/ 28 w 179"/>
                <a:gd name="T33" fmla="*/ 81 h 106"/>
                <a:gd name="T34" fmla="*/ 39 w 179"/>
                <a:gd name="T35" fmla="*/ 87 h 106"/>
                <a:gd name="T36" fmla="*/ 44 w 179"/>
                <a:gd name="T37" fmla="*/ 83 h 106"/>
                <a:gd name="T38" fmla="*/ 50 w 179"/>
                <a:gd name="T39" fmla="*/ 85 h 106"/>
                <a:gd name="T40" fmla="*/ 45 w 179"/>
                <a:gd name="T41" fmla="*/ 89 h 106"/>
                <a:gd name="T42" fmla="*/ 49 w 179"/>
                <a:gd name="T43" fmla="*/ 93 h 106"/>
                <a:gd name="T44" fmla="*/ 56 w 179"/>
                <a:gd name="T45" fmla="*/ 102 h 106"/>
                <a:gd name="T46" fmla="*/ 63 w 179"/>
                <a:gd name="T47" fmla="*/ 100 h 106"/>
                <a:gd name="T48" fmla="*/ 78 w 179"/>
                <a:gd name="T49" fmla="*/ 104 h 106"/>
                <a:gd name="T50" fmla="*/ 106 w 179"/>
                <a:gd name="T51" fmla="*/ 106 h 106"/>
                <a:gd name="T52" fmla="*/ 114 w 179"/>
                <a:gd name="T53" fmla="*/ 99 h 106"/>
                <a:gd name="T54" fmla="*/ 136 w 179"/>
                <a:gd name="T55" fmla="*/ 95 h 106"/>
                <a:gd name="T56" fmla="*/ 151 w 179"/>
                <a:gd name="T57" fmla="*/ 102 h 106"/>
                <a:gd name="T58" fmla="*/ 162 w 179"/>
                <a:gd name="T59" fmla="*/ 105 h 106"/>
                <a:gd name="T60" fmla="*/ 164 w 179"/>
                <a:gd name="T61" fmla="*/ 78 h 106"/>
                <a:gd name="T62" fmla="*/ 169 w 179"/>
                <a:gd name="T63" fmla="*/ 80 h 106"/>
                <a:gd name="T64" fmla="*/ 179 w 179"/>
                <a:gd name="T65" fmla="*/ 74 h 106"/>
                <a:gd name="T66" fmla="*/ 177 w 179"/>
                <a:gd name="T67" fmla="*/ 69 h 106"/>
                <a:gd name="T68" fmla="*/ 168 w 179"/>
                <a:gd name="T69" fmla="*/ 65 h 106"/>
                <a:gd name="T70" fmla="*/ 160 w 179"/>
                <a:gd name="T71" fmla="*/ 69 h 106"/>
                <a:gd name="T72" fmla="*/ 151 w 179"/>
                <a:gd name="T73" fmla="*/ 64 h 106"/>
                <a:gd name="T74" fmla="*/ 146 w 179"/>
                <a:gd name="T75" fmla="*/ 54 h 106"/>
                <a:gd name="T76" fmla="*/ 147 w 179"/>
                <a:gd name="T77" fmla="*/ 43 h 106"/>
                <a:gd name="T78" fmla="*/ 144 w 179"/>
                <a:gd name="T79" fmla="*/ 33 h 106"/>
                <a:gd name="T80" fmla="*/ 132 w 179"/>
                <a:gd name="T81" fmla="*/ 20 h 106"/>
                <a:gd name="T82" fmla="*/ 125 w 179"/>
                <a:gd name="T83" fmla="*/ 10 h 106"/>
                <a:gd name="T84" fmla="*/ 118 w 179"/>
                <a:gd name="T85" fmla="*/ 3 h 106"/>
                <a:gd name="T86" fmla="*/ 112 w 179"/>
                <a:gd name="T87" fmla="*/ 0 h 106"/>
                <a:gd name="T88" fmla="*/ 112 w 179"/>
                <a:gd name="T89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79" h="106">
                  <a:moveTo>
                    <a:pt x="112" y="0"/>
                  </a:moveTo>
                  <a:lnTo>
                    <a:pt x="104" y="0"/>
                  </a:lnTo>
                  <a:lnTo>
                    <a:pt x="100" y="6"/>
                  </a:lnTo>
                  <a:lnTo>
                    <a:pt x="87" y="9"/>
                  </a:lnTo>
                  <a:lnTo>
                    <a:pt x="81" y="12"/>
                  </a:lnTo>
                  <a:lnTo>
                    <a:pt x="72" y="6"/>
                  </a:lnTo>
                  <a:lnTo>
                    <a:pt x="60" y="6"/>
                  </a:lnTo>
                  <a:lnTo>
                    <a:pt x="48" y="3"/>
                  </a:lnTo>
                  <a:lnTo>
                    <a:pt x="41" y="9"/>
                  </a:lnTo>
                  <a:lnTo>
                    <a:pt x="30" y="14"/>
                  </a:lnTo>
                  <a:lnTo>
                    <a:pt x="23" y="29"/>
                  </a:lnTo>
                  <a:lnTo>
                    <a:pt x="14" y="45"/>
                  </a:lnTo>
                  <a:lnTo>
                    <a:pt x="0" y="49"/>
                  </a:lnTo>
                  <a:lnTo>
                    <a:pt x="10" y="58"/>
                  </a:lnTo>
                  <a:lnTo>
                    <a:pt x="13" y="66"/>
                  </a:lnTo>
                  <a:lnTo>
                    <a:pt x="25" y="71"/>
                  </a:lnTo>
                  <a:lnTo>
                    <a:pt x="28" y="81"/>
                  </a:lnTo>
                  <a:lnTo>
                    <a:pt x="39" y="87"/>
                  </a:lnTo>
                  <a:lnTo>
                    <a:pt x="44" y="83"/>
                  </a:lnTo>
                  <a:lnTo>
                    <a:pt x="50" y="85"/>
                  </a:lnTo>
                  <a:lnTo>
                    <a:pt x="45" y="89"/>
                  </a:lnTo>
                  <a:lnTo>
                    <a:pt x="49" y="93"/>
                  </a:lnTo>
                  <a:lnTo>
                    <a:pt x="56" y="102"/>
                  </a:lnTo>
                  <a:lnTo>
                    <a:pt x="63" y="100"/>
                  </a:lnTo>
                  <a:lnTo>
                    <a:pt x="78" y="104"/>
                  </a:lnTo>
                  <a:lnTo>
                    <a:pt x="106" y="106"/>
                  </a:lnTo>
                  <a:lnTo>
                    <a:pt x="114" y="99"/>
                  </a:lnTo>
                  <a:lnTo>
                    <a:pt x="136" y="95"/>
                  </a:lnTo>
                  <a:lnTo>
                    <a:pt x="151" y="102"/>
                  </a:lnTo>
                  <a:lnTo>
                    <a:pt x="162" y="105"/>
                  </a:lnTo>
                  <a:lnTo>
                    <a:pt x="164" y="78"/>
                  </a:lnTo>
                  <a:lnTo>
                    <a:pt x="169" y="80"/>
                  </a:lnTo>
                  <a:lnTo>
                    <a:pt x="179" y="74"/>
                  </a:lnTo>
                  <a:lnTo>
                    <a:pt x="177" y="69"/>
                  </a:lnTo>
                  <a:lnTo>
                    <a:pt x="168" y="65"/>
                  </a:lnTo>
                  <a:lnTo>
                    <a:pt x="160" y="69"/>
                  </a:lnTo>
                  <a:lnTo>
                    <a:pt x="151" y="64"/>
                  </a:lnTo>
                  <a:lnTo>
                    <a:pt x="146" y="54"/>
                  </a:lnTo>
                  <a:lnTo>
                    <a:pt x="147" y="43"/>
                  </a:lnTo>
                  <a:lnTo>
                    <a:pt x="144" y="33"/>
                  </a:lnTo>
                  <a:lnTo>
                    <a:pt x="132" y="20"/>
                  </a:lnTo>
                  <a:lnTo>
                    <a:pt x="125" y="10"/>
                  </a:lnTo>
                  <a:lnTo>
                    <a:pt x="118" y="3"/>
                  </a:lnTo>
                  <a:lnTo>
                    <a:pt x="112" y="0"/>
                  </a:lnTo>
                  <a:lnTo>
                    <a:pt x="112" y="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9" name="Russia">
              <a:extLst>
                <a:ext uri="{FF2B5EF4-FFF2-40B4-BE49-F238E27FC236}">
                  <a16:creationId xmlns:a16="http://schemas.microsoft.com/office/drawing/2014/main" id="{8EDE9FDF-2FC1-466D-BD34-5789D9F229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6056" y="1174525"/>
              <a:ext cx="4113212" cy="1333499"/>
            </a:xfrm>
            <a:custGeom>
              <a:avLst/>
              <a:gdLst>
                <a:gd name="T0" fmla="*/ 955 w 2591"/>
                <a:gd name="T1" fmla="*/ 40 h 840"/>
                <a:gd name="T2" fmla="*/ 261 w 2591"/>
                <a:gd name="T3" fmla="*/ 10 h 840"/>
                <a:gd name="T4" fmla="*/ 999 w 2591"/>
                <a:gd name="T5" fmla="*/ 29 h 840"/>
                <a:gd name="T6" fmla="*/ 1046 w 2591"/>
                <a:gd name="T7" fmla="*/ 80 h 840"/>
                <a:gd name="T8" fmla="*/ 899 w 2591"/>
                <a:gd name="T9" fmla="*/ 127 h 840"/>
                <a:gd name="T10" fmla="*/ 771 w 2591"/>
                <a:gd name="T11" fmla="*/ 176 h 840"/>
                <a:gd name="T12" fmla="*/ 798 w 2591"/>
                <a:gd name="T13" fmla="*/ 236 h 840"/>
                <a:gd name="T14" fmla="*/ 746 w 2591"/>
                <a:gd name="T15" fmla="*/ 195 h 840"/>
                <a:gd name="T16" fmla="*/ 668 w 2591"/>
                <a:gd name="T17" fmla="*/ 204 h 840"/>
                <a:gd name="T18" fmla="*/ 586 w 2591"/>
                <a:gd name="T19" fmla="*/ 224 h 840"/>
                <a:gd name="T20" fmla="*/ 400 w 2591"/>
                <a:gd name="T21" fmla="*/ 253 h 840"/>
                <a:gd name="T22" fmla="*/ 350 w 2591"/>
                <a:gd name="T23" fmla="*/ 268 h 840"/>
                <a:gd name="T24" fmla="*/ 250 w 2591"/>
                <a:gd name="T25" fmla="*/ 328 h 840"/>
                <a:gd name="T26" fmla="*/ 291 w 2591"/>
                <a:gd name="T27" fmla="*/ 254 h 840"/>
                <a:gd name="T28" fmla="*/ 117 w 2591"/>
                <a:gd name="T29" fmla="*/ 249 h 840"/>
                <a:gd name="T30" fmla="*/ 121 w 2591"/>
                <a:gd name="T31" fmla="*/ 400 h 840"/>
                <a:gd name="T32" fmla="*/ 142 w 2591"/>
                <a:gd name="T33" fmla="*/ 496 h 840"/>
                <a:gd name="T34" fmla="*/ 228 w 2591"/>
                <a:gd name="T35" fmla="*/ 553 h 840"/>
                <a:gd name="T36" fmla="*/ 240 w 2591"/>
                <a:gd name="T37" fmla="*/ 584 h 840"/>
                <a:gd name="T38" fmla="*/ 346 w 2591"/>
                <a:gd name="T39" fmla="*/ 637 h 840"/>
                <a:gd name="T40" fmla="*/ 379 w 2591"/>
                <a:gd name="T41" fmla="*/ 699 h 840"/>
                <a:gd name="T42" fmla="*/ 430 w 2591"/>
                <a:gd name="T43" fmla="*/ 789 h 840"/>
                <a:gd name="T44" fmla="*/ 573 w 2591"/>
                <a:gd name="T45" fmla="*/ 840 h 840"/>
                <a:gd name="T46" fmla="*/ 558 w 2591"/>
                <a:gd name="T47" fmla="*/ 715 h 840"/>
                <a:gd name="T48" fmla="*/ 567 w 2591"/>
                <a:gd name="T49" fmla="*/ 597 h 840"/>
                <a:gd name="T50" fmla="*/ 730 w 2591"/>
                <a:gd name="T51" fmla="*/ 591 h 840"/>
                <a:gd name="T52" fmla="*/ 893 w 2591"/>
                <a:gd name="T53" fmla="*/ 518 h 840"/>
                <a:gd name="T54" fmla="*/ 1106 w 2591"/>
                <a:gd name="T55" fmla="*/ 604 h 840"/>
                <a:gd name="T56" fmla="*/ 1277 w 2591"/>
                <a:gd name="T57" fmla="*/ 648 h 840"/>
                <a:gd name="T58" fmla="*/ 1427 w 2591"/>
                <a:gd name="T59" fmla="*/ 589 h 840"/>
                <a:gd name="T60" fmla="*/ 1639 w 2591"/>
                <a:gd name="T61" fmla="*/ 652 h 840"/>
                <a:gd name="T62" fmla="*/ 1824 w 2591"/>
                <a:gd name="T63" fmla="*/ 633 h 840"/>
                <a:gd name="T64" fmla="*/ 1901 w 2591"/>
                <a:gd name="T65" fmla="*/ 572 h 840"/>
                <a:gd name="T66" fmla="*/ 2139 w 2591"/>
                <a:gd name="T67" fmla="*/ 671 h 840"/>
                <a:gd name="T68" fmla="*/ 2148 w 2591"/>
                <a:gd name="T69" fmla="*/ 811 h 840"/>
                <a:gd name="T70" fmla="*/ 2214 w 2591"/>
                <a:gd name="T71" fmla="*/ 789 h 840"/>
                <a:gd name="T72" fmla="*/ 2122 w 2591"/>
                <a:gd name="T73" fmla="*/ 540 h 840"/>
                <a:gd name="T74" fmla="*/ 2172 w 2591"/>
                <a:gd name="T75" fmla="*/ 419 h 840"/>
                <a:gd name="T76" fmla="*/ 2325 w 2591"/>
                <a:gd name="T77" fmla="*/ 358 h 840"/>
                <a:gd name="T78" fmla="*/ 2428 w 2591"/>
                <a:gd name="T79" fmla="*/ 564 h 840"/>
                <a:gd name="T80" fmla="*/ 2483 w 2591"/>
                <a:gd name="T81" fmla="*/ 496 h 840"/>
                <a:gd name="T82" fmla="*/ 2511 w 2591"/>
                <a:gd name="T83" fmla="*/ 414 h 840"/>
                <a:gd name="T84" fmla="*/ 2524 w 2591"/>
                <a:gd name="T85" fmla="*/ 324 h 840"/>
                <a:gd name="T86" fmla="*/ 2228 w 2591"/>
                <a:gd name="T87" fmla="*/ 210 h 840"/>
                <a:gd name="T88" fmla="*/ 2027 w 2591"/>
                <a:gd name="T89" fmla="*/ 185 h 840"/>
                <a:gd name="T90" fmla="*/ 1657 w 2591"/>
                <a:gd name="T91" fmla="*/ 170 h 840"/>
                <a:gd name="T92" fmla="*/ 1426 w 2591"/>
                <a:gd name="T93" fmla="*/ 130 h 840"/>
                <a:gd name="T94" fmla="*/ 1217 w 2591"/>
                <a:gd name="T95" fmla="*/ 122 h 840"/>
                <a:gd name="T96" fmla="*/ 1119 w 2591"/>
                <a:gd name="T97" fmla="*/ 71 h 840"/>
                <a:gd name="T98" fmla="*/ 588 w 2591"/>
                <a:gd name="T99" fmla="*/ 71 h 840"/>
                <a:gd name="T100" fmla="*/ 424 w 2591"/>
                <a:gd name="T101" fmla="*/ 159 h 840"/>
                <a:gd name="T102" fmla="*/ 1581 w 2591"/>
                <a:gd name="T103" fmla="*/ 85 h 840"/>
                <a:gd name="T104" fmla="*/ 1712 w 2591"/>
                <a:gd name="T105" fmla="*/ 103 h 840"/>
                <a:gd name="T106" fmla="*/ 1679 w 2591"/>
                <a:gd name="T107" fmla="*/ 138 h 840"/>
                <a:gd name="T108" fmla="*/ 52 w 2591"/>
                <a:gd name="T109" fmla="*/ 525 h 840"/>
                <a:gd name="T110" fmla="*/ 2185 w 2591"/>
                <a:gd name="T111" fmla="*/ 551 h 840"/>
                <a:gd name="T112" fmla="*/ 2293 w 2591"/>
                <a:gd name="T113" fmla="*/ 709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591" h="840">
                  <a:moveTo>
                    <a:pt x="981" y="37"/>
                  </a:moveTo>
                  <a:lnTo>
                    <a:pt x="964" y="22"/>
                  </a:lnTo>
                  <a:lnTo>
                    <a:pt x="914" y="7"/>
                  </a:lnTo>
                  <a:lnTo>
                    <a:pt x="878" y="0"/>
                  </a:lnTo>
                  <a:lnTo>
                    <a:pt x="855" y="2"/>
                  </a:lnTo>
                  <a:lnTo>
                    <a:pt x="835" y="14"/>
                  </a:lnTo>
                  <a:lnTo>
                    <a:pt x="857" y="16"/>
                  </a:lnTo>
                  <a:lnTo>
                    <a:pt x="882" y="29"/>
                  </a:lnTo>
                  <a:lnTo>
                    <a:pt x="912" y="35"/>
                  </a:lnTo>
                  <a:lnTo>
                    <a:pt x="955" y="40"/>
                  </a:lnTo>
                  <a:lnTo>
                    <a:pt x="981" y="37"/>
                  </a:lnTo>
                  <a:close/>
                  <a:moveTo>
                    <a:pt x="314" y="10"/>
                  </a:moveTo>
                  <a:lnTo>
                    <a:pt x="317" y="8"/>
                  </a:lnTo>
                  <a:lnTo>
                    <a:pt x="296" y="4"/>
                  </a:lnTo>
                  <a:lnTo>
                    <a:pt x="286" y="7"/>
                  </a:lnTo>
                  <a:lnTo>
                    <a:pt x="281" y="11"/>
                  </a:lnTo>
                  <a:lnTo>
                    <a:pt x="275" y="6"/>
                  </a:lnTo>
                  <a:lnTo>
                    <a:pt x="256" y="7"/>
                  </a:lnTo>
                  <a:lnTo>
                    <a:pt x="232" y="10"/>
                  </a:lnTo>
                  <a:lnTo>
                    <a:pt x="261" y="10"/>
                  </a:lnTo>
                  <a:lnTo>
                    <a:pt x="258" y="14"/>
                  </a:lnTo>
                  <a:lnTo>
                    <a:pt x="273" y="18"/>
                  </a:lnTo>
                  <a:lnTo>
                    <a:pt x="287" y="16"/>
                  </a:lnTo>
                  <a:lnTo>
                    <a:pt x="287" y="14"/>
                  </a:lnTo>
                  <a:lnTo>
                    <a:pt x="299" y="13"/>
                  </a:lnTo>
                  <a:lnTo>
                    <a:pt x="314" y="10"/>
                  </a:lnTo>
                  <a:close/>
                  <a:moveTo>
                    <a:pt x="1062" y="47"/>
                  </a:moveTo>
                  <a:lnTo>
                    <a:pt x="1057" y="41"/>
                  </a:lnTo>
                  <a:lnTo>
                    <a:pt x="1010" y="30"/>
                  </a:lnTo>
                  <a:lnTo>
                    <a:pt x="999" y="29"/>
                  </a:lnTo>
                  <a:lnTo>
                    <a:pt x="991" y="31"/>
                  </a:lnTo>
                  <a:lnTo>
                    <a:pt x="995" y="54"/>
                  </a:lnTo>
                  <a:lnTo>
                    <a:pt x="1062" y="47"/>
                  </a:lnTo>
                  <a:close/>
                  <a:moveTo>
                    <a:pt x="1119" y="71"/>
                  </a:moveTo>
                  <a:lnTo>
                    <a:pt x="1085" y="68"/>
                  </a:lnTo>
                  <a:lnTo>
                    <a:pt x="1098" y="63"/>
                  </a:lnTo>
                  <a:lnTo>
                    <a:pt x="1067" y="57"/>
                  </a:lnTo>
                  <a:lnTo>
                    <a:pt x="1045" y="65"/>
                  </a:lnTo>
                  <a:lnTo>
                    <a:pt x="1041" y="72"/>
                  </a:lnTo>
                  <a:lnTo>
                    <a:pt x="1046" y="80"/>
                  </a:lnTo>
                  <a:lnTo>
                    <a:pt x="1020" y="80"/>
                  </a:lnTo>
                  <a:lnTo>
                    <a:pt x="1001" y="89"/>
                  </a:lnTo>
                  <a:lnTo>
                    <a:pt x="985" y="85"/>
                  </a:lnTo>
                  <a:lnTo>
                    <a:pt x="950" y="87"/>
                  </a:lnTo>
                  <a:lnTo>
                    <a:pt x="951" y="92"/>
                  </a:lnTo>
                  <a:lnTo>
                    <a:pt x="917" y="95"/>
                  </a:lnTo>
                  <a:lnTo>
                    <a:pt x="898" y="104"/>
                  </a:lnTo>
                  <a:lnTo>
                    <a:pt x="883" y="104"/>
                  </a:lnTo>
                  <a:lnTo>
                    <a:pt x="878" y="117"/>
                  </a:lnTo>
                  <a:lnTo>
                    <a:pt x="899" y="127"/>
                  </a:lnTo>
                  <a:lnTo>
                    <a:pt x="870" y="129"/>
                  </a:lnTo>
                  <a:lnTo>
                    <a:pt x="835" y="128"/>
                  </a:lnTo>
                  <a:lnTo>
                    <a:pt x="813" y="132"/>
                  </a:lnTo>
                  <a:lnTo>
                    <a:pt x="831" y="153"/>
                  </a:lnTo>
                  <a:lnTo>
                    <a:pt x="857" y="169"/>
                  </a:lnTo>
                  <a:lnTo>
                    <a:pt x="821" y="157"/>
                  </a:lnTo>
                  <a:lnTo>
                    <a:pt x="792" y="158"/>
                  </a:lnTo>
                  <a:lnTo>
                    <a:pt x="772" y="166"/>
                  </a:lnTo>
                  <a:lnTo>
                    <a:pt x="789" y="180"/>
                  </a:lnTo>
                  <a:lnTo>
                    <a:pt x="771" y="176"/>
                  </a:lnTo>
                  <a:lnTo>
                    <a:pt x="763" y="157"/>
                  </a:lnTo>
                  <a:lnTo>
                    <a:pt x="747" y="147"/>
                  </a:lnTo>
                  <a:lnTo>
                    <a:pt x="740" y="147"/>
                  </a:lnTo>
                  <a:lnTo>
                    <a:pt x="754" y="161"/>
                  </a:lnTo>
                  <a:lnTo>
                    <a:pt x="736" y="174"/>
                  </a:lnTo>
                  <a:lnTo>
                    <a:pt x="767" y="190"/>
                  </a:lnTo>
                  <a:lnTo>
                    <a:pt x="768" y="211"/>
                  </a:lnTo>
                  <a:lnTo>
                    <a:pt x="779" y="221"/>
                  </a:lnTo>
                  <a:lnTo>
                    <a:pt x="797" y="223"/>
                  </a:lnTo>
                  <a:lnTo>
                    <a:pt x="798" y="236"/>
                  </a:lnTo>
                  <a:lnTo>
                    <a:pt x="815" y="248"/>
                  </a:lnTo>
                  <a:lnTo>
                    <a:pt x="807" y="257"/>
                  </a:lnTo>
                  <a:lnTo>
                    <a:pt x="809" y="268"/>
                  </a:lnTo>
                  <a:lnTo>
                    <a:pt x="795" y="272"/>
                  </a:lnTo>
                  <a:lnTo>
                    <a:pt x="793" y="280"/>
                  </a:lnTo>
                  <a:lnTo>
                    <a:pt x="774" y="277"/>
                  </a:lnTo>
                  <a:lnTo>
                    <a:pt x="787" y="248"/>
                  </a:lnTo>
                  <a:lnTo>
                    <a:pt x="785" y="235"/>
                  </a:lnTo>
                  <a:lnTo>
                    <a:pt x="760" y="222"/>
                  </a:lnTo>
                  <a:lnTo>
                    <a:pt x="746" y="195"/>
                  </a:lnTo>
                  <a:lnTo>
                    <a:pt x="732" y="181"/>
                  </a:lnTo>
                  <a:lnTo>
                    <a:pt x="719" y="175"/>
                  </a:lnTo>
                  <a:lnTo>
                    <a:pt x="722" y="159"/>
                  </a:lnTo>
                  <a:lnTo>
                    <a:pt x="711" y="149"/>
                  </a:lnTo>
                  <a:lnTo>
                    <a:pt x="668" y="143"/>
                  </a:lnTo>
                  <a:lnTo>
                    <a:pt x="661" y="147"/>
                  </a:lnTo>
                  <a:lnTo>
                    <a:pt x="663" y="165"/>
                  </a:lnTo>
                  <a:lnTo>
                    <a:pt x="647" y="183"/>
                  </a:lnTo>
                  <a:lnTo>
                    <a:pt x="652" y="188"/>
                  </a:lnTo>
                  <a:lnTo>
                    <a:pt x="668" y="204"/>
                  </a:lnTo>
                  <a:lnTo>
                    <a:pt x="669" y="213"/>
                  </a:lnTo>
                  <a:lnTo>
                    <a:pt x="689" y="215"/>
                  </a:lnTo>
                  <a:lnTo>
                    <a:pt x="692" y="220"/>
                  </a:lnTo>
                  <a:lnTo>
                    <a:pt x="713" y="230"/>
                  </a:lnTo>
                  <a:lnTo>
                    <a:pt x="709" y="240"/>
                  </a:lnTo>
                  <a:lnTo>
                    <a:pt x="640" y="218"/>
                  </a:lnTo>
                  <a:lnTo>
                    <a:pt x="616" y="212"/>
                  </a:lnTo>
                  <a:lnTo>
                    <a:pt x="568" y="206"/>
                  </a:lnTo>
                  <a:lnTo>
                    <a:pt x="564" y="212"/>
                  </a:lnTo>
                  <a:lnTo>
                    <a:pt x="586" y="224"/>
                  </a:lnTo>
                  <a:lnTo>
                    <a:pt x="576" y="237"/>
                  </a:lnTo>
                  <a:lnTo>
                    <a:pt x="552" y="226"/>
                  </a:lnTo>
                  <a:lnTo>
                    <a:pt x="533" y="233"/>
                  </a:lnTo>
                  <a:lnTo>
                    <a:pt x="505" y="234"/>
                  </a:lnTo>
                  <a:lnTo>
                    <a:pt x="497" y="240"/>
                  </a:lnTo>
                  <a:lnTo>
                    <a:pt x="477" y="239"/>
                  </a:lnTo>
                  <a:lnTo>
                    <a:pt x="486" y="226"/>
                  </a:lnTo>
                  <a:lnTo>
                    <a:pt x="474" y="226"/>
                  </a:lnTo>
                  <a:lnTo>
                    <a:pt x="428" y="242"/>
                  </a:lnTo>
                  <a:lnTo>
                    <a:pt x="400" y="253"/>
                  </a:lnTo>
                  <a:lnTo>
                    <a:pt x="401" y="266"/>
                  </a:lnTo>
                  <a:lnTo>
                    <a:pt x="379" y="270"/>
                  </a:lnTo>
                  <a:lnTo>
                    <a:pt x="364" y="263"/>
                  </a:lnTo>
                  <a:lnTo>
                    <a:pt x="360" y="252"/>
                  </a:lnTo>
                  <a:lnTo>
                    <a:pt x="379" y="249"/>
                  </a:lnTo>
                  <a:lnTo>
                    <a:pt x="365" y="238"/>
                  </a:lnTo>
                  <a:lnTo>
                    <a:pt x="319" y="231"/>
                  </a:lnTo>
                  <a:lnTo>
                    <a:pt x="336" y="244"/>
                  </a:lnTo>
                  <a:lnTo>
                    <a:pt x="332" y="255"/>
                  </a:lnTo>
                  <a:lnTo>
                    <a:pt x="350" y="268"/>
                  </a:lnTo>
                  <a:lnTo>
                    <a:pt x="346" y="282"/>
                  </a:lnTo>
                  <a:lnTo>
                    <a:pt x="328" y="275"/>
                  </a:lnTo>
                  <a:lnTo>
                    <a:pt x="314" y="274"/>
                  </a:lnTo>
                  <a:lnTo>
                    <a:pt x="284" y="295"/>
                  </a:lnTo>
                  <a:lnTo>
                    <a:pt x="300" y="310"/>
                  </a:lnTo>
                  <a:lnTo>
                    <a:pt x="287" y="315"/>
                  </a:lnTo>
                  <a:lnTo>
                    <a:pt x="245" y="302"/>
                  </a:lnTo>
                  <a:lnTo>
                    <a:pt x="237" y="310"/>
                  </a:lnTo>
                  <a:lnTo>
                    <a:pt x="250" y="319"/>
                  </a:lnTo>
                  <a:lnTo>
                    <a:pt x="250" y="328"/>
                  </a:lnTo>
                  <a:lnTo>
                    <a:pt x="236" y="324"/>
                  </a:lnTo>
                  <a:lnTo>
                    <a:pt x="214" y="317"/>
                  </a:lnTo>
                  <a:lnTo>
                    <a:pt x="207" y="296"/>
                  </a:lnTo>
                  <a:lnTo>
                    <a:pt x="203" y="285"/>
                  </a:lnTo>
                  <a:lnTo>
                    <a:pt x="173" y="270"/>
                  </a:lnTo>
                  <a:lnTo>
                    <a:pt x="184" y="268"/>
                  </a:lnTo>
                  <a:lnTo>
                    <a:pt x="259" y="283"/>
                  </a:lnTo>
                  <a:lnTo>
                    <a:pt x="283" y="278"/>
                  </a:lnTo>
                  <a:lnTo>
                    <a:pt x="297" y="268"/>
                  </a:lnTo>
                  <a:lnTo>
                    <a:pt x="291" y="254"/>
                  </a:lnTo>
                  <a:lnTo>
                    <a:pt x="276" y="244"/>
                  </a:lnTo>
                  <a:lnTo>
                    <a:pt x="210" y="222"/>
                  </a:lnTo>
                  <a:lnTo>
                    <a:pt x="167" y="216"/>
                  </a:lnTo>
                  <a:lnTo>
                    <a:pt x="138" y="205"/>
                  </a:lnTo>
                  <a:lnTo>
                    <a:pt x="125" y="212"/>
                  </a:lnTo>
                  <a:lnTo>
                    <a:pt x="125" y="212"/>
                  </a:lnTo>
                  <a:lnTo>
                    <a:pt x="101" y="220"/>
                  </a:lnTo>
                  <a:lnTo>
                    <a:pt x="89" y="222"/>
                  </a:lnTo>
                  <a:lnTo>
                    <a:pt x="90" y="235"/>
                  </a:lnTo>
                  <a:lnTo>
                    <a:pt x="117" y="249"/>
                  </a:lnTo>
                  <a:lnTo>
                    <a:pt x="107" y="265"/>
                  </a:lnTo>
                  <a:lnTo>
                    <a:pt x="131" y="288"/>
                  </a:lnTo>
                  <a:lnTo>
                    <a:pt x="125" y="306"/>
                  </a:lnTo>
                  <a:lnTo>
                    <a:pt x="143" y="321"/>
                  </a:lnTo>
                  <a:lnTo>
                    <a:pt x="140" y="335"/>
                  </a:lnTo>
                  <a:lnTo>
                    <a:pt x="167" y="350"/>
                  </a:lnTo>
                  <a:lnTo>
                    <a:pt x="163" y="360"/>
                  </a:lnTo>
                  <a:lnTo>
                    <a:pt x="151" y="373"/>
                  </a:lnTo>
                  <a:lnTo>
                    <a:pt x="121" y="400"/>
                  </a:lnTo>
                  <a:lnTo>
                    <a:pt x="121" y="400"/>
                  </a:lnTo>
                  <a:lnTo>
                    <a:pt x="142" y="410"/>
                  </a:lnTo>
                  <a:lnTo>
                    <a:pt x="125" y="423"/>
                  </a:lnTo>
                  <a:lnTo>
                    <a:pt x="125" y="423"/>
                  </a:lnTo>
                  <a:lnTo>
                    <a:pt x="128" y="426"/>
                  </a:lnTo>
                  <a:lnTo>
                    <a:pt x="118" y="439"/>
                  </a:lnTo>
                  <a:lnTo>
                    <a:pt x="128" y="460"/>
                  </a:lnTo>
                  <a:lnTo>
                    <a:pt x="121" y="466"/>
                  </a:lnTo>
                  <a:lnTo>
                    <a:pt x="131" y="472"/>
                  </a:lnTo>
                  <a:lnTo>
                    <a:pt x="134" y="482"/>
                  </a:lnTo>
                  <a:lnTo>
                    <a:pt x="142" y="496"/>
                  </a:lnTo>
                  <a:lnTo>
                    <a:pt x="161" y="502"/>
                  </a:lnTo>
                  <a:lnTo>
                    <a:pt x="165" y="507"/>
                  </a:lnTo>
                  <a:lnTo>
                    <a:pt x="173" y="504"/>
                  </a:lnTo>
                  <a:lnTo>
                    <a:pt x="192" y="509"/>
                  </a:lnTo>
                  <a:lnTo>
                    <a:pt x="196" y="521"/>
                  </a:lnTo>
                  <a:lnTo>
                    <a:pt x="193" y="526"/>
                  </a:lnTo>
                  <a:lnTo>
                    <a:pt x="207" y="541"/>
                  </a:lnTo>
                  <a:lnTo>
                    <a:pt x="216" y="545"/>
                  </a:lnTo>
                  <a:lnTo>
                    <a:pt x="215" y="549"/>
                  </a:lnTo>
                  <a:lnTo>
                    <a:pt x="228" y="553"/>
                  </a:lnTo>
                  <a:lnTo>
                    <a:pt x="234" y="559"/>
                  </a:lnTo>
                  <a:lnTo>
                    <a:pt x="228" y="564"/>
                  </a:lnTo>
                  <a:lnTo>
                    <a:pt x="214" y="564"/>
                  </a:lnTo>
                  <a:lnTo>
                    <a:pt x="211" y="565"/>
                  </a:lnTo>
                  <a:lnTo>
                    <a:pt x="216" y="573"/>
                  </a:lnTo>
                  <a:lnTo>
                    <a:pt x="224" y="588"/>
                  </a:lnTo>
                  <a:lnTo>
                    <a:pt x="224" y="588"/>
                  </a:lnTo>
                  <a:lnTo>
                    <a:pt x="230" y="588"/>
                  </a:lnTo>
                  <a:lnTo>
                    <a:pt x="234" y="583"/>
                  </a:lnTo>
                  <a:lnTo>
                    <a:pt x="240" y="584"/>
                  </a:lnTo>
                  <a:lnTo>
                    <a:pt x="258" y="582"/>
                  </a:lnTo>
                  <a:lnTo>
                    <a:pt x="272" y="595"/>
                  </a:lnTo>
                  <a:lnTo>
                    <a:pt x="269" y="600"/>
                  </a:lnTo>
                  <a:lnTo>
                    <a:pt x="271" y="606"/>
                  </a:lnTo>
                  <a:lnTo>
                    <a:pt x="286" y="607"/>
                  </a:lnTo>
                  <a:lnTo>
                    <a:pt x="294" y="618"/>
                  </a:lnTo>
                  <a:lnTo>
                    <a:pt x="295" y="622"/>
                  </a:lnTo>
                  <a:lnTo>
                    <a:pt x="319" y="631"/>
                  </a:lnTo>
                  <a:lnTo>
                    <a:pt x="332" y="627"/>
                  </a:lnTo>
                  <a:lnTo>
                    <a:pt x="346" y="637"/>
                  </a:lnTo>
                  <a:lnTo>
                    <a:pt x="356" y="637"/>
                  </a:lnTo>
                  <a:lnTo>
                    <a:pt x="385" y="645"/>
                  </a:lnTo>
                  <a:lnTo>
                    <a:pt x="386" y="651"/>
                  </a:lnTo>
                  <a:lnTo>
                    <a:pt x="382" y="663"/>
                  </a:lnTo>
                  <a:lnTo>
                    <a:pt x="388" y="676"/>
                  </a:lnTo>
                  <a:lnTo>
                    <a:pt x="387" y="684"/>
                  </a:lnTo>
                  <a:lnTo>
                    <a:pt x="370" y="686"/>
                  </a:lnTo>
                  <a:lnTo>
                    <a:pt x="362" y="692"/>
                  </a:lnTo>
                  <a:lnTo>
                    <a:pt x="363" y="703"/>
                  </a:lnTo>
                  <a:lnTo>
                    <a:pt x="379" y="699"/>
                  </a:lnTo>
                  <a:lnTo>
                    <a:pt x="381" y="704"/>
                  </a:lnTo>
                  <a:lnTo>
                    <a:pt x="355" y="714"/>
                  </a:lnTo>
                  <a:lnTo>
                    <a:pt x="367" y="722"/>
                  </a:lnTo>
                  <a:lnTo>
                    <a:pt x="355" y="742"/>
                  </a:lnTo>
                  <a:lnTo>
                    <a:pt x="342" y="746"/>
                  </a:lnTo>
                  <a:lnTo>
                    <a:pt x="361" y="760"/>
                  </a:lnTo>
                  <a:lnTo>
                    <a:pt x="384" y="768"/>
                  </a:lnTo>
                  <a:lnTo>
                    <a:pt x="412" y="788"/>
                  </a:lnTo>
                  <a:lnTo>
                    <a:pt x="413" y="785"/>
                  </a:lnTo>
                  <a:lnTo>
                    <a:pt x="430" y="789"/>
                  </a:lnTo>
                  <a:lnTo>
                    <a:pt x="459" y="792"/>
                  </a:lnTo>
                  <a:lnTo>
                    <a:pt x="487" y="803"/>
                  </a:lnTo>
                  <a:lnTo>
                    <a:pt x="491" y="808"/>
                  </a:lnTo>
                  <a:lnTo>
                    <a:pt x="502" y="804"/>
                  </a:lnTo>
                  <a:lnTo>
                    <a:pt x="521" y="809"/>
                  </a:lnTo>
                  <a:lnTo>
                    <a:pt x="529" y="818"/>
                  </a:lnTo>
                  <a:lnTo>
                    <a:pt x="542" y="823"/>
                  </a:lnTo>
                  <a:lnTo>
                    <a:pt x="548" y="824"/>
                  </a:lnTo>
                  <a:lnTo>
                    <a:pt x="564" y="838"/>
                  </a:lnTo>
                  <a:lnTo>
                    <a:pt x="573" y="840"/>
                  </a:lnTo>
                  <a:lnTo>
                    <a:pt x="575" y="834"/>
                  </a:lnTo>
                  <a:lnTo>
                    <a:pt x="584" y="825"/>
                  </a:lnTo>
                  <a:lnTo>
                    <a:pt x="584" y="825"/>
                  </a:lnTo>
                  <a:lnTo>
                    <a:pt x="557" y="798"/>
                  </a:lnTo>
                  <a:lnTo>
                    <a:pt x="555" y="782"/>
                  </a:lnTo>
                  <a:lnTo>
                    <a:pt x="534" y="761"/>
                  </a:lnTo>
                  <a:lnTo>
                    <a:pt x="547" y="737"/>
                  </a:lnTo>
                  <a:lnTo>
                    <a:pt x="564" y="732"/>
                  </a:lnTo>
                  <a:lnTo>
                    <a:pt x="569" y="718"/>
                  </a:lnTo>
                  <a:lnTo>
                    <a:pt x="558" y="715"/>
                  </a:lnTo>
                  <a:lnTo>
                    <a:pt x="558" y="704"/>
                  </a:lnTo>
                  <a:lnTo>
                    <a:pt x="542" y="688"/>
                  </a:lnTo>
                  <a:lnTo>
                    <a:pt x="528" y="689"/>
                  </a:lnTo>
                  <a:lnTo>
                    <a:pt x="509" y="673"/>
                  </a:lnTo>
                  <a:lnTo>
                    <a:pt x="515" y="655"/>
                  </a:lnTo>
                  <a:lnTo>
                    <a:pt x="509" y="650"/>
                  </a:lnTo>
                  <a:lnTo>
                    <a:pt x="517" y="625"/>
                  </a:lnTo>
                  <a:lnTo>
                    <a:pt x="539" y="638"/>
                  </a:lnTo>
                  <a:lnTo>
                    <a:pt x="537" y="621"/>
                  </a:lnTo>
                  <a:lnTo>
                    <a:pt x="567" y="597"/>
                  </a:lnTo>
                  <a:lnTo>
                    <a:pt x="595" y="596"/>
                  </a:lnTo>
                  <a:lnTo>
                    <a:pt x="639" y="612"/>
                  </a:lnTo>
                  <a:lnTo>
                    <a:pt x="664" y="621"/>
                  </a:lnTo>
                  <a:lnTo>
                    <a:pt x="680" y="612"/>
                  </a:lnTo>
                  <a:lnTo>
                    <a:pt x="708" y="611"/>
                  </a:lnTo>
                  <a:lnTo>
                    <a:pt x="736" y="623"/>
                  </a:lnTo>
                  <a:lnTo>
                    <a:pt x="738" y="616"/>
                  </a:lnTo>
                  <a:lnTo>
                    <a:pt x="764" y="618"/>
                  </a:lnTo>
                  <a:lnTo>
                    <a:pt x="765" y="606"/>
                  </a:lnTo>
                  <a:lnTo>
                    <a:pt x="730" y="591"/>
                  </a:lnTo>
                  <a:lnTo>
                    <a:pt x="743" y="579"/>
                  </a:lnTo>
                  <a:lnTo>
                    <a:pt x="737" y="573"/>
                  </a:lnTo>
                  <a:lnTo>
                    <a:pt x="752" y="567"/>
                  </a:lnTo>
                  <a:lnTo>
                    <a:pt x="734" y="552"/>
                  </a:lnTo>
                  <a:lnTo>
                    <a:pt x="739" y="544"/>
                  </a:lnTo>
                  <a:lnTo>
                    <a:pt x="802" y="536"/>
                  </a:lnTo>
                  <a:lnTo>
                    <a:pt x="808" y="531"/>
                  </a:lnTo>
                  <a:lnTo>
                    <a:pt x="849" y="522"/>
                  </a:lnTo>
                  <a:lnTo>
                    <a:pt x="860" y="513"/>
                  </a:lnTo>
                  <a:lnTo>
                    <a:pt x="893" y="518"/>
                  </a:lnTo>
                  <a:lnTo>
                    <a:pt x="909" y="541"/>
                  </a:lnTo>
                  <a:lnTo>
                    <a:pt x="926" y="535"/>
                  </a:lnTo>
                  <a:lnTo>
                    <a:pt x="952" y="544"/>
                  </a:lnTo>
                  <a:lnTo>
                    <a:pt x="956" y="556"/>
                  </a:lnTo>
                  <a:lnTo>
                    <a:pt x="973" y="554"/>
                  </a:lnTo>
                  <a:lnTo>
                    <a:pt x="1006" y="534"/>
                  </a:lnTo>
                  <a:lnTo>
                    <a:pt x="1004" y="540"/>
                  </a:lnTo>
                  <a:lnTo>
                    <a:pt x="1034" y="558"/>
                  </a:lnTo>
                  <a:lnTo>
                    <a:pt x="1102" y="616"/>
                  </a:lnTo>
                  <a:lnTo>
                    <a:pt x="1106" y="604"/>
                  </a:lnTo>
                  <a:lnTo>
                    <a:pt x="1137" y="617"/>
                  </a:lnTo>
                  <a:lnTo>
                    <a:pt x="1160" y="611"/>
                  </a:lnTo>
                  <a:lnTo>
                    <a:pt x="1173" y="615"/>
                  </a:lnTo>
                  <a:lnTo>
                    <a:pt x="1187" y="629"/>
                  </a:lnTo>
                  <a:lnTo>
                    <a:pt x="1202" y="633"/>
                  </a:lnTo>
                  <a:lnTo>
                    <a:pt x="1215" y="643"/>
                  </a:lnTo>
                  <a:lnTo>
                    <a:pt x="1237" y="639"/>
                  </a:lnTo>
                  <a:lnTo>
                    <a:pt x="1253" y="653"/>
                  </a:lnTo>
                  <a:lnTo>
                    <a:pt x="1259" y="651"/>
                  </a:lnTo>
                  <a:lnTo>
                    <a:pt x="1277" y="648"/>
                  </a:lnTo>
                  <a:lnTo>
                    <a:pt x="1301" y="628"/>
                  </a:lnTo>
                  <a:lnTo>
                    <a:pt x="1324" y="617"/>
                  </a:lnTo>
                  <a:lnTo>
                    <a:pt x="1343" y="624"/>
                  </a:lnTo>
                  <a:lnTo>
                    <a:pt x="1363" y="624"/>
                  </a:lnTo>
                  <a:lnTo>
                    <a:pt x="1380" y="635"/>
                  </a:lnTo>
                  <a:lnTo>
                    <a:pt x="1398" y="636"/>
                  </a:lnTo>
                  <a:lnTo>
                    <a:pt x="1428" y="642"/>
                  </a:lnTo>
                  <a:lnTo>
                    <a:pt x="1438" y="626"/>
                  </a:lnTo>
                  <a:lnTo>
                    <a:pt x="1423" y="612"/>
                  </a:lnTo>
                  <a:lnTo>
                    <a:pt x="1427" y="589"/>
                  </a:lnTo>
                  <a:lnTo>
                    <a:pt x="1453" y="598"/>
                  </a:lnTo>
                  <a:lnTo>
                    <a:pt x="1471" y="601"/>
                  </a:lnTo>
                  <a:lnTo>
                    <a:pt x="1496" y="606"/>
                  </a:lnTo>
                  <a:lnTo>
                    <a:pt x="1510" y="623"/>
                  </a:lnTo>
                  <a:lnTo>
                    <a:pt x="1540" y="634"/>
                  </a:lnTo>
                  <a:lnTo>
                    <a:pt x="1555" y="629"/>
                  </a:lnTo>
                  <a:lnTo>
                    <a:pt x="1577" y="626"/>
                  </a:lnTo>
                  <a:lnTo>
                    <a:pt x="1596" y="629"/>
                  </a:lnTo>
                  <a:lnTo>
                    <a:pt x="1621" y="640"/>
                  </a:lnTo>
                  <a:lnTo>
                    <a:pt x="1639" y="652"/>
                  </a:lnTo>
                  <a:lnTo>
                    <a:pt x="1656" y="652"/>
                  </a:lnTo>
                  <a:lnTo>
                    <a:pt x="1681" y="656"/>
                  </a:lnTo>
                  <a:lnTo>
                    <a:pt x="1694" y="649"/>
                  </a:lnTo>
                  <a:lnTo>
                    <a:pt x="1716" y="646"/>
                  </a:lnTo>
                  <a:lnTo>
                    <a:pt x="1733" y="630"/>
                  </a:lnTo>
                  <a:lnTo>
                    <a:pt x="1746" y="633"/>
                  </a:lnTo>
                  <a:lnTo>
                    <a:pt x="1760" y="640"/>
                  </a:lnTo>
                  <a:lnTo>
                    <a:pt x="1780" y="638"/>
                  </a:lnTo>
                  <a:lnTo>
                    <a:pt x="1807" y="647"/>
                  </a:lnTo>
                  <a:lnTo>
                    <a:pt x="1824" y="633"/>
                  </a:lnTo>
                  <a:lnTo>
                    <a:pt x="1817" y="622"/>
                  </a:lnTo>
                  <a:lnTo>
                    <a:pt x="1817" y="598"/>
                  </a:lnTo>
                  <a:lnTo>
                    <a:pt x="1821" y="591"/>
                  </a:lnTo>
                  <a:lnTo>
                    <a:pt x="1812" y="578"/>
                  </a:lnTo>
                  <a:lnTo>
                    <a:pt x="1798" y="573"/>
                  </a:lnTo>
                  <a:lnTo>
                    <a:pt x="1805" y="562"/>
                  </a:lnTo>
                  <a:lnTo>
                    <a:pt x="1823" y="557"/>
                  </a:lnTo>
                  <a:lnTo>
                    <a:pt x="1847" y="556"/>
                  </a:lnTo>
                  <a:lnTo>
                    <a:pt x="1878" y="564"/>
                  </a:lnTo>
                  <a:lnTo>
                    <a:pt x="1901" y="572"/>
                  </a:lnTo>
                  <a:lnTo>
                    <a:pt x="1929" y="594"/>
                  </a:lnTo>
                  <a:lnTo>
                    <a:pt x="1944" y="605"/>
                  </a:lnTo>
                  <a:lnTo>
                    <a:pt x="1960" y="619"/>
                  </a:lnTo>
                  <a:lnTo>
                    <a:pt x="1983" y="641"/>
                  </a:lnTo>
                  <a:lnTo>
                    <a:pt x="2019" y="648"/>
                  </a:lnTo>
                  <a:lnTo>
                    <a:pt x="2053" y="665"/>
                  </a:lnTo>
                  <a:lnTo>
                    <a:pt x="2075" y="687"/>
                  </a:lnTo>
                  <a:lnTo>
                    <a:pt x="2103" y="687"/>
                  </a:lnTo>
                  <a:lnTo>
                    <a:pt x="2113" y="677"/>
                  </a:lnTo>
                  <a:lnTo>
                    <a:pt x="2139" y="671"/>
                  </a:lnTo>
                  <a:lnTo>
                    <a:pt x="2144" y="691"/>
                  </a:lnTo>
                  <a:lnTo>
                    <a:pt x="2142" y="700"/>
                  </a:lnTo>
                  <a:lnTo>
                    <a:pt x="2153" y="726"/>
                  </a:lnTo>
                  <a:lnTo>
                    <a:pt x="2155" y="748"/>
                  </a:lnTo>
                  <a:lnTo>
                    <a:pt x="2130" y="744"/>
                  </a:lnTo>
                  <a:lnTo>
                    <a:pt x="2118" y="752"/>
                  </a:lnTo>
                  <a:lnTo>
                    <a:pt x="2136" y="772"/>
                  </a:lnTo>
                  <a:lnTo>
                    <a:pt x="2150" y="799"/>
                  </a:lnTo>
                  <a:lnTo>
                    <a:pt x="2141" y="800"/>
                  </a:lnTo>
                  <a:lnTo>
                    <a:pt x="2148" y="811"/>
                  </a:lnTo>
                  <a:lnTo>
                    <a:pt x="2148" y="811"/>
                  </a:lnTo>
                  <a:lnTo>
                    <a:pt x="2153" y="816"/>
                  </a:lnTo>
                  <a:lnTo>
                    <a:pt x="2153" y="816"/>
                  </a:lnTo>
                  <a:lnTo>
                    <a:pt x="2153" y="816"/>
                  </a:lnTo>
                  <a:lnTo>
                    <a:pt x="2153" y="816"/>
                  </a:lnTo>
                  <a:lnTo>
                    <a:pt x="2152" y="808"/>
                  </a:lnTo>
                  <a:lnTo>
                    <a:pt x="2167" y="791"/>
                  </a:lnTo>
                  <a:lnTo>
                    <a:pt x="2186" y="803"/>
                  </a:lnTo>
                  <a:lnTo>
                    <a:pt x="2198" y="802"/>
                  </a:lnTo>
                  <a:lnTo>
                    <a:pt x="2214" y="789"/>
                  </a:lnTo>
                  <a:lnTo>
                    <a:pt x="2218" y="775"/>
                  </a:lnTo>
                  <a:lnTo>
                    <a:pt x="2226" y="748"/>
                  </a:lnTo>
                  <a:lnTo>
                    <a:pt x="2233" y="721"/>
                  </a:lnTo>
                  <a:lnTo>
                    <a:pt x="2228" y="705"/>
                  </a:lnTo>
                  <a:lnTo>
                    <a:pt x="2231" y="672"/>
                  </a:lnTo>
                  <a:lnTo>
                    <a:pt x="2213" y="634"/>
                  </a:lnTo>
                  <a:lnTo>
                    <a:pt x="2192" y="607"/>
                  </a:lnTo>
                  <a:lnTo>
                    <a:pt x="2186" y="584"/>
                  </a:lnTo>
                  <a:lnTo>
                    <a:pt x="2170" y="565"/>
                  </a:lnTo>
                  <a:lnTo>
                    <a:pt x="2122" y="540"/>
                  </a:lnTo>
                  <a:lnTo>
                    <a:pt x="2101" y="538"/>
                  </a:lnTo>
                  <a:lnTo>
                    <a:pt x="2100" y="549"/>
                  </a:lnTo>
                  <a:lnTo>
                    <a:pt x="2078" y="545"/>
                  </a:lnTo>
                  <a:lnTo>
                    <a:pt x="2057" y="531"/>
                  </a:lnTo>
                  <a:lnTo>
                    <a:pt x="2027" y="528"/>
                  </a:lnTo>
                  <a:lnTo>
                    <a:pt x="2045" y="476"/>
                  </a:lnTo>
                  <a:lnTo>
                    <a:pt x="2059" y="433"/>
                  </a:lnTo>
                  <a:lnTo>
                    <a:pt x="2107" y="425"/>
                  </a:lnTo>
                  <a:lnTo>
                    <a:pt x="2163" y="429"/>
                  </a:lnTo>
                  <a:lnTo>
                    <a:pt x="2172" y="419"/>
                  </a:lnTo>
                  <a:lnTo>
                    <a:pt x="2201" y="422"/>
                  </a:lnTo>
                  <a:lnTo>
                    <a:pt x="2218" y="438"/>
                  </a:lnTo>
                  <a:lnTo>
                    <a:pt x="2242" y="436"/>
                  </a:lnTo>
                  <a:lnTo>
                    <a:pt x="2273" y="430"/>
                  </a:lnTo>
                  <a:lnTo>
                    <a:pt x="2244" y="417"/>
                  </a:lnTo>
                  <a:lnTo>
                    <a:pt x="2244" y="380"/>
                  </a:lnTo>
                  <a:lnTo>
                    <a:pt x="2278" y="373"/>
                  </a:lnTo>
                  <a:lnTo>
                    <a:pt x="2324" y="399"/>
                  </a:lnTo>
                  <a:lnTo>
                    <a:pt x="2337" y="376"/>
                  </a:lnTo>
                  <a:lnTo>
                    <a:pt x="2325" y="358"/>
                  </a:lnTo>
                  <a:lnTo>
                    <a:pt x="2342" y="356"/>
                  </a:lnTo>
                  <a:lnTo>
                    <a:pt x="2367" y="386"/>
                  </a:lnTo>
                  <a:lnTo>
                    <a:pt x="2358" y="404"/>
                  </a:lnTo>
                  <a:lnTo>
                    <a:pt x="2355" y="426"/>
                  </a:lnTo>
                  <a:lnTo>
                    <a:pt x="2356" y="454"/>
                  </a:lnTo>
                  <a:lnTo>
                    <a:pt x="2335" y="459"/>
                  </a:lnTo>
                  <a:lnTo>
                    <a:pt x="2345" y="469"/>
                  </a:lnTo>
                  <a:lnTo>
                    <a:pt x="2345" y="482"/>
                  </a:lnTo>
                  <a:lnTo>
                    <a:pt x="2369" y="513"/>
                  </a:lnTo>
                  <a:lnTo>
                    <a:pt x="2428" y="564"/>
                  </a:lnTo>
                  <a:lnTo>
                    <a:pt x="2467" y="596"/>
                  </a:lnTo>
                  <a:lnTo>
                    <a:pt x="2489" y="612"/>
                  </a:lnTo>
                  <a:lnTo>
                    <a:pt x="2495" y="592"/>
                  </a:lnTo>
                  <a:lnTo>
                    <a:pt x="2478" y="568"/>
                  </a:lnTo>
                  <a:lnTo>
                    <a:pt x="2499" y="563"/>
                  </a:lnTo>
                  <a:lnTo>
                    <a:pt x="2480" y="536"/>
                  </a:lnTo>
                  <a:lnTo>
                    <a:pt x="2498" y="525"/>
                  </a:lnTo>
                  <a:lnTo>
                    <a:pt x="2481" y="515"/>
                  </a:lnTo>
                  <a:lnTo>
                    <a:pt x="2467" y="496"/>
                  </a:lnTo>
                  <a:lnTo>
                    <a:pt x="2483" y="496"/>
                  </a:lnTo>
                  <a:lnTo>
                    <a:pt x="2450" y="464"/>
                  </a:lnTo>
                  <a:lnTo>
                    <a:pt x="2425" y="459"/>
                  </a:lnTo>
                  <a:lnTo>
                    <a:pt x="2413" y="450"/>
                  </a:lnTo>
                  <a:lnTo>
                    <a:pt x="2410" y="429"/>
                  </a:lnTo>
                  <a:lnTo>
                    <a:pt x="2397" y="414"/>
                  </a:lnTo>
                  <a:lnTo>
                    <a:pt x="2424" y="417"/>
                  </a:lnTo>
                  <a:lnTo>
                    <a:pt x="2429" y="408"/>
                  </a:lnTo>
                  <a:lnTo>
                    <a:pt x="2446" y="416"/>
                  </a:lnTo>
                  <a:lnTo>
                    <a:pt x="2469" y="399"/>
                  </a:lnTo>
                  <a:lnTo>
                    <a:pt x="2511" y="414"/>
                  </a:lnTo>
                  <a:lnTo>
                    <a:pt x="2506" y="404"/>
                  </a:lnTo>
                  <a:lnTo>
                    <a:pt x="2513" y="391"/>
                  </a:lnTo>
                  <a:lnTo>
                    <a:pt x="2519" y="376"/>
                  </a:lnTo>
                  <a:lnTo>
                    <a:pt x="2530" y="373"/>
                  </a:lnTo>
                  <a:lnTo>
                    <a:pt x="2554" y="357"/>
                  </a:lnTo>
                  <a:lnTo>
                    <a:pt x="2591" y="362"/>
                  </a:lnTo>
                  <a:lnTo>
                    <a:pt x="2588" y="356"/>
                  </a:lnTo>
                  <a:lnTo>
                    <a:pt x="2573" y="347"/>
                  </a:lnTo>
                  <a:lnTo>
                    <a:pt x="2558" y="341"/>
                  </a:lnTo>
                  <a:lnTo>
                    <a:pt x="2524" y="324"/>
                  </a:lnTo>
                  <a:lnTo>
                    <a:pt x="2494" y="313"/>
                  </a:lnTo>
                  <a:lnTo>
                    <a:pt x="2517" y="314"/>
                  </a:lnTo>
                  <a:lnTo>
                    <a:pt x="2524" y="305"/>
                  </a:lnTo>
                  <a:lnTo>
                    <a:pt x="2524" y="305"/>
                  </a:lnTo>
                  <a:lnTo>
                    <a:pt x="2401" y="224"/>
                  </a:lnTo>
                  <a:lnTo>
                    <a:pt x="2366" y="214"/>
                  </a:lnTo>
                  <a:lnTo>
                    <a:pt x="2308" y="205"/>
                  </a:lnTo>
                  <a:lnTo>
                    <a:pt x="2278" y="206"/>
                  </a:lnTo>
                  <a:lnTo>
                    <a:pt x="2221" y="201"/>
                  </a:lnTo>
                  <a:lnTo>
                    <a:pt x="2228" y="210"/>
                  </a:lnTo>
                  <a:lnTo>
                    <a:pt x="2259" y="222"/>
                  </a:lnTo>
                  <a:lnTo>
                    <a:pt x="2250" y="229"/>
                  </a:lnTo>
                  <a:lnTo>
                    <a:pt x="2198" y="211"/>
                  </a:lnTo>
                  <a:lnTo>
                    <a:pt x="2172" y="213"/>
                  </a:lnTo>
                  <a:lnTo>
                    <a:pt x="2138" y="209"/>
                  </a:lnTo>
                  <a:lnTo>
                    <a:pt x="2112" y="210"/>
                  </a:lnTo>
                  <a:lnTo>
                    <a:pt x="2097" y="214"/>
                  </a:lnTo>
                  <a:lnTo>
                    <a:pt x="2070" y="208"/>
                  </a:lnTo>
                  <a:lnTo>
                    <a:pt x="2051" y="194"/>
                  </a:lnTo>
                  <a:lnTo>
                    <a:pt x="2027" y="185"/>
                  </a:lnTo>
                  <a:lnTo>
                    <a:pt x="1992" y="183"/>
                  </a:lnTo>
                  <a:lnTo>
                    <a:pt x="1937" y="186"/>
                  </a:lnTo>
                  <a:lnTo>
                    <a:pt x="1877" y="171"/>
                  </a:lnTo>
                  <a:lnTo>
                    <a:pt x="1848" y="160"/>
                  </a:lnTo>
                  <a:lnTo>
                    <a:pt x="1698" y="147"/>
                  </a:lnTo>
                  <a:lnTo>
                    <a:pt x="1691" y="155"/>
                  </a:lnTo>
                  <a:lnTo>
                    <a:pt x="1725" y="173"/>
                  </a:lnTo>
                  <a:lnTo>
                    <a:pt x="1697" y="170"/>
                  </a:lnTo>
                  <a:lnTo>
                    <a:pt x="1693" y="176"/>
                  </a:lnTo>
                  <a:lnTo>
                    <a:pt x="1657" y="170"/>
                  </a:lnTo>
                  <a:lnTo>
                    <a:pt x="1638" y="175"/>
                  </a:lnTo>
                  <a:lnTo>
                    <a:pt x="1604" y="167"/>
                  </a:lnTo>
                  <a:lnTo>
                    <a:pt x="1615" y="187"/>
                  </a:lnTo>
                  <a:lnTo>
                    <a:pt x="1581" y="179"/>
                  </a:lnTo>
                  <a:lnTo>
                    <a:pt x="1544" y="164"/>
                  </a:lnTo>
                  <a:lnTo>
                    <a:pt x="1543" y="155"/>
                  </a:lnTo>
                  <a:lnTo>
                    <a:pt x="1521" y="143"/>
                  </a:lnTo>
                  <a:lnTo>
                    <a:pt x="1484" y="134"/>
                  </a:lnTo>
                  <a:lnTo>
                    <a:pt x="1461" y="134"/>
                  </a:lnTo>
                  <a:lnTo>
                    <a:pt x="1426" y="130"/>
                  </a:lnTo>
                  <a:lnTo>
                    <a:pt x="1444" y="145"/>
                  </a:lnTo>
                  <a:lnTo>
                    <a:pt x="1380" y="141"/>
                  </a:lnTo>
                  <a:lnTo>
                    <a:pt x="1365" y="133"/>
                  </a:lnTo>
                  <a:lnTo>
                    <a:pt x="1315" y="130"/>
                  </a:lnTo>
                  <a:lnTo>
                    <a:pt x="1296" y="133"/>
                  </a:lnTo>
                  <a:lnTo>
                    <a:pt x="1296" y="138"/>
                  </a:lnTo>
                  <a:lnTo>
                    <a:pt x="1273" y="126"/>
                  </a:lnTo>
                  <a:lnTo>
                    <a:pt x="1265" y="129"/>
                  </a:lnTo>
                  <a:lnTo>
                    <a:pt x="1238" y="125"/>
                  </a:lnTo>
                  <a:lnTo>
                    <a:pt x="1217" y="122"/>
                  </a:lnTo>
                  <a:lnTo>
                    <a:pt x="1221" y="116"/>
                  </a:lnTo>
                  <a:lnTo>
                    <a:pt x="1246" y="106"/>
                  </a:lnTo>
                  <a:lnTo>
                    <a:pt x="1255" y="100"/>
                  </a:lnTo>
                  <a:lnTo>
                    <a:pt x="1245" y="91"/>
                  </a:lnTo>
                  <a:lnTo>
                    <a:pt x="1225" y="84"/>
                  </a:lnTo>
                  <a:lnTo>
                    <a:pt x="1182" y="75"/>
                  </a:lnTo>
                  <a:lnTo>
                    <a:pt x="1142" y="75"/>
                  </a:lnTo>
                  <a:lnTo>
                    <a:pt x="1135" y="80"/>
                  </a:lnTo>
                  <a:lnTo>
                    <a:pt x="1119" y="71"/>
                  </a:lnTo>
                  <a:lnTo>
                    <a:pt x="1119" y="71"/>
                  </a:lnTo>
                  <a:close/>
                  <a:moveTo>
                    <a:pt x="513" y="188"/>
                  </a:moveTo>
                  <a:lnTo>
                    <a:pt x="477" y="172"/>
                  </a:lnTo>
                  <a:lnTo>
                    <a:pt x="465" y="156"/>
                  </a:lnTo>
                  <a:lnTo>
                    <a:pt x="478" y="138"/>
                  </a:lnTo>
                  <a:lnTo>
                    <a:pt x="488" y="119"/>
                  </a:lnTo>
                  <a:lnTo>
                    <a:pt x="520" y="102"/>
                  </a:lnTo>
                  <a:lnTo>
                    <a:pt x="556" y="93"/>
                  </a:lnTo>
                  <a:lnTo>
                    <a:pt x="599" y="84"/>
                  </a:lnTo>
                  <a:lnTo>
                    <a:pt x="604" y="78"/>
                  </a:lnTo>
                  <a:lnTo>
                    <a:pt x="588" y="71"/>
                  </a:lnTo>
                  <a:lnTo>
                    <a:pt x="564" y="73"/>
                  </a:lnTo>
                  <a:lnTo>
                    <a:pt x="545" y="80"/>
                  </a:lnTo>
                  <a:lnTo>
                    <a:pt x="501" y="84"/>
                  </a:lnTo>
                  <a:lnTo>
                    <a:pt x="464" y="95"/>
                  </a:lnTo>
                  <a:lnTo>
                    <a:pt x="439" y="105"/>
                  </a:lnTo>
                  <a:lnTo>
                    <a:pt x="448" y="113"/>
                  </a:lnTo>
                  <a:lnTo>
                    <a:pt x="423" y="130"/>
                  </a:lnTo>
                  <a:lnTo>
                    <a:pt x="438" y="132"/>
                  </a:lnTo>
                  <a:lnTo>
                    <a:pt x="417" y="149"/>
                  </a:lnTo>
                  <a:lnTo>
                    <a:pt x="424" y="159"/>
                  </a:lnTo>
                  <a:lnTo>
                    <a:pt x="411" y="163"/>
                  </a:lnTo>
                  <a:lnTo>
                    <a:pt x="418" y="173"/>
                  </a:lnTo>
                  <a:lnTo>
                    <a:pt x="447" y="179"/>
                  </a:lnTo>
                  <a:lnTo>
                    <a:pt x="455" y="187"/>
                  </a:lnTo>
                  <a:lnTo>
                    <a:pt x="506" y="190"/>
                  </a:lnTo>
                  <a:lnTo>
                    <a:pt x="513" y="188"/>
                  </a:lnTo>
                  <a:lnTo>
                    <a:pt x="513" y="188"/>
                  </a:lnTo>
                  <a:close/>
                  <a:moveTo>
                    <a:pt x="1686" y="97"/>
                  </a:moveTo>
                  <a:lnTo>
                    <a:pt x="1620" y="86"/>
                  </a:lnTo>
                  <a:lnTo>
                    <a:pt x="1581" y="85"/>
                  </a:lnTo>
                  <a:lnTo>
                    <a:pt x="1568" y="89"/>
                  </a:lnTo>
                  <a:lnTo>
                    <a:pt x="1581" y="102"/>
                  </a:lnTo>
                  <a:lnTo>
                    <a:pt x="1628" y="113"/>
                  </a:lnTo>
                  <a:lnTo>
                    <a:pt x="1645" y="110"/>
                  </a:lnTo>
                  <a:lnTo>
                    <a:pt x="1697" y="110"/>
                  </a:lnTo>
                  <a:lnTo>
                    <a:pt x="1686" y="97"/>
                  </a:lnTo>
                  <a:close/>
                  <a:moveTo>
                    <a:pt x="1780" y="105"/>
                  </a:moveTo>
                  <a:lnTo>
                    <a:pt x="1736" y="100"/>
                  </a:lnTo>
                  <a:lnTo>
                    <a:pt x="1707" y="98"/>
                  </a:lnTo>
                  <a:lnTo>
                    <a:pt x="1712" y="103"/>
                  </a:lnTo>
                  <a:lnTo>
                    <a:pt x="1751" y="111"/>
                  </a:lnTo>
                  <a:lnTo>
                    <a:pt x="1777" y="113"/>
                  </a:lnTo>
                  <a:lnTo>
                    <a:pt x="1780" y="105"/>
                  </a:lnTo>
                  <a:lnTo>
                    <a:pt x="1780" y="105"/>
                  </a:lnTo>
                  <a:close/>
                  <a:moveTo>
                    <a:pt x="1734" y="141"/>
                  </a:moveTo>
                  <a:lnTo>
                    <a:pt x="1724" y="135"/>
                  </a:lnTo>
                  <a:lnTo>
                    <a:pt x="1693" y="128"/>
                  </a:lnTo>
                  <a:lnTo>
                    <a:pt x="1679" y="130"/>
                  </a:lnTo>
                  <a:lnTo>
                    <a:pt x="1675" y="138"/>
                  </a:lnTo>
                  <a:lnTo>
                    <a:pt x="1679" y="138"/>
                  </a:lnTo>
                  <a:lnTo>
                    <a:pt x="1712" y="141"/>
                  </a:lnTo>
                  <a:lnTo>
                    <a:pt x="1734" y="141"/>
                  </a:lnTo>
                  <a:close/>
                  <a:moveTo>
                    <a:pt x="2341" y="186"/>
                  </a:moveTo>
                  <a:lnTo>
                    <a:pt x="2319" y="173"/>
                  </a:lnTo>
                  <a:lnTo>
                    <a:pt x="2313" y="181"/>
                  </a:lnTo>
                  <a:lnTo>
                    <a:pt x="2327" y="187"/>
                  </a:lnTo>
                  <a:lnTo>
                    <a:pt x="2341" y="186"/>
                  </a:lnTo>
                  <a:close/>
                  <a:moveTo>
                    <a:pt x="54" y="537"/>
                  </a:moveTo>
                  <a:lnTo>
                    <a:pt x="52" y="532"/>
                  </a:lnTo>
                  <a:lnTo>
                    <a:pt x="52" y="525"/>
                  </a:lnTo>
                  <a:lnTo>
                    <a:pt x="45" y="521"/>
                  </a:lnTo>
                  <a:lnTo>
                    <a:pt x="26" y="518"/>
                  </a:lnTo>
                  <a:lnTo>
                    <a:pt x="2" y="525"/>
                  </a:lnTo>
                  <a:lnTo>
                    <a:pt x="0" y="535"/>
                  </a:lnTo>
                  <a:lnTo>
                    <a:pt x="21" y="537"/>
                  </a:lnTo>
                  <a:lnTo>
                    <a:pt x="54" y="537"/>
                  </a:lnTo>
                  <a:close/>
                  <a:moveTo>
                    <a:pt x="2256" y="619"/>
                  </a:moveTo>
                  <a:lnTo>
                    <a:pt x="2229" y="595"/>
                  </a:lnTo>
                  <a:lnTo>
                    <a:pt x="2211" y="573"/>
                  </a:lnTo>
                  <a:lnTo>
                    <a:pt x="2185" y="551"/>
                  </a:lnTo>
                  <a:lnTo>
                    <a:pt x="2167" y="536"/>
                  </a:lnTo>
                  <a:lnTo>
                    <a:pt x="2162" y="539"/>
                  </a:lnTo>
                  <a:lnTo>
                    <a:pt x="2178" y="549"/>
                  </a:lnTo>
                  <a:lnTo>
                    <a:pt x="2172" y="560"/>
                  </a:lnTo>
                  <a:lnTo>
                    <a:pt x="2197" y="592"/>
                  </a:lnTo>
                  <a:lnTo>
                    <a:pt x="2226" y="614"/>
                  </a:lnTo>
                  <a:lnTo>
                    <a:pt x="2250" y="645"/>
                  </a:lnTo>
                  <a:lnTo>
                    <a:pt x="2258" y="662"/>
                  </a:lnTo>
                  <a:lnTo>
                    <a:pt x="2279" y="687"/>
                  </a:lnTo>
                  <a:lnTo>
                    <a:pt x="2293" y="709"/>
                  </a:lnTo>
                  <a:lnTo>
                    <a:pt x="2311" y="729"/>
                  </a:lnTo>
                  <a:lnTo>
                    <a:pt x="2310" y="711"/>
                  </a:lnTo>
                  <a:lnTo>
                    <a:pt x="2334" y="725"/>
                  </a:lnTo>
                  <a:lnTo>
                    <a:pt x="2323" y="709"/>
                  </a:lnTo>
                  <a:lnTo>
                    <a:pt x="2287" y="685"/>
                  </a:lnTo>
                  <a:lnTo>
                    <a:pt x="2274" y="651"/>
                  </a:lnTo>
                  <a:lnTo>
                    <a:pt x="2307" y="659"/>
                  </a:lnTo>
                  <a:lnTo>
                    <a:pt x="2256" y="619"/>
                  </a:lnTo>
                  <a:lnTo>
                    <a:pt x="2256" y="619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0" name="Rwanda">
              <a:extLst>
                <a:ext uri="{FF2B5EF4-FFF2-40B4-BE49-F238E27FC236}">
                  <a16:creationId xmlns:a16="http://schemas.microsoft.com/office/drawing/2014/main" id="{EB11DF20-FA92-430F-922B-75C13DF74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1981" y="4105049"/>
              <a:ext cx="60325" cy="66675"/>
            </a:xfrm>
            <a:custGeom>
              <a:avLst/>
              <a:gdLst>
                <a:gd name="T0" fmla="*/ 29 w 38"/>
                <a:gd name="T1" fmla="*/ 0 h 42"/>
                <a:gd name="T2" fmla="*/ 17 w 38"/>
                <a:gd name="T3" fmla="*/ 7 h 42"/>
                <a:gd name="T4" fmla="*/ 12 w 38"/>
                <a:gd name="T5" fmla="*/ 5 h 42"/>
                <a:gd name="T6" fmla="*/ 6 w 38"/>
                <a:gd name="T7" fmla="*/ 12 h 42"/>
                <a:gd name="T8" fmla="*/ 5 w 38"/>
                <a:gd name="T9" fmla="*/ 26 h 42"/>
                <a:gd name="T10" fmla="*/ 2 w 38"/>
                <a:gd name="T11" fmla="*/ 27 h 42"/>
                <a:gd name="T12" fmla="*/ 0 w 38"/>
                <a:gd name="T13" fmla="*/ 41 h 42"/>
                <a:gd name="T14" fmla="*/ 13 w 38"/>
                <a:gd name="T15" fmla="*/ 42 h 42"/>
                <a:gd name="T16" fmla="*/ 20 w 38"/>
                <a:gd name="T17" fmla="*/ 28 h 42"/>
                <a:gd name="T18" fmla="*/ 31 w 38"/>
                <a:gd name="T19" fmla="*/ 30 h 42"/>
                <a:gd name="T20" fmla="*/ 31 w 38"/>
                <a:gd name="T21" fmla="*/ 30 h 42"/>
                <a:gd name="T22" fmla="*/ 37 w 38"/>
                <a:gd name="T23" fmla="*/ 27 h 42"/>
                <a:gd name="T24" fmla="*/ 38 w 38"/>
                <a:gd name="T25" fmla="*/ 13 h 42"/>
                <a:gd name="T26" fmla="*/ 29 w 38"/>
                <a:gd name="T27" fmla="*/ 0 h 42"/>
                <a:gd name="T28" fmla="*/ 29 w 38"/>
                <a:gd name="T29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" h="42">
                  <a:moveTo>
                    <a:pt x="29" y="0"/>
                  </a:moveTo>
                  <a:lnTo>
                    <a:pt x="17" y="7"/>
                  </a:lnTo>
                  <a:lnTo>
                    <a:pt x="12" y="5"/>
                  </a:lnTo>
                  <a:lnTo>
                    <a:pt x="6" y="12"/>
                  </a:lnTo>
                  <a:lnTo>
                    <a:pt x="5" y="26"/>
                  </a:lnTo>
                  <a:lnTo>
                    <a:pt x="2" y="27"/>
                  </a:lnTo>
                  <a:lnTo>
                    <a:pt x="0" y="41"/>
                  </a:lnTo>
                  <a:lnTo>
                    <a:pt x="13" y="42"/>
                  </a:lnTo>
                  <a:lnTo>
                    <a:pt x="20" y="28"/>
                  </a:lnTo>
                  <a:lnTo>
                    <a:pt x="31" y="30"/>
                  </a:lnTo>
                  <a:lnTo>
                    <a:pt x="31" y="30"/>
                  </a:lnTo>
                  <a:lnTo>
                    <a:pt x="37" y="27"/>
                  </a:lnTo>
                  <a:lnTo>
                    <a:pt x="38" y="13"/>
                  </a:lnTo>
                  <a:lnTo>
                    <a:pt x="29" y="0"/>
                  </a:lnTo>
                  <a:lnTo>
                    <a:pt x="29" y="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1" name="Western Sahara">
              <a:extLst>
                <a:ext uri="{FF2B5EF4-FFF2-40B4-BE49-F238E27FC236}">
                  <a16:creationId xmlns:a16="http://schemas.microsoft.com/office/drawing/2014/main" id="{B4E3FB5E-15E5-4283-906E-E72F6B113AD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7981" y="3019198"/>
              <a:ext cx="277812" cy="250825"/>
            </a:xfrm>
            <a:custGeom>
              <a:avLst/>
              <a:gdLst>
                <a:gd name="T0" fmla="*/ 175 w 175"/>
                <a:gd name="T1" fmla="*/ 0 h 158"/>
                <a:gd name="T2" fmla="*/ 172 w 175"/>
                <a:gd name="T3" fmla="*/ 0 h 158"/>
                <a:gd name="T4" fmla="*/ 172 w 175"/>
                <a:gd name="T5" fmla="*/ 0 h 158"/>
                <a:gd name="T6" fmla="*/ 173 w 175"/>
                <a:gd name="T7" fmla="*/ 12 h 158"/>
                <a:gd name="T8" fmla="*/ 160 w 175"/>
                <a:gd name="T9" fmla="*/ 13 h 158"/>
                <a:gd name="T10" fmla="*/ 154 w 175"/>
                <a:gd name="T11" fmla="*/ 19 h 158"/>
                <a:gd name="T12" fmla="*/ 144 w 175"/>
                <a:gd name="T13" fmla="*/ 19 h 158"/>
                <a:gd name="T14" fmla="*/ 137 w 175"/>
                <a:gd name="T15" fmla="*/ 16 h 158"/>
                <a:gd name="T16" fmla="*/ 120 w 175"/>
                <a:gd name="T17" fmla="*/ 18 h 158"/>
                <a:gd name="T18" fmla="*/ 112 w 175"/>
                <a:gd name="T19" fmla="*/ 36 h 158"/>
                <a:gd name="T20" fmla="*/ 106 w 175"/>
                <a:gd name="T21" fmla="*/ 38 h 158"/>
                <a:gd name="T22" fmla="*/ 96 w 175"/>
                <a:gd name="T23" fmla="*/ 68 h 158"/>
                <a:gd name="T24" fmla="*/ 67 w 175"/>
                <a:gd name="T25" fmla="*/ 94 h 158"/>
                <a:gd name="T26" fmla="*/ 59 w 175"/>
                <a:gd name="T27" fmla="*/ 127 h 158"/>
                <a:gd name="T28" fmla="*/ 51 w 175"/>
                <a:gd name="T29" fmla="*/ 137 h 158"/>
                <a:gd name="T30" fmla="*/ 48 w 175"/>
                <a:gd name="T31" fmla="*/ 147 h 158"/>
                <a:gd name="T32" fmla="*/ 1 w 175"/>
                <a:gd name="T33" fmla="*/ 148 h 158"/>
                <a:gd name="T34" fmla="*/ 1 w 175"/>
                <a:gd name="T35" fmla="*/ 148 h 158"/>
                <a:gd name="T36" fmla="*/ 0 w 175"/>
                <a:gd name="T37" fmla="*/ 158 h 158"/>
                <a:gd name="T38" fmla="*/ 5 w 175"/>
                <a:gd name="T39" fmla="*/ 150 h 158"/>
                <a:gd name="T40" fmla="*/ 85 w 175"/>
                <a:gd name="T41" fmla="*/ 150 h 158"/>
                <a:gd name="T42" fmla="*/ 82 w 175"/>
                <a:gd name="T43" fmla="*/ 116 h 158"/>
                <a:gd name="T44" fmla="*/ 87 w 175"/>
                <a:gd name="T45" fmla="*/ 104 h 158"/>
                <a:gd name="T46" fmla="*/ 107 w 175"/>
                <a:gd name="T47" fmla="*/ 102 h 158"/>
                <a:gd name="T48" fmla="*/ 108 w 175"/>
                <a:gd name="T49" fmla="*/ 41 h 158"/>
                <a:gd name="T50" fmla="*/ 174 w 175"/>
                <a:gd name="T51" fmla="*/ 42 h 158"/>
                <a:gd name="T52" fmla="*/ 175 w 175"/>
                <a:gd name="T53" fmla="*/ 6 h 158"/>
                <a:gd name="T54" fmla="*/ 175 w 175"/>
                <a:gd name="T55" fmla="*/ 1 h 158"/>
                <a:gd name="T56" fmla="*/ 175 w 175"/>
                <a:gd name="T57" fmla="*/ 0 h 158"/>
                <a:gd name="T58" fmla="*/ 175 w 175"/>
                <a:gd name="T59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75" h="158">
                  <a:moveTo>
                    <a:pt x="175" y="0"/>
                  </a:moveTo>
                  <a:lnTo>
                    <a:pt x="172" y="0"/>
                  </a:lnTo>
                  <a:lnTo>
                    <a:pt x="172" y="0"/>
                  </a:lnTo>
                  <a:lnTo>
                    <a:pt x="173" y="12"/>
                  </a:lnTo>
                  <a:lnTo>
                    <a:pt x="160" y="13"/>
                  </a:lnTo>
                  <a:lnTo>
                    <a:pt x="154" y="19"/>
                  </a:lnTo>
                  <a:lnTo>
                    <a:pt x="144" y="19"/>
                  </a:lnTo>
                  <a:lnTo>
                    <a:pt x="137" y="16"/>
                  </a:lnTo>
                  <a:lnTo>
                    <a:pt x="120" y="18"/>
                  </a:lnTo>
                  <a:lnTo>
                    <a:pt x="112" y="36"/>
                  </a:lnTo>
                  <a:lnTo>
                    <a:pt x="106" y="38"/>
                  </a:lnTo>
                  <a:lnTo>
                    <a:pt x="96" y="68"/>
                  </a:lnTo>
                  <a:lnTo>
                    <a:pt x="67" y="94"/>
                  </a:lnTo>
                  <a:lnTo>
                    <a:pt x="59" y="127"/>
                  </a:lnTo>
                  <a:lnTo>
                    <a:pt x="51" y="137"/>
                  </a:lnTo>
                  <a:lnTo>
                    <a:pt x="48" y="147"/>
                  </a:lnTo>
                  <a:lnTo>
                    <a:pt x="1" y="148"/>
                  </a:lnTo>
                  <a:lnTo>
                    <a:pt x="1" y="148"/>
                  </a:lnTo>
                  <a:lnTo>
                    <a:pt x="0" y="158"/>
                  </a:lnTo>
                  <a:lnTo>
                    <a:pt x="5" y="150"/>
                  </a:lnTo>
                  <a:lnTo>
                    <a:pt x="85" y="150"/>
                  </a:lnTo>
                  <a:lnTo>
                    <a:pt x="82" y="116"/>
                  </a:lnTo>
                  <a:lnTo>
                    <a:pt x="87" y="104"/>
                  </a:lnTo>
                  <a:lnTo>
                    <a:pt x="107" y="102"/>
                  </a:lnTo>
                  <a:lnTo>
                    <a:pt x="108" y="41"/>
                  </a:lnTo>
                  <a:lnTo>
                    <a:pt x="174" y="42"/>
                  </a:lnTo>
                  <a:lnTo>
                    <a:pt x="175" y="6"/>
                  </a:lnTo>
                  <a:lnTo>
                    <a:pt x="175" y="1"/>
                  </a:lnTo>
                  <a:lnTo>
                    <a:pt x="175" y="0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2" name="Saudi Arabia">
              <a:extLst>
                <a:ext uri="{FF2B5EF4-FFF2-40B4-BE49-F238E27FC236}">
                  <a16:creationId xmlns:a16="http://schemas.microsoft.com/office/drawing/2014/main" id="{F5EF2578-2E83-403D-9B30-7B89CAC476B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9619" y="2849337"/>
              <a:ext cx="701675" cy="596900"/>
            </a:xfrm>
            <a:custGeom>
              <a:avLst/>
              <a:gdLst>
                <a:gd name="T0" fmla="*/ 201 w 442"/>
                <a:gd name="T1" fmla="*/ 71 h 376"/>
                <a:gd name="T2" fmla="*/ 107 w 442"/>
                <a:gd name="T3" fmla="*/ 6 h 376"/>
                <a:gd name="T4" fmla="*/ 79 w 442"/>
                <a:gd name="T5" fmla="*/ 3 h 376"/>
                <a:gd name="T6" fmla="*/ 63 w 442"/>
                <a:gd name="T7" fmla="*/ 39 h 376"/>
                <a:gd name="T8" fmla="*/ 54 w 442"/>
                <a:gd name="T9" fmla="*/ 51 h 376"/>
                <a:gd name="T10" fmla="*/ 35 w 442"/>
                <a:gd name="T11" fmla="*/ 63 h 376"/>
                <a:gd name="T12" fmla="*/ 4 w 442"/>
                <a:gd name="T13" fmla="*/ 67 h 376"/>
                <a:gd name="T14" fmla="*/ 2 w 442"/>
                <a:gd name="T15" fmla="*/ 84 h 376"/>
                <a:gd name="T16" fmla="*/ 10 w 442"/>
                <a:gd name="T17" fmla="*/ 97 h 376"/>
                <a:gd name="T18" fmla="*/ 36 w 442"/>
                <a:gd name="T19" fmla="*/ 132 h 376"/>
                <a:gd name="T20" fmla="*/ 52 w 442"/>
                <a:gd name="T21" fmla="*/ 156 h 376"/>
                <a:gd name="T22" fmla="*/ 58 w 442"/>
                <a:gd name="T23" fmla="*/ 173 h 376"/>
                <a:gd name="T24" fmla="*/ 76 w 442"/>
                <a:gd name="T25" fmla="*/ 192 h 376"/>
                <a:gd name="T26" fmla="*/ 100 w 442"/>
                <a:gd name="T27" fmla="*/ 227 h 376"/>
                <a:gd name="T28" fmla="*/ 103 w 442"/>
                <a:gd name="T29" fmla="*/ 258 h 376"/>
                <a:gd name="T30" fmla="*/ 128 w 442"/>
                <a:gd name="T31" fmla="*/ 284 h 376"/>
                <a:gd name="T32" fmla="*/ 150 w 442"/>
                <a:gd name="T33" fmla="*/ 321 h 376"/>
                <a:gd name="T34" fmla="*/ 173 w 442"/>
                <a:gd name="T35" fmla="*/ 349 h 376"/>
                <a:gd name="T36" fmla="*/ 183 w 442"/>
                <a:gd name="T37" fmla="*/ 366 h 376"/>
                <a:gd name="T38" fmla="*/ 194 w 442"/>
                <a:gd name="T39" fmla="*/ 367 h 376"/>
                <a:gd name="T40" fmla="*/ 196 w 442"/>
                <a:gd name="T41" fmla="*/ 346 h 376"/>
                <a:gd name="T42" fmla="*/ 211 w 442"/>
                <a:gd name="T43" fmla="*/ 351 h 376"/>
                <a:gd name="T44" fmla="*/ 239 w 442"/>
                <a:gd name="T45" fmla="*/ 353 h 376"/>
                <a:gd name="T46" fmla="*/ 267 w 442"/>
                <a:gd name="T47" fmla="*/ 353 h 376"/>
                <a:gd name="T48" fmla="*/ 282 w 442"/>
                <a:gd name="T49" fmla="*/ 357 h 376"/>
                <a:gd name="T50" fmla="*/ 313 w 442"/>
                <a:gd name="T51" fmla="*/ 322 h 376"/>
                <a:gd name="T52" fmla="*/ 432 w 442"/>
                <a:gd name="T53" fmla="*/ 289 h 376"/>
                <a:gd name="T54" fmla="*/ 431 w 442"/>
                <a:gd name="T55" fmla="*/ 225 h 376"/>
                <a:gd name="T56" fmla="*/ 365 w 442"/>
                <a:gd name="T57" fmla="*/ 217 h 376"/>
                <a:gd name="T58" fmla="*/ 353 w 442"/>
                <a:gd name="T59" fmla="*/ 188 h 376"/>
                <a:gd name="T60" fmla="*/ 343 w 442"/>
                <a:gd name="T61" fmla="*/ 181 h 376"/>
                <a:gd name="T62" fmla="*/ 333 w 442"/>
                <a:gd name="T63" fmla="*/ 170 h 376"/>
                <a:gd name="T64" fmla="*/ 323 w 442"/>
                <a:gd name="T65" fmla="*/ 156 h 376"/>
                <a:gd name="T66" fmla="*/ 321 w 442"/>
                <a:gd name="T67" fmla="*/ 140 h 376"/>
                <a:gd name="T68" fmla="*/ 304 w 442"/>
                <a:gd name="T69" fmla="*/ 120 h 376"/>
                <a:gd name="T70" fmla="*/ 288 w 442"/>
                <a:gd name="T71" fmla="*/ 106 h 376"/>
                <a:gd name="T72" fmla="*/ 264 w 442"/>
                <a:gd name="T73" fmla="*/ 86 h 376"/>
                <a:gd name="T74" fmla="*/ 240 w 442"/>
                <a:gd name="T75" fmla="*/ 72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42" h="376">
                  <a:moveTo>
                    <a:pt x="240" y="72"/>
                  </a:moveTo>
                  <a:lnTo>
                    <a:pt x="201" y="71"/>
                  </a:lnTo>
                  <a:lnTo>
                    <a:pt x="139" y="23"/>
                  </a:lnTo>
                  <a:lnTo>
                    <a:pt x="107" y="6"/>
                  </a:lnTo>
                  <a:lnTo>
                    <a:pt x="82" y="0"/>
                  </a:lnTo>
                  <a:lnTo>
                    <a:pt x="79" y="3"/>
                  </a:lnTo>
                  <a:lnTo>
                    <a:pt x="40" y="15"/>
                  </a:lnTo>
                  <a:lnTo>
                    <a:pt x="63" y="39"/>
                  </a:lnTo>
                  <a:lnTo>
                    <a:pt x="57" y="43"/>
                  </a:lnTo>
                  <a:lnTo>
                    <a:pt x="54" y="51"/>
                  </a:lnTo>
                  <a:lnTo>
                    <a:pt x="39" y="54"/>
                  </a:lnTo>
                  <a:lnTo>
                    <a:pt x="35" y="63"/>
                  </a:lnTo>
                  <a:lnTo>
                    <a:pt x="27" y="71"/>
                  </a:lnTo>
                  <a:lnTo>
                    <a:pt x="4" y="67"/>
                  </a:lnTo>
                  <a:lnTo>
                    <a:pt x="2" y="76"/>
                  </a:lnTo>
                  <a:lnTo>
                    <a:pt x="2" y="84"/>
                  </a:lnTo>
                  <a:lnTo>
                    <a:pt x="0" y="97"/>
                  </a:lnTo>
                  <a:lnTo>
                    <a:pt x="10" y="97"/>
                  </a:lnTo>
                  <a:lnTo>
                    <a:pt x="22" y="114"/>
                  </a:lnTo>
                  <a:lnTo>
                    <a:pt x="36" y="132"/>
                  </a:lnTo>
                  <a:lnTo>
                    <a:pt x="45" y="150"/>
                  </a:lnTo>
                  <a:lnTo>
                    <a:pt x="52" y="156"/>
                  </a:lnTo>
                  <a:lnTo>
                    <a:pt x="58" y="168"/>
                  </a:lnTo>
                  <a:lnTo>
                    <a:pt x="58" y="173"/>
                  </a:lnTo>
                  <a:lnTo>
                    <a:pt x="65" y="187"/>
                  </a:lnTo>
                  <a:lnTo>
                    <a:pt x="76" y="192"/>
                  </a:lnTo>
                  <a:lnTo>
                    <a:pt x="86" y="201"/>
                  </a:lnTo>
                  <a:lnTo>
                    <a:pt x="100" y="227"/>
                  </a:lnTo>
                  <a:lnTo>
                    <a:pt x="100" y="241"/>
                  </a:lnTo>
                  <a:lnTo>
                    <a:pt x="103" y="258"/>
                  </a:lnTo>
                  <a:lnTo>
                    <a:pt x="118" y="281"/>
                  </a:lnTo>
                  <a:lnTo>
                    <a:pt x="128" y="284"/>
                  </a:lnTo>
                  <a:lnTo>
                    <a:pt x="143" y="301"/>
                  </a:lnTo>
                  <a:lnTo>
                    <a:pt x="150" y="321"/>
                  </a:lnTo>
                  <a:lnTo>
                    <a:pt x="162" y="340"/>
                  </a:lnTo>
                  <a:lnTo>
                    <a:pt x="173" y="349"/>
                  </a:lnTo>
                  <a:lnTo>
                    <a:pt x="175" y="358"/>
                  </a:lnTo>
                  <a:lnTo>
                    <a:pt x="183" y="366"/>
                  </a:lnTo>
                  <a:lnTo>
                    <a:pt x="185" y="376"/>
                  </a:lnTo>
                  <a:lnTo>
                    <a:pt x="194" y="367"/>
                  </a:lnTo>
                  <a:lnTo>
                    <a:pt x="192" y="358"/>
                  </a:lnTo>
                  <a:lnTo>
                    <a:pt x="196" y="346"/>
                  </a:lnTo>
                  <a:lnTo>
                    <a:pt x="205" y="353"/>
                  </a:lnTo>
                  <a:lnTo>
                    <a:pt x="211" y="351"/>
                  </a:lnTo>
                  <a:lnTo>
                    <a:pt x="235" y="350"/>
                  </a:lnTo>
                  <a:lnTo>
                    <a:pt x="239" y="353"/>
                  </a:lnTo>
                  <a:lnTo>
                    <a:pt x="258" y="354"/>
                  </a:lnTo>
                  <a:lnTo>
                    <a:pt x="267" y="353"/>
                  </a:lnTo>
                  <a:lnTo>
                    <a:pt x="272" y="361"/>
                  </a:lnTo>
                  <a:lnTo>
                    <a:pt x="282" y="357"/>
                  </a:lnTo>
                  <a:lnTo>
                    <a:pt x="295" y="332"/>
                  </a:lnTo>
                  <a:lnTo>
                    <a:pt x="313" y="322"/>
                  </a:lnTo>
                  <a:lnTo>
                    <a:pt x="372" y="312"/>
                  </a:lnTo>
                  <a:lnTo>
                    <a:pt x="432" y="289"/>
                  </a:lnTo>
                  <a:lnTo>
                    <a:pt x="442" y="241"/>
                  </a:lnTo>
                  <a:lnTo>
                    <a:pt x="431" y="225"/>
                  </a:lnTo>
                  <a:lnTo>
                    <a:pt x="427" y="229"/>
                  </a:lnTo>
                  <a:lnTo>
                    <a:pt x="365" y="217"/>
                  </a:lnTo>
                  <a:lnTo>
                    <a:pt x="354" y="194"/>
                  </a:lnTo>
                  <a:lnTo>
                    <a:pt x="353" y="188"/>
                  </a:lnTo>
                  <a:lnTo>
                    <a:pt x="349" y="179"/>
                  </a:lnTo>
                  <a:lnTo>
                    <a:pt x="343" y="181"/>
                  </a:lnTo>
                  <a:lnTo>
                    <a:pt x="337" y="176"/>
                  </a:lnTo>
                  <a:lnTo>
                    <a:pt x="333" y="170"/>
                  </a:lnTo>
                  <a:lnTo>
                    <a:pt x="329" y="162"/>
                  </a:lnTo>
                  <a:lnTo>
                    <a:pt x="323" y="156"/>
                  </a:lnTo>
                  <a:lnTo>
                    <a:pt x="319" y="147"/>
                  </a:lnTo>
                  <a:lnTo>
                    <a:pt x="321" y="140"/>
                  </a:lnTo>
                  <a:lnTo>
                    <a:pt x="319" y="129"/>
                  </a:lnTo>
                  <a:lnTo>
                    <a:pt x="304" y="120"/>
                  </a:lnTo>
                  <a:lnTo>
                    <a:pt x="299" y="112"/>
                  </a:lnTo>
                  <a:lnTo>
                    <a:pt x="288" y="106"/>
                  </a:lnTo>
                  <a:lnTo>
                    <a:pt x="278" y="86"/>
                  </a:lnTo>
                  <a:lnTo>
                    <a:pt x="264" y="86"/>
                  </a:lnTo>
                  <a:lnTo>
                    <a:pt x="257" y="74"/>
                  </a:lnTo>
                  <a:lnTo>
                    <a:pt x="240" y="72"/>
                  </a:lnTo>
                  <a:lnTo>
                    <a:pt x="240" y="72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3" name="Sudan">
              <a:extLst>
                <a:ext uri="{FF2B5EF4-FFF2-40B4-BE49-F238E27FC236}">
                  <a16:creationId xmlns:a16="http://schemas.microsoft.com/office/drawing/2014/main" id="{F7F17613-231C-4433-8B3F-AACD11B797A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0681" y="3231924"/>
              <a:ext cx="536575" cy="504825"/>
            </a:xfrm>
            <a:custGeom>
              <a:avLst/>
              <a:gdLst>
                <a:gd name="T0" fmla="*/ 307 w 338"/>
                <a:gd name="T1" fmla="*/ 120 h 318"/>
                <a:gd name="T2" fmla="*/ 328 w 338"/>
                <a:gd name="T3" fmla="*/ 109 h 318"/>
                <a:gd name="T4" fmla="*/ 326 w 338"/>
                <a:gd name="T5" fmla="*/ 86 h 318"/>
                <a:gd name="T6" fmla="*/ 308 w 338"/>
                <a:gd name="T7" fmla="*/ 52 h 318"/>
                <a:gd name="T8" fmla="*/ 308 w 338"/>
                <a:gd name="T9" fmla="*/ 24 h 318"/>
                <a:gd name="T10" fmla="*/ 219 w 338"/>
                <a:gd name="T11" fmla="*/ 0 h 318"/>
                <a:gd name="T12" fmla="*/ 57 w 338"/>
                <a:gd name="T13" fmla="*/ 0 h 318"/>
                <a:gd name="T14" fmla="*/ 35 w 338"/>
                <a:gd name="T15" fmla="*/ 48 h 318"/>
                <a:gd name="T16" fmla="*/ 39 w 338"/>
                <a:gd name="T17" fmla="*/ 152 h 318"/>
                <a:gd name="T18" fmla="*/ 12 w 338"/>
                <a:gd name="T19" fmla="*/ 168 h 318"/>
                <a:gd name="T20" fmla="*/ 11 w 338"/>
                <a:gd name="T21" fmla="*/ 188 h 318"/>
                <a:gd name="T22" fmla="*/ 7 w 338"/>
                <a:gd name="T23" fmla="*/ 205 h 318"/>
                <a:gd name="T24" fmla="*/ 0 w 338"/>
                <a:gd name="T25" fmla="*/ 224 h 318"/>
                <a:gd name="T26" fmla="*/ 12 w 338"/>
                <a:gd name="T27" fmla="*/ 232 h 318"/>
                <a:gd name="T28" fmla="*/ 21 w 338"/>
                <a:gd name="T29" fmla="*/ 253 h 318"/>
                <a:gd name="T30" fmla="*/ 23 w 338"/>
                <a:gd name="T31" fmla="*/ 268 h 318"/>
                <a:gd name="T32" fmla="*/ 35 w 338"/>
                <a:gd name="T33" fmla="*/ 293 h 318"/>
                <a:gd name="T34" fmla="*/ 34 w 338"/>
                <a:gd name="T35" fmla="*/ 310 h 318"/>
                <a:gd name="T36" fmla="*/ 43 w 338"/>
                <a:gd name="T37" fmla="*/ 318 h 318"/>
                <a:gd name="T38" fmla="*/ 56 w 338"/>
                <a:gd name="T39" fmla="*/ 311 h 318"/>
                <a:gd name="T40" fmla="*/ 67 w 338"/>
                <a:gd name="T41" fmla="*/ 279 h 318"/>
                <a:gd name="T42" fmla="*/ 86 w 338"/>
                <a:gd name="T43" fmla="*/ 282 h 318"/>
                <a:gd name="T44" fmla="*/ 103 w 338"/>
                <a:gd name="T45" fmla="*/ 298 h 318"/>
                <a:gd name="T46" fmla="*/ 125 w 338"/>
                <a:gd name="T47" fmla="*/ 295 h 318"/>
                <a:gd name="T48" fmla="*/ 148 w 338"/>
                <a:gd name="T49" fmla="*/ 300 h 318"/>
                <a:gd name="T50" fmla="*/ 161 w 338"/>
                <a:gd name="T51" fmla="*/ 291 h 318"/>
                <a:gd name="T52" fmla="*/ 170 w 338"/>
                <a:gd name="T53" fmla="*/ 279 h 318"/>
                <a:gd name="T54" fmla="*/ 198 w 338"/>
                <a:gd name="T55" fmla="*/ 290 h 318"/>
                <a:gd name="T56" fmla="*/ 219 w 338"/>
                <a:gd name="T57" fmla="*/ 260 h 318"/>
                <a:gd name="T58" fmla="*/ 212 w 338"/>
                <a:gd name="T59" fmla="*/ 239 h 318"/>
                <a:gd name="T60" fmla="*/ 226 w 338"/>
                <a:gd name="T61" fmla="*/ 232 h 318"/>
                <a:gd name="T62" fmla="*/ 233 w 338"/>
                <a:gd name="T63" fmla="*/ 252 h 318"/>
                <a:gd name="T64" fmla="*/ 247 w 338"/>
                <a:gd name="T65" fmla="*/ 278 h 318"/>
                <a:gd name="T66" fmla="*/ 250 w 338"/>
                <a:gd name="T67" fmla="*/ 297 h 318"/>
                <a:gd name="T68" fmla="*/ 253 w 338"/>
                <a:gd name="T69" fmla="*/ 295 h 318"/>
                <a:gd name="T70" fmla="*/ 268 w 338"/>
                <a:gd name="T71" fmla="*/ 264 h 318"/>
                <a:gd name="T72" fmla="*/ 278 w 338"/>
                <a:gd name="T73" fmla="*/ 236 h 318"/>
                <a:gd name="T74" fmla="*/ 299 w 338"/>
                <a:gd name="T75" fmla="*/ 201 h 318"/>
                <a:gd name="T76" fmla="*/ 299 w 338"/>
                <a:gd name="T77" fmla="*/ 171 h 318"/>
                <a:gd name="T78" fmla="*/ 305 w 338"/>
                <a:gd name="T79" fmla="*/ 136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38" h="318">
                  <a:moveTo>
                    <a:pt x="305" y="136"/>
                  </a:moveTo>
                  <a:lnTo>
                    <a:pt x="307" y="120"/>
                  </a:lnTo>
                  <a:lnTo>
                    <a:pt x="313" y="112"/>
                  </a:lnTo>
                  <a:lnTo>
                    <a:pt x="328" y="109"/>
                  </a:lnTo>
                  <a:lnTo>
                    <a:pt x="338" y="96"/>
                  </a:lnTo>
                  <a:lnTo>
                    <a:pt x="326" y="86"/>
                  </a:lnTo>
                  <a:lnTo>
                    <a:pt x="317" y="81"/>
                  </a:lnTo>
                  <a:lnTo>
                    <a:pt x="308" y="52"/>
                  </a:lnTo>
                  <a:lnTo>
                    <a:pt x="304" y="28"/>
                  </a:lnTo>
                  <a:lnTo>
                    <a:pt x="308" y="24"/>
                  </a:lnTo>
                  <a:lnTo>
                    <a:pt x="301" y="0"/>
                  </a:lnTo>
                  <a:lnTo>
                    <a:pt x="219" y="0"/>
                  </a:lnTo>
                  <a:lnTo>
                    <a:pt x="139" y="0"/>
                  </a:lnTo>
                  <a:lnTo>
                    <a:pt x="57" y="0"/>
                  </a:lnTo>
                  <a:lnTo>
                    <a:pt x="59" y="48"/>
                  </a:lnTo>
                  <a:lnTo>
                    <a:pt x="35" y="48"/>
                  </a:lnTo>
                  <a:lnTo>
                    <a:pt x="35" y="57"/>
                  </a:lnTo>
                  <a:lnTo>
                    <a:pt x="39" y="152"/>
                  </a:lnTo>
                  <a:lnTo>
                    <a:pt x="21" y="151"/>
                  </a:lnTo>
                  <a:lnTo>
                    <a:pt x="12" y="168"/>
                  </a:lnTo>
                  <a:lnTo>
                    <a:pt x="7" y="183"/>
                  </a:lnTo>
                  <a:lnTo>
                    <a:pt x="11" y="188"/>
                  </a:lnTo>
                  <a:lnTo>
                    <a:pt x="5" y="196"/>
                  </a:lnTo>
                  <a:lnTo>
                    <a:pt x="7" y="205"/>
                  </a:lnTo>
                  <a:lnTo>
                    <a:pt x="2" y="215"/>
                  </a:lnTo>
                  <a:lnTo>
                    <a:pt x="0" y="224"/>
                  </a:lnTo>
                  <a:lnTo>
                    <a:pt x="7" y="223"/>
                  </a:lnTo>
                  <a:lnTo>
                    <a:pt x="12" y="232"/>
                  </a:lnTo>
                  <a:lnTo>
                    <a:pt x="13" y="246"/>
                  </a:lnTo>
                  <a:lnTo>
                    <a:pt x="21" y="253"/>
                  </a:lnTo>
                  <a:lnTo>
                    <a:pt x="21" y="258"/>
                  </a:lnTo>
                  <a:lnTo>
                    <a:pt x="23" y="268"/>
                  </a:lnTo>
                  <a:lnTo>
                    <a:pt x="35" y="283"/>
                  </a:lnTo>
                  <a:lnTo>
                    <a:pt x="35" y="293"/>
                  </a:lnTo>
                  <a:lnTo>
                    <a:pt x="33" y="303"/>
                  </a:lnTo>
                  <a:lnTo>
                    <a:pt x="34" y="310"/>
                  </a:lnTo>
                  <a:lnTo>
                    <a:pt x="41" y="317"/>
                  </a:lnTo>
                  <a:lnTo>
                    <a:pt x="43" y="318"/>
                  </a:lnTo>
                  <a:lnTo>
                    <a:pt x="49" y="315"/>
                  </a:lnTo>
                  <a:lnTo>
                    <a:pt x="56" y="311"/>
                  </a:lnTo>
                  <a:lnTo>
                    <a:pt x="62" y="290"/>
                  </a:lnTo>
                  <a:lnTo>
                    <a:pt x="67" y="279"/>
                  </a:lnTo>
                  <a:lnTo>
                    <a:pt x="82" y="276"/>
                  </a:lnTo>
                  <a:lnTo>
                    <a:pt x="86" y="282"/>
                  </a:lnTo>
                  <a:lnTo>
                    <a:pt x="97" y="296"/>
                  </a:lnTo>
                  <a:lnTo>
                    <a:pt x="103" y="298"/>
                  </a:lnTo>
                  <a:lnTo>
                    <a:pt x="110" y="294"/>
                  </a:lnTo>
                  <a:lnTo>
                    <a:pt x="125" y="295"/>
                  </a:lnTo>
                  <a:lnTo>
                    <a:pt x="128" y="300"/>
                  </a:lnTo>
                  <a:lnTo>
                    <a:pt x="148" y="300"/>
                  </a:lnTo>
                  <a:lnTo>
                    <a:pt x="149" y="295"/>
                  </a:lnTo>
                  <a:lnTo>
                    <a:pt x="161" y="291"/>
                  </a:lnTo>
                  <a:lnTo>
                    <a:pt x="162" y="283"/>
                  </a:lnTo>
                  <a:lnTo>
                    <a:pt x="170" y="279"/>
                  </a:lnTo>
                  <a:lnTo>
                    <a:pt x="188" y="293"/>
                  </a:lnTo>
                  <a:lnTo>
                    <a:pt x="198" y="290"/>
                  </a:lnTo>
                  <a:lnTo>
                    <a:pt x="208" y="273"/>
                  </a:lnTo>
                  <a:lnTo>
                    <a:pt x="219" y="260"/>
                  </a:lnTo>
                  <a:lnTo>
                    <a:pt x="218" y="245"/>
                  </a:lnTo>
                  <a:lnTo>
                    <a:pt x="212" y="239"/>
                  </a:lnTo>
                  <a:lnTo>
                    <a:pt x="225" y="238"/>
                  </a:lnTo>
                  <a:lnTo>
                    <a:pt x="226" y="232"/>
                  </a:lnTo>
                  <a:lnTo>
                    <a:pt x="235" y="234"/>
                  </a:lnTo>
                  <a:lnTo>
                    <a:pt x="233" y="252"/>
                  </a:lnTo>
                  <a:lnTo>
                    <a:pt x="237" y="268"/>
                  </a:lnTo>
                  <a:lnTo>
                    <a:pt x="247" y="278"/>
                  </a:lnTo>
                  <a:lnTo>
                    <a:pt x="250" y="286"/>
                  </a:lnTo>
                  <a:lnTo>
                    <a:pt x="250" y="297"/>
                  </a:lnTo>
                  <a:lnTo>
                    <a:pt x="253" y="298"/>
                  </a:lnTo>
                  <a:lnTo>
                    <a:pt x="253" y="295"/>
                  </a:lnTo>
                  <a:lnTo>
                    <a:pt x="259" y="270"/>
                  </a:lnTo>
                  <a:lnTo>
                    <a:pt x="268" y="264"/>
                  </a:lnTo>
                  <a:lnTo>
                    <a:pt x="270" y="253"/>
                  </a:lnTo>
                  <a:lnTo>
                    <a:pt x="278" y="236"/>
                  </a:lnTo>
                  <a:lnTo>
                    <a:pt x="290" y="224"/>
                  </a:lnTo>
                  <a:lnTo>
                    <a:pt x="299" y="201"/>
                  </a:lnTo>
                  <a:lnTo>
                    <a:pt x="301" y="181"/>
                  </a:lnTo>
                  <a:lnTo>
                    <a:pt x="299" y="171"/>
                  </a:lnTo>
                  <a:lnTo>
                    <a:pt x="305" y="136"/>
                  </a:lnTo>
                  <a:lnTo>
                    <a:pt x="305" y="136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4" name="South Sudan">
              <a:extLst>
                <a:ext uri="{FF2B5EF4-FFF2-40B4-BE49-F238E27FC236}">
                  <a16:creationId xmlns:a16="http://schemas.microsoft.com/office/drawing/2014/main" id="{8E11E60D-1543-4A56-B267-4DFF37EE65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8944" y="3600224"/>
              <a:ext cx="381000" cy="328613"/>
            </a:xfrm>
            <a:custGeom>
              <a:avLst/>
              <a:gdLst>
                <a:gd name="T0" fmla="*/ 204 w 240"/>
                <a:gd name="T1" fmla="*/ 46 h 207"/>
                <a:gd name="T2" fmla="*/ 190 w 240"/>
                <a:gd name="T3" fmla="*/ 20 h 207"/>
                <a:gd name="T4" fmla="*/ 183 w 240"/>
                <a:gd name="T5" fmla="*/ 0 h 207"/>
                <a:gd name="T6" fmla="*/ 169 w 240"/>
                <a:gd name="T7" fmla="*/ 7 h 207"/>
                <a:gd name="T8" fmla="*/ 176 w 240"/>
                <a:gd name="T9" fmla="*/ 28 h 207"/>
                <a:gd name="T10" fmla="*/ 155 w 240"/>
                <a:gd name="T11" fmla="*/ 58 h 207"/>
                <a:gd name="T12" fmla="*/ 127 w 240"/>
                <a:gd name="T13" fmla="*/ 47 h 207"/>
                <a:gd name="T14" fmla="*/ 118 w 240"/>
                <a:gd name="T15" fmla="*/ 59 h 207"/>
                <a:gd name="T16" fmla="*/ 105 w 240"/>
                <a:gd name="T17" fmla="*/ 68 h 207"/>
                <a:gd name="T18" fmla="*/ 82 w 240"/>
                <a:gd name="T19" fmla="*/ 63 h 207"/>
                <a:gd name="T20" fmla="*/ 60 w 240"/>
                <a:gd name="T21" fmla="*/ 66 h 207"/>
                <a:gd name="T22" fmla="*/ 43 w 240"/>
                <a:gd name="T23" fmla="*/ 50 h 207"/>
                <a:gd name="T24" fmla="*/ 24 w 240"/>
                <a:gd name="T25" fmla="*/ 47 h 207"/>
                <a:gd name="T26" fmla="*/ 13 w 240"/>
                <a:gd name="T27" fmla="*/ 79 h 207"/>
                <a:gd name="T28" fmla="*/ 0 w 240"/>
                <a:gd name="T29" fmla="*/ 86 h 207"/>
                <a:gd name="T30" fmla="*/ 26 w 240"/>
                <a:gd name="T31" fmla="*/ 105 h 207"/>
                <a:gd name="T32" fmla="*/ 40 w 240"/>
                <a:gd name="T33" fmla="*/ 125 h 207"/>
                <a:gd name="T34" fmla="*/ 55 w 240"/>
                <a:gd name="T35" fmla="*/ 149 h 207"/>
                <a:gd name="T36" fmla="*/ 74 w 240"/>
                <a:gd name="T37" fmla="*/ 167 h 207"/>
                <a:gd name="T38" fmla="*/ 96 w 240"/>
                <a:gd name="T39" fmla="*/ 190 h 207"/>
                <a:gd name="T40" fmla="*/ 112 w 240"/>
                <a:gd name="T41" fmla="*/ 187 h 207"/>
                <a:gd name="T42" fmla="*/ 129 w 240"/>
                <a:gd name="T43" fmla="*/ 191 h 207"/>
                <a:gd name="T44" fmla="*/ 147 w 240"/>
                <a:gd name="T45" fmla="*/ 207 h 207"/>
                <a:gd name="T46" fmla="*/ 169 w 240"/>
                <a:gd name="T47" fmla="*/ 206 h 207"/>
                <a:gd name="T48" fmla="*/ 201 w 240"/>
                <a:gd name="T49" fmla="*/ 201 h 207"/>
                <a:gd name="T50" fmla="*/ 226 w 240"/>
                <a:gd name="T51" fmla="*/ 176 h 207"/>
                <a:gd name="T52" fmla="*/ 227 w 240"/>
                <a:gd name="T53" fmla="*/ 134 h 207"/>
                <a:gd name="T54" fmla="*/ 214 w 240"/>
                <a:gd name="T55" fmla="*/ 120 h 207"/>
                <a:gd name="T56" fmla="*/ 190 w 240"/>
                <a:gd name="T57" fmla="*/ 105 h 207"/>
                <a:gd name="T58" fmla="*/ 208 w 240"/>
                <a:gd name="T59" fmla="*/ 92 h 207"/>
                <a:gd name="T60" fmla="*/ 210 w 240"/>
                <a:gd name="T61" fmla="*/ 66 h 207"/>
                <a:gd name="T62" fmla="*/ 207 w 240"/>
                <a:gd name="T63" fmla="*/ 54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0" h="207">
                  <a:moveTo>
                    <a:pt x="207" y="54"/>
                  </a:moveTo>
                  <a:lnTo>
                    <a:pt x="204" y="46"/>
                  </a:lnTo>
                  <a:lnTo>
                    <a:pt x="194" y="36"/>
                  </a:lnTo>
                  <a:lnTo>
                    <a:pt x="190" y="20"/>
                  </a:lnTo>
                  <a:lnTo>
                    <a:pt x="192" y="2"/>
                  </a:lnTo>
                  <a:lnTo>
                    <a:pt x="183" y="0"/>
                  </a:lnTo>
                  <a:lnTo>
                    <a:pt x="182" y="6"/>
                  </a:lnTo>
                  <a:lnTo>
                    <a:pt x="169" y="7"/>
                  </a:lnTo>
                  <a:lnTo>
                    <a:pt x="175" y="13"/>
                  </a:lnTo>
                  <a:lnTo>
                    <a:pt x="176" y="28"/>
                  </a:lnTo>
                  <a:lnTo>
                    <a:pt x="165" y="41"/>
                  </a:lnTo>
                  <a:lnTo>
                    <a:pt x="155" y="58"/>
                  </a:lnTo>
                  <a:lnTo>
                    <a:pt x="145" y="61"/>
                  </a:lnTo>
                  <a:lnTo>
                    <a:pt x="127" y="47"/>
                  </a:lnTo>
                  <a:lnTo>
                    <a:pt x="119" y="51"/>
                  </a:lnTo>
                  <a:lnTo>
                    <a:pt x="118" y="59"/>
                  </a:lnTo>
                  <a:lnTo>
                    <a:pt x="106" y="63"/>
                  </a:lnTo>
                  <a:lnTo>
                    <a:pt x="105" y="68"/>
                  </a:lnTo>
                  <a:lnTo>
                    <a:pt x="85" y="68"/>
                  </a:lnTo>
                  <a:lnTo>
                    <a:pt x="82" y="63"/>
                  </a:lnTo>
                  <a:lnTo>
                    <a:pt x="67" y="62"/>
                  </a:lnTo>
                  <a:lnTo>
                    <a:pt x="60" y="66"/>
                  </a:lnTo>
                  <a:lnTo>
                    <a:pt x="54" y="64"/>
                  </a:lnTo>
                  <a:lnTo>
                    <a:pt x="43" y="50"/>
                  </a:lnTo>
                  <a:lnTo>
                    <a:pt x="39" y="44"/>
                  </a:lnTo>
                  <a:lnTo>
                    <a:pt x="24" y="47"/>
                  </a:lnTo>
                  <a:lnTo>
                    <a:pt x="19" y="58"/>
                  </a:lnTo>
                  <a:lnTo>
                    <a:pt x="13" y="79"/>
                  </a:lnTo>
                  <a:lnTo>
                    <a:pt x="6" y="83"/>
                  </a:lnTo>
                  <a:lnTo>
                    <a:pt x="0" y="86"/>
                  </a:lnTo>
                  <a:lnTo>
                    <a:pt x="14" y="95"/>
                  </a:lnTo>
                  <a:lnTo>
                    <a:pt x="26" y="105"/>
                  </a:lnTo>
                  <a:lnTo>
                    <a:pt x="26" y="113"/>
                  </a:lnTo>
                  <a:lnTo>
                    <a:pt x="40" y="125"/>
                  </a:lnTo>
                  <a:lnTo>
                    <a:pt x="49" y="135"/>
                  </a:lnTo>
                  <a:lnTo>
                    <a:pt x="55" y="149"/>
                  </a:lnTo>
                  <a:lnTo>
                    <a:pt x="71" y="159"/>
                  </a:lnTo>
                  <a:lnTo>
                    <a:pt x="74" y="167"/>
                  </a:lnTo>
                  <a:lnTo>
                    <a:pt x="87" y="186"/>
                  </a:lnTo>
                  <a:lnTo>
                    <a:pt x="96" y="190"/>
                  </a:lnTo>
                  <a:lnTo>
                    <a:pt x="102" y="185"/>
                  </a:lnTo>
                  <a:lnTo>
                    <a:pt x="112" y="187"/>
                  </a:lnTo>
                  <a:lnTo>
                    <a:pt x="123" y="182"/>
                  </a:lnTo>
                  <a:lnTo>
                    <a:pt x="129" y="191"/>
                  </a:lnTo>
                  <a:lnTo>
                    <a:pt x="147" y="207"/>
                  </a:lnTo>
                  <a:lnTo>
                    <a:pt x="147" y="207"/>
                  </a:lnTo>
                  <a:lnTo>
                    <a:pt x="156" y="201"/>
                  </a:lnTo>
                  <a:lnTo>
                    <a:pt x="169" y="206"/>
                  </a:lnTo>
                  <a:lnTo>
                    <a:pt x="186" y="201"/>
                  </a:lnTo>
                  <a:lnTo>
                    <a:pt x="201" y="201"/>
                  </a:lnTo>
                  <a:lnTo>
                    <a:pt x="213" y="190"/>
                  </a:lnTo>
                  <a:lnTo>
                    <a:pt x="226" y="176"/>
                  </a:lnTo>
                  <a:lnTo>
                    <a:pt x="240" y="160"/>
                  </a:lnTo>
                  <a:lnTo>
                    <a:pt x="227" y="134"/>
                  </a:lnTo>
                  <a:lnTo>
                    <a:pt x="217" y="129"/>
                  </a:lnTo>
                  <a:lnTo>
                    <a:pt x="214" y="120"/>
                  </a:lnTo>
                  <a:lnTo>
                    <a:pt x="203" y="107"/>
                  </a:lnTo>
                  <a:lnTo>
                    <a:pt x="190" y="105"/>
                  </a:lnTo>
                  <a:lnTo>
                    <a:pt x="197" y="92"/>
                  </a:lnTo>
                  <a:lnTo>
                    <a:pt x="208" y="92"/>
                  </a:lnTo>
                  <a:lnTo>
                    <a:pt x="211" y="85"/>
                  </a:lnTo>
                  <a:lnTo>
                    <a:pt x="210" y="66"/>
                  </a:lnTo>
                  <a:lnTo>
                    <a:pt x="207" y="65"/>
                  </a:lnTo>
                  <a:lnTo>
                    <a:pt x="207" y="54"/>
                  </a:lnTo>
                  <a:lnTo>
                    <a:pt x="207" y="54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5" name="Senegal">
              <a:extLst>
                <a:ext uri="{FF2B5EF4-FFF2-40B4-BE49-F238E27FC236}">
                  <a16:creationId xmlns:a16="http://schemas.microsoft.com/office/drawing/2014/main" id="{AF810A5B-C0B0-4201-B9D5-813796371DE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4169" y="3435124"/>
              <a:ext cx="201612" cy="161925"/>
            </a:xfrm>
            <a:custGeom>
              <a:avLst/>
              <a:gdLst>
                <a:gd name="T0" fmla="*/ 113 w 127"/>
                <a:gd name="T1" fmla="*/ 48 h 102"/>
                <a:gd name="T2" fmla="*/ 99 w 127"/>
                <a:gd name="T3" fmla="*/ 31 h 102"/>
                <a:gd name="T4" fmla="*/ 87 w 127"/>
                <a:gd name="T5" fmla="*/ 13 h 102"/>
                <a:gd name="T6" fmla="*/ 74 w 127"/>
                <a:gd name="T7" fmla="*/ 8 h 102"/>
                <a:gd name="T8" fmla="*/ 64 w 127"/>
                <a:gd name="T9" fmla="*/ 0 h 102"/>
                <a:gd name="T10" fmla="*/ 53 w 127"/>
                <a:gd name="T11" fmla="*/ 0 h 102"/>
                <a:gd name="T12" fmla="*/ 42 w 127"/>
                <a:gd name="T13" fmla="*/ 6 h 102"/>
                <a:gd name="T14" fmla="*/ 32 w 127"/>
                <a:gd name="T15" fmla="*/ 4 h 102"/>
                <a:gd name="T16" fmla="*/ 25 w 127"/>
                <a:gd name="T17" fmla="*/ 12 h 102"/>
                <a:gd name="T18" fmla="*/ 20 w 127"/>
                <a:gd name="T19" fmla="*/ 24 h 102"/>
                <a:gd name="T20" fmla="*/ 9 w 127"/>
                <a:gd name="T21" fmla="*/ 41 h 102"/>
                <a:gd name="T22" fmla="*/ 0 w 127"/>
                <a:gd name="T23" fmla="*/ 45 h 102"/>
                <a:gd name="T24" fmla="*/ 10 w 127"/>
                <a:gd name="T25" fmla="*/ 54 h 102"/>
                <a:gd name="T26" fmla="*/ 18 w 127"/>
                <a:gd name="T27" fmla="*/ 72 h 102"/>
                <a:gd name="T28" fmla="*/ 41 w 127"/>
                <a:gd name="T29" fmla="*/ 71 h 102"/>
                <a:gd name="T30" fmla="*/ 46 w 127"/>
                <a:gd name="T31" fmla="*/ 66 h 102"/>
                <a:gd name="T32" fmla="*/ 53 w 127"/>
                <a:gd name="T33" fmla="*/ 66 h 102"/>
                <a:gd name="T34" fmla="*/ 60 w 127"/>
                <a:gd name="T35" fmla="*/ 71 h 102"/>
                <a:gd name="T36" fmla="*/ 67 w 127"/>
                <a:gd name="T37" fmla="*/ 71 h 102"/>
                <a:gd name="T38" fmla="*/ 74 w 127"/>
                <a:gd name="T39" fmla="*/ 68 h 102"/>
                <a:gd name="T40" fmla="*/ 78 w 127"/>
                <a:gd name="T41" fmla="*/ 74 h 102"/>
                <a:gd name="T42" fmla="*/ 69 w 127"/>
                <a:gd name="T43" fmla="*/ 80 h 102"/>
                <a:gd name="T44" fmla="*/ 60 w 127"/>
                <a:gd name="T45" fmla="*/ 79 h 102"/>
                <a:gd name="T46" fmla="*/ 51 w 127"/>
                <a:gd name="T47" fmla="*/ 74 h 102"/>
                <a:gd name="T48" fmla="*/ 43 w 127"/>
                <a:gd name="T49" fmla="*/ 80 h 102"/>
                <a:gd name="T50" fmla="*/ 40 w 127"/>
                <a:gd name="T51" fmla="*/ 80 h 102"/>
                <a:gd name="T52" fmla="*/ 34 w 127"/>
                <a:gd name="T53" fmla="*/ 83 h 102"/>
                <a:gd name="T54" fmla="*/ 15 w 127"/>
                <a:gd name="T55" fmla="*/ 83 h 102"/>
                <a:gd name="T56" fmla="*/ 18 w 127"/>
                <a:gd name="T57" fmla="*/ 101 h 102"/>
                <a:gd name="T58" fmla="*/ 29 w 127"/>
                <a:gd name="T59" fmla="*/ 97 h 102"/>
                <a:gd name="T60" fmla="*/ 37 w 127"/>
                <a:gd name="T61" fmla="*/ 97 h 102"/>
                <a:gd name="T62" fmla="*/ 42 w 127"/>
                <a:gd name="T63" fmla="*/ 95 h 102"/>
                <a:gd name="T64" fmla="*/ 81 w 127"/>
                <a:gd name="T65" fmla="*/ 96 h 102"/>
                <a:gd name="T66" fmla="*/ 91 w 127"/>
                <a:gd name="T67" fmla="*/ 97 h 102"/>
                <a:gd name="T68" fmla="*/ 106 w 127"/>
                <a:gd name="T69" fmla="*/ 102 h 102"/>
                <a:gd name="T70" fmla="*/ 111 w 127"/>
                <a:gd name="T71" fmla="*/ 101 h 102"/>
                <a:gd name="T72" fmla="*/ 112 w 127"/>
                <a:gd name="T73" fmla="*/ 99 h 102"/>
                <a:gd name="T74" fmla="*/ 123 w 127"/>
                <a:gd name="T75" fmla="*/ 101 h 102"/>
                <a:gd name="T76" fmla="*/ 126 w 127"/>
                <a:gd name="T77" fmla="*/ 99 h 102"/>
                <a:gd name="T78" fmla="*/ 127 w 127"/>
                <a:gd name="T79" fmla="*/ 92 h 102"/>
                <a:gd name="T80" fmla="*/ 126 w 127"/>
                <a:gd name="T81" fmla="*/ 83 h 102"/>
                <a:gd name="T82" fmla="*/ 118 w 127"/>
                <a:gd name="T83" fmla="*/ 76 h 102"/>
                <a:gd name="T84" fmla="*/ 113 w 127"/>
                <a:gd name="T85" fmla="*/ 62 h 102"/>
                <a:gd name="T86" fmla="*/ 113 w 127"/>
                <a:gd name="T87" fmla="*/ 48 h 102"/>
                <a:gd name="T88" fmla="*/ 113 w 127"/>
                <a:gd name="T89" fmla="*/ 4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7" h="102">
                  <a:moveTo>
                    <a:pt x="113" y="48"/>
                  </a:moveTo>
                  <a:lnTo>
                    <a:pt x="99" y="31"/>
                  </a:lnTo>
                  <a:lnTo>
                    <a:pt x="87" y="13"/>
                  </a:lnTo>
                  <a:lnTo>
                    <a:pt x="74" y="8"/>
                  </a:lnTo>
                  <a:lnTo>
                    <a:pt x="64" y="0"/>
                  </a:lnTo>
                  <a:lnTo>
                    <a:pt x="53" y="0"/>
                  </a:lnTo>
                  <a:lnTo>
                    <a:pt x="42" y="6"/>
                  </a:lnTo>
                  <a:lnTo>
                    <a:pt x="32" y="4"/>
                  </a:lnTo>
                  <a:lnTo>
                    <a:pt x="25" y="12"/>
                  </a:lnTo>
                  <a:lnTo>
                    <a:pt x="20" y="24"/>
                  </a:lnTo>
                  <a:lnTo>
                    <a:pt x="9" y="41"/>
                  </a:lnTo>
                  <a:lnTo>
                    <a:pt x="0" y="45"/>
                  </a:lnTo>
                  <a:lnTo>
                    <a:pt x="10" y="54"/>
                  </a:lnTo>
                  <a:lnTo>
                    <a:pt x="18" y="72"/>
                  </a:lnTo>
                  <a:lnTo>
                    <a:pt x="41" y="71"/>
                  </a:lnTo>
                  <a:lnTo>
                    <a:pt x="46" y="66"/>
                  </a:lnTo>
                  <a:lnTo>
                    <a:pt x="53" y="66"/>
                  </a:lnTo>
                  <a:lnTo>
                    <a:pt x="60" y="71"/>
                  </a:lnTo>
                  <a:lnTo>
                    <a:pt x="67" y="71"/>
                  </a:lnTo>
                  <a:lnTo>
                    <a:pt x="74" y="68"/>
                  </a:lnTo>
                  <a:lnTo>
                    <a:pt x="78" y="74"/>
                  </a:lnTo>
                  <a:lnTo>
                    <a:pt x="69" y="80"/>
                  </a:lnTo>
                  <a:lnTo>
                    <a:pt x="60" y="79"/>
                  </a:lnTo>
                  <a:lnTo>
                    <a:pt x="51" y="74"/>
                  </a:lnTo>
                  <a:lnTo>
                    <a:pt x="43" y="80"/>
                  </a:lnTo>
                  <a:lnTo>
                    <a:pt x="40" y="80"/>
                  </a:lnTo>
                  <a:lnTo>
                    <a:pt x="34" y="83"/>
                  </a:lnTo>
                  <a:lnTo>
                    <a:pt x="15" y="83"/>
                  </a:lnTo>
                  <a:lnTo>
                    <a:pt x="18" y="101"/>
                  </a:lnTo>
                  <a:lnTo>
                    <a:pt x="29" y="97"/>
                  </a:lnTo>
                  <a:lnTo>
                    <a:pt x="37" y="97"/>
                  </a:lnTo>
                  <a:lnTo>
                    <a:pt x="42" y="95"/>
                  </a:lnTo>
                  <a:lnTo>
                    <a:pt x="81" y="96"/>
                  </a:lnTo>
                  <a:lnTo>
                    <a:pt x="91" y="97"/>
                  </a:lnTo>
                  <a:lnTo>
                    <a:pt x="106" y="102"/>
                  </a:lnTo>
                  <a:lnTo>
                    <a:pt x="111" y="101"/>
                  </a:lnTo>
                  <a:lnTo>
                    <a:pt x="112" y="99"/>
                  </a:lnTo>
                  <a:lnTo>
                    <a:pt x="123" y="101"/>
                  </a:lnTo>
                  <a:lnTo>
                    <a:pt x="126" y="99"/>
                  </a:lnTo>
                  <a:lnTo>
                    <a:pt x="127" y="92"/>
                  </a:lnTo>
                  <a:lnTo>
                    <a:pt x="126" y="83"/>
                  </a:lnTo>
                  <a:lnTo>
                    <a:pt x="118" y="76"/>
                  </a:lnTo>
                  <a:lnTo>
                    <a:pt x="113" y="62"/>
                  </a:lnTo>
                  <a:lnTo>
                    <a:pt x="113" y="48"/>
                  </a:lnTo>
                  <a:lnTo>
                    <a:pt x="113" y="48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6" name="Sierra Leone">
              <a:extLst>
                <a:ext uri="{FF2B5EF4-FFF2-40B4-BE49-F238E27FC236}">
                  <a16:creationId xmlns:a16="http://schemas.microsoft.com/office/drawing/2014/main" id="{18C680CE-ABCF-4A47-88F9-09D6C939AB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5456" y="3682774"/>
              <a:ext cx="101600" cy="123825"/>
            </a:xfrm>
            <a:custGeom>
              <a:avLst/>
              <a:gdLst>
                <a:gd name="T0" fmla="*/ 64 w 64"/>
                <a:gd name="T1" fmla="*/ 39 h 78"/>
                <a:gd name="T2" fmla="*/ 58 w 64"/>
                <a:gd name="T3" fmla="*/ 40 h 78"/>
                <a:gd name="T4" fmla="*/ 58 w 64"/>
                <a:gd name="T5" fmla="*/ 32 h 78"/>
                <a:gd name="T6" fmla="*/ 54 w 64"/>
                <a:gd name="T7" fmla="*/ 25 h 78"/>
                <a:gd name="T8" fmla="*/ 55 w 64"/>
                <a:gd name="T9" fmla="*/ 19 h 78"/>
                <a:gd name="T10" fmla="*/ 51 w 64"/>
                <a:gd name="T11" fmla="*/ 9 h 78"/>
                <a:gd name="T12" fmla="*/ 45 w 64"/>
                <a:gd name="T13" fmla="*/ 0 h 78"/>
                <a:gd name="T14" fmla="*/ 28 w 64"/>
                <a:gd name="T15" fmla="*/ 0 h 78"/>
                <a:gd name="T16" fmla="*/ 23 w 64"/>
                <a:gd name="T17" fmla="*/ 5 h 78"/>
                <a:gd name="T18" fmla="*/ 18 w 64"/>
                <a:gd name="T19" fmla="*/ 5 h 78"/>
                <a:gd name="T20" fmla="*/ 14 w 64"/>
                <a:gd name="T21" fmla="*/ 11 h 78"/>
                <a:gd name="T22" fmla="*/ 11 w 64"/>
                <a:gd name="T23" fmla="*/ 17 h 78"/>
                <a:gd name="T24" fmla="*/ 0 w 64"/>
                <a:gd name="T25" fmla="*/ 27 h 78"/>
                <a:gd name="T26" fmla="*/ 3 w 64"/>
                <a:gd name="T27" fmla="*/ 45 h 78"/>
                <a:gd name="T28" fmla="*/ 6 w 64"/>
                <a:gd name="T29" fmla="*/ 53 h 78"/>
                <a:gd name="T30" fmla="*/ 17 w 64"/>
                <a:gd name="T31" fmla="*/ 67 h 78"/>
                <a:gd name="T32" fmla="*/ 32 w 64"/>
                <a:gd name="T33" fmla="*/ 76 h 78"/>
                <a:gd name="T34" fmla="*/ 37 w 64"/>
                <a:gd name="T35" fmla="*/ 78 h 78"/>
                <a:gd name="T36" fmla="*/ 43 w 64"/>
                <a:gd name="T37" fmla="*/ 70 h 78"/>
                <a:gd name="T38" fmla="*/ 44 w 64"/>
                <a:gd name="T39" fmla="*/ 63 h 78"/>
                <a:gd name="T40" fmla="*/ 53 w 64"/>
                <a:gd name="T41" fmla="*/ 51 h 78"/>
                <a:gd name="T42" fmla="*/ 64 w 64"/>
                <a:gd name="T43" fmla="*/ 39 h 78"/>
                <a:gd name="T44" fmla="*/ 64 w 64"/>
                <a:gd name="T45" fmla="*/ 3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4" h="78">
                  <a:moveTo>
                    <a:pt x="64" y="39"/>
                  </a:moveTo>
                  <a:lnTo>
                    <a:pt x="58" y="40"/>
                  </a:lnTo>
                  <a:lnTo>
                    <a:pt x="58" y="32"/>
                  </a:lnTo>
                  <a:lnTo>
                    <a:pt x="54" y="25"/>
                  </a:lnTo>
                  <a:lnTo>
                    <a:pt x="55" y="19"/>
                  </a:lnTo>
                  <a:lnTo>
                    <a:pt x="51" y="9"/>
                  </a:lnTo>
                  <a:lnTo>
                    <a:pt x="45" y="0"/>
                  </a:lnTo>
                  <a:lnTo>
                    <a:pt x="28" y="0"/>
                  </a:lnTo>
                  <a:lnTo>
                    <a:pt x="23" y="5"/>
                  </a:lnTo>
                  <a:lnTo>
                    <a:pt x="18" y="5"/>
                  </a:lnTo>
                  <a:lnTo>
                    <a:pt x="14" y="11"/>
                  </a:lnTo>
                  <a:lnTo>
                    <a:pt x="11" y="17"/>
                  </a:lnTo>
                  <a:lnTo>
                    <a:pt x="0" y="27"/>
                  </a:lnTo>
                  <a:lnTo>
                    <a:pt x="3" y="45"/>
                  </a:lnTo>
                  <a:lnTo>
                    <a:pt x="6" y="53"/>
                  </a:lnTo>
                  <a:lnTo>
                    <a:pt x="17" y="67"/>
                  </a:lnTo>
                  <a:lnTo>
                    <a:pt x="32" y="76"/>
                  </a:lnTo>
                  <a:lnTo>
                    <a:pt x="37" y="78"/>
                  </a:lnTo>
                  <a:lnTo>
                    <a:pt x="43" y="70"/>
                  </a:lnTo>
                  <a:lnTo>
                    <a:pt x="44" y="63"/>
                  </a:lnTo>
                  <a:lnTo>
                    <a:pt x="53" y="51"/>
                  </a:lnTo>
                  <a:lnTo>
                    <a:pt x="64" y="39"/>
                  </a:lnTo>
                  <a:lnTo>
                    <a:pt x="64" y="39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7" name="El Salvador">
              <a:extLst>
                <a:ext uri="{FF2B5EF4-FFF2-40B4-BE49-F238E27FC236}">
                  <a16:creationId xmlns:a16="http://schemas.microsoft.com/office/drawing/2014/main" id="{5EF53C06-B0DE-4B12-873D-632D42684D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8631" y="3519262"/>
              <a:ext cx="77787" cy="47625"/>
            </a:xfrm>
            <a:custGeom>
              <a:avLst/>
              <a:gdLst>
                <a:gd name="T0" fmla="*/ 47 w 49"/>
                <a:gd name="T1" fmla="*/ 24 h 30"/>
                <a:gd name="T2" fmla="*/ 49 w 49"/>
                <a:gd name="T3" fmla="*/ 15 h 30"/>
                <a:gd name="T4" fmla="*/ 46 w 49"/>
                <a:gd name="T5" fmla="*/ 12 h 30"/>
                <a:gd name="T6" fmla="*/ 43 w 49"/>
                <a:gd name="T7" fmla="*/ 10 h 30"/>
                <a:gd name="T8" fmla="*/ 33 w 49"/>
                <a:gd name="T9" fmla="*/ 13 h 30"/>
                <a:gd name="T10" fmla="*/ 33 w 49"/>
                <a:gd name="T11" fmla="*/ 10 h 30"/>
                <a:gd name="T12" fmla="*/ 27 w 49"/>
                <a:gd name="T13" fmla="*/ 6 h 30"/>
                <a:gd name="T14" fmla="*/ 23 w 49"/>
                <a:gd name="T15" fmla="*/ 2 h 30"/>
                <a:gd name="T16" fmla="*/ 17 w 49"/>
                <a:gd name="T17" fmla="*/ 0 h 30"/>
                <a:gd name="T18" fmla="*/ 12 w 49"/>
                <a:gd name="T19" fmla="*/ 1 h 30"/>
                <a:gd name="T20" fmla="*/ 13 w 49"/>
                <a:gd name="T21" fmla="*/ 3 h 30"/>
                <a:gd name="T22" fmla="*/ 9 w 49"/>
                <a:gd name="T23" fmla="*/ 6 h 30"/>
                <a:gd name="T24" fmla="*/ 1 w 49"/>
                <a:gd name="T25" fmla="*/ 12 h 30"/>
                <a:gd name="T26" fmla="*/ 0 w 49"/>
                <a:gd name="T27" fmla="*/ 16 h 30"/>
                <a:gd name="T28" fmla="*/ 5 w 49"/>
                <a:gd name="T29" fmla="*/ 20 h 30"/>
                <a:gd name="T30" fmla="*/ 17 w 49"/>
                <a:gd name="T31" fmla="*/ 22 h 30"/>
                <a:gd name="T32" fmla="*/ 25 w 49"/>
                <a:gd name="T33" fmla="*/ 27 h 30"/>
                <a:gd name="T34" fmla="*/ 32 w 49"/>
                <a:gd name="T35" fmla="*/ 30 h 30"/>
                <a:gd name="T36" fmla="*/ 45 w 49"/>
                <a:gd name="T37" fmla="*/ 30 h 30"/>
                <a:gd name="T38" fmla="*/ 47 w 49"/>
                <a:gd name="T39" fmla="*/ 24 h 30"/>
                <a:gd name="T40" fmla="*/ 47 w 49"/>
                <a:gd name="T41" fmla="*/ 2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9" h="30">
                  <a:moveTo>
                    <a:pt x="47" y="24"/>
                  </a:moveTo>
                  <a:lnTo>
                    <a:pt x="49" y="15"/>
                  </a:lnTo>
                  <a:lnTo>
                    <a:pt x="46" y="12"/>
                  </a:lnTo>
                  <a:lnTo>
                    <a:pt x="43" y="10"/>
                  </a:lnTo>
                  <a:lnTo>
                    <a:pt x="33" y="13"/>
                  </a:lnTo>
                  <a:lnTo>
                    <a:pt x="33" y="10"/>
                  </a:lnTo>
                  <a:lnTo>
                    <a:pt x="27" y="6"/>
                  </a:lnTo>
                  <a:lnTo>
                    <a:pt x="23" y="2"/>
                  </a:lnTo>
                  <a:lnTo>
                    <a:pt x="17" y="0"/>
                  </a:lnTo>
                  <a:lnTo>
                    <a:pt x="12" y="1"/>
                  </a:lnTo>
                  <a:lnTo>
                    <a:pt x="13" y="3"/>
                  </a:lnTo>
                  <a:lnTo>
                    <a:pt x="9" y="6"/>
                  </a:lnTo>
                  <a:lnTo>
                    <a:pt x="1" y="12"/>
                  </a:lnTo>
                  <a:lnTo>
                    <a:pt x="0" y="16"/>
                  </a:lnTo>
                  <a:lnTo>
                    <a:pt x="5" y="20"/>
                  </a:lnTo>
                  <a:lnTo>
                    <a:pt x="17" y="22"/>
                  </a:lnTo>
                  <a:lnTo>
                    <a:pt x="25" y="27"/>
                  </a:lnTo>
                  <a:lnTo>
                    <a:pt x="32" y="30"/>
                  </a:lnTo>
                  <a:lnTo>
                    <a:pt x="45" y="30"/>
                  </a:lnTo>
                  <a:lnTo>
                    <a:pt x="47" y="24"/>
                  </a:lnTo>
                  <a:lnTo>
                    <a:pt x="47" y="24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8" name="Serbia">
              <a:extLst>
                <a:ext uri="{FF2B5EF4-FFF2-40B4-BE49-F238E27FC236}">
                  <a16:creationId xmlns:a16="http://schemas.microsoft.com/office/drawing/2014/main" id="{866597E2-E24F-4C64-93CD-325B9120247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3994" y="2323874"/>
              <a:ext cx="134937" cy="144463"/>
            </a:xfrm>
            <a:custGeom>
              <a:avLst/>
              <a:gdLst>
                <a:gd name="T0" fmla="*/ 52 w 85"/>
                <a:gd name="T1" fmla="*/ 23 h 91"/>
                <a:gd name="T2" fmla="*/ 40 w 85"/>
                <a:gd name="T3" fmla="*/ 18 h 91"/>
                <a:gd name="T4" fmla="*/ 37 w 85"/>
                <a:gd name="T5" fmla="*/ 10 h 91"/>
                <a:gd name="T6" fmla="*/ 27 w 85"/>
                <a:gd name="T7" fmla="*/ 1 h 91"/>
                <a:gd name="T8" fmla="*/ 14 w 85"/>
                <a:gd name="T9" fmla="*/ 0 h 91"/>
                <a:gd name="T10" fmla="*/ 0 w 85"/>
                <a:gd name="T11" fmla="*/ 7 h 91"/>
                <a:gd name="T12" fmla="*/ 0 w 85"/>
                <a:gd name="T13" fmla="*/ 7 h 91"/>
                <a:gd name="T14" fmla="*/ 6 w 85"/>
                <a:gd name="T15" fmla="*/ 15 h 91"/>
                <a:gd name="T16" fmla="*/ 13 w 85"/>
                <a:gd name="T17" fmla="*/ 23 h 91"/>
                <a:gd name="T18" fmla="*/ 6 w 85"/>
                <a:gd name="T19" fmla="*/ 31 h 91"/>
                <a:gd name="T20" fmla="*/ 6 w 85"/>
                <a:gd name="T21" fmla="*/ 31 h 91"/>
                <a:gd name="T22" fmla="*/ 13 w 85"/>
                <a:gd name="T23" fmla="*/ 31 h 91"/>
                <a:gd name="T24" fmla="*/ 9 w 85"/>
                <a:gd name="T25" fmla="*/ 41 h 91"/>
                <a:gd name="T26" fmla="*/ 19 w 85"/>
                <a:gd name="T27" fmla="*/ 50 h 91"/>
                <a:gd name="T28" fmla="*/ 17 w 85"/>
                <a:gd name="T29" fmla="*/ 60 h 91"/>
                <a:gd name="T30" fmla="*/ 13 w 85"/>
                <a:gd name="T31" fmla="*/ 62 h 91"/>
                <a:gd name="T32" fmla="*/ 18 w 85"/>
                <a:gd name="T33" fmla="*/ 65 h 91"/>
                <a:gd name="T34" fmla="*/ 21 w 85"/>
                <a:gd name="T35" fmla="*/ 68 h 91"/>
                <a:gd name="T36" fmla="*/ 28 w 85"/>
                <a:gd name="T37" fmla="*/ 71 h 91"/>
                <a:gd name="T38" fmla="*/ 36 w 85"/>
                <a:gd name="T39" fmla="*/ 76 h 91"/>
                <a:gd name="T40" fmla="*/ 34 w 85"/>
                <a:gd name="T41" fmla="*/ 78 h 91"/>
                <a:gd name="T42" fmla="*/ 39 w 85"/>
                <a:gd name="T43" fmla="*/ 76 h 91"/>
                <a:gd name="T44" fmla="*/ 41 w 85"/>
                <a:gd name="T45" fmla="*/ 68 h 91"/>
                <a:gd name="T46" fmla="*/ 43 w 85"/>
                <a:gd name="T47" fmla="*/ 67 h 91"/>
                <a:gd name="T48" fmla="*/ 47 w 85"/>
                <a:gd name="T49" fmla="*/ 70 h 91"/>
                <a:gd name="T50" fmla="*/ 51 w 85"/>
                <a:gd name="T51" fmla="*/ 72 h 91"/>
                <a:gd name="T52" fmla="*/ 54 w 85"/>
                <a:gd name="T53" fmla="*/ 76 h 91"/>
                <a:gd name="T54" fmla="*/ 56 w 85"/>
                <a:gd name="T55" fmla="*/ 77 h 91"/>
                <a:gd name="T56" fmla="*/ 60 w 85"/>
                <a:gd name="T57" fmla="*/ 80 h 91"/>
                <a:gd name="T58" fmla="*/ 64 w 85"/>
                <a:gd name="T59" fmla="*/ 80 h 91"/>
                <a:gd name="T60" fmla="*/ 62 w 85"/>
                <a:gd name="T61" fmla="*/ 86 h 91"/>
                <a:gd name="T62" fmla="*/ 60 w 85"/>
                <a:gd name="T63" fmla="*/ 89 h 91"/>
                <a:gd name="T64" fmla="*/ 60 w 85"/>
                <a:gd name="T65" fmla="*/ 91 h 91"/>
                <a:gd name="T66" fmla="*/ 67 w 85"/>
                <a:gd name="T67" fmla="*/ 90 h 91"/>
                <a:gd name="T68" fmla="*/ 76 w 85"/>
                <a:gd name="T69" fmla="*/ 89 h 91"/>
                <a:gd name="T70" fmla="*/ 79 w 85"/>
                <a:gd name="T71" fmla="*/ 86 h 91"/>
                <a:gd name="T72" fmla="*/ 76 w 85"/>
                <a:gd name="T73" fmla="*/ 83 h 91"/>
                <a:gd name="T74" fmla="*/ 79 w 85"/>
                <a:gd name="T75" fmla="*/ 76 h 91"/>
                <a:gd name="T76" fmla="*/ 85 w 85"/>
                <a:gd name="T77" fmla="*/ 68 h 91"/>
                <a:gd name="T78" fmla="*/ 75 w 85"/>
                <a:gd name="T79" fmla="*/ 59 h 91"/>
                <a:gd name="T80" fmla="*/ 72 w 85"/>
                <a:gd name="T81" fmla="*/ 51 h 91"/>
                <a:gd name="T82" fmla="*/ 76 w 85"/>
                <a:gd name="T83" fmla="*/ 45 h 91"/>
                <a:gd name="T84" fmla="*/ 72 w 85"/>
                <a:gd name="T85" fmla="*/ 41 h 91"/>
                <a:gd name="T86" fmla="*/ 77 w 85"/>
                <a:gd name="T87" fmla="*/ 37 h 91"/>
                <a:gd name="T88" fmla="*/ 71 w 85"/>
                <a:gd name="T89" fmla="*/ 35 h 91"/>
                <a:gd name="T90" fmla="*/ 66 w 85"/>
                <a:gd name="T91" fmla="*/ 39 h 91"/>
                <a:gd name="T92" fmla="*/ 55 w 85"/>
                <a:gd name="T93" fmla="*/ 33 h 91"/>
                <a:gd name="T94" fmla="*/ 52 w 85"/>
                <a:gd name="T95" fmla="*/ 23 h 91"/>
                <a:gd name="T96" fmla="*/ 52 w 85"/>
                <a:gd name="T97" fmla="*/ 23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5" h="91">
                  <a:moveTo>
                    <a:pt x="52" y="23"/>
                  </a:moveTo>
                  <a:lnTo>
                    <a:pt x="40" y="18"/>
                  </a:lnTo>
                  <a:lnTo>
                    <a:pt x="37" y="10"/>
                  </a:lnTo>
                  <a:lnTo>
                    <a:pt x="27" y="1"/>
                  </a:lnTo>
                  <a:lnTo>
                    <a:pt x="14" y="0"/>
                  </a:lnTo>
                  <a:lnTo>
                    <a:pt x="0" y="7"/>
                  </a:lnTo>
                  <a:lnTo>
                    <a:pt x="0" y="7"/>
                  </a:lnTo>
                  <a:lnTo>
                    <a:pt x="6" y="15"/>
                  </a:lnTo>
                  <a:lnTo>
                    <a:pt x="13" y="23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13" y="31"/>
                  </a:lnTo>
                  <a:lnTo>
                    <a:pt x="9" y="41"/>
                  </a:lnTo>
                  <a:lnTo>
                    <a:pt x="19" y="50"/>
                  </a:lnTo>
                  <a:lnTo>
                    <a:pt x="17" y="60"/>
                  </a:lnTo>
                  <a:lnTo>
                    <a:pt x="13" y="62"/>
                  </a:lnTo>
                  <a:lnTo>
                    <a:pt x="18" y="65"/>
                  </a:lnTo>
                  <a:lnTo>
                    <a:pt x="21" y="68"/>
                  </a:lnTo>
                  <a:lnTo>
                    <a:pt x="28" y="71"/>
                  </a:lnTo>
                  <a:lnTo>
                    <a:pt x="36" y="76"/>
                  </a:lnTo>
                  <a:lnTo>
                    <a:pt x="34" y="78"/>
                  </a:lnTo>
                  <a:lnTo>
                    <a:pt x="39" y="76"/>
                  </a:lnTo>
                  <a:lnTo>
                    <a:pt x="41" y="68"/>
                  </a:lnTo>
                  <a:lnTo>
                    <a:pt x="43" y="67"/>
                  </a:lnTo>
                  <a:lnTo>
                    <a:pt x="47" y="70"/>
                  </a:lnTo>
                  <a:lnTo>
                    <a:pt x="51" y="72"/>
                  </a:lnTo>
                  <a:lnTo>
                    <a:pt x="54" y="76"/>
                  </a:lnTo>
                  <a:lnTo>
                    <a:pt x="56" y="77"/>
                  </a:lnTo>
                  <a:lnTo>
                    <a:pt x="60" y="80"/>
                  </a:lnTo>
                  <a:lnTo>
                    <a:pt x="64" y="80"/>
                  </a:lnTo>
                  <a:lnTo>
                    <a:pt x="62" y="86"/>
                  </a:lnTo>
                  <a:lnTo>
                    <a:pt x="60" y="89"/>
                  </a:lnTo>
                  <a:lnTo>
                    <a:pt x="60" y="91"/>
                  </a:lnTo>
                  <a:lnTo>
                    <a:pt x="67" y="90"/>
                  </a:lnTo>
                  <a:lnTo>
                    <a:pt x="76" y="89"/>
                  </a:lnTo>
                  <a:lnTo>
                    <a:pt x="79" y="86"/>
                  </a:lnTo>
                  <a:lnTo>
                    <a:pt x="76" y="83"/>
                  </a:lnTo>
                  <a:lnTo>
                    <a:pt x="79" y="76"/>
                  </a:lnTo>
                  <a:lnTo>
                    <a:pt x="85" y="68"/>
                  </a:lnTo>
                  <a:lnTo>
                    <a:pt x="75" y="59"/>
                  </a:lnTo>
                  <a:lnTo>
                    <a:pt x="72" y="51"/>
                  </a:lnTo>
                  <a:lnTo>
                    <a:pt x="76" y="45"/>
                  </a:lnTo>
                  <a:lnTo>
                    <a:pt x="72" y="41"/>
                  </a:lnTo>
                  <a:lnTo>
                    <a:pt x="77" y="37"/>
                  </a:lnTo>
                  <a:lnTo>
                    <a:pt x="71" y="35"/>
                  </a:lnTo>
                  <a:lnTo>
                    <a:pt x="66" y="39"/>
                  </a:lnTo>
                  <a:lnTo>
                    <a:pt x="55" y="33"/>
                  </a:lnTo>
                  <a:lnTo>
                    <a:pt x="52" y="23"/>
                  </a:lnTo>
                  <a:lnTo>
                    <a:pt x="52" y="23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9" name="Suriname">
              <a:extLst>
                <a:ext uri="{FF2B5EF4-FFF2-40B4-BE49-F238E27FC236}">
                  <a16:creationId xmlns:a16="http://schemas.microsoft.com/office/drawing/2014/main" id="{191C098C-53F4-4572-9802-8646A1B63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3206" y="3835174"/>
              <a:ext cx="138112" cy="157163"/>
            </a:xfrm>
            <a:custGeom>
              <a:avLst/>
              <a:gdLst>
                <a:gd name="T0" fmla="*/ 64 w 87"/>
                <a:gd name="T1" fmla="*/ 0 h 99"/>
                <a:gd name="T2" fmla="*/ 48 w 87"/>
                <a:gd name="T3" fmla="*/ 1 h 99"/>
                <a:gd name="T4" fmla="*/ 45 w 87"/>
                <a:gd name="T5" fmla="*/ 6 h 99"/>
                <a:gd name="T6" fmla="*/ 20 w 87"/>
                <a:gd name="T7" fmla="*/ 1 h 99"/>
                <a:gd name="T8" fmla="*/ 16 w 87"/>
                <a:gd name="T9" fmla="*/ 23 h 99"/>
                <a:gd name="T10" fmla="*/ 3 w 87"/>
                <a:gd name="T11" fmla="*/ 28 h 99"/>
                <a:gd name="T12" fmla="*/ 5 w 87"/>
                <a:gd name="T13" fmla="*/ 34 h 99"/>
                <a:gd name="T14" fmla="*/ 0 w 87"/>
                <a:gd name="T15" fmla="*/ 46 h 99"/>
                <a:gd name="T16" fmla="*/ 9 w 87"/>
                <a:gd name="T17" fmla="*/ 64 h 99"/>
                <a:gd name="T18" fmla="*/ 16 w 87"/>
                <a:gd name="T19" fmla="*/ 64 h 99"/>
                <a:gd name="T20" fmla="*/ 19 w 87"/>
                <a:gd name="T21" fmla="*/ 77 h 99"/>
                <a:gd name="T22" fmla="*/ 31 w 87"/>
                <a:gd name="T23" fmla="*/ 98 h 99"/>
                <a:gd name="T24" fmla="*/ 42 w 87"/>
                <a:gd name="T25" fmla="*/ 99 h 99"/>
                <a:gd name="T26" fmla="*/ 44 w 87"/>
                <a:gd name="T27" fmla="*/ 95 h 99"/>
                <a:gd name="T28" fmla="*/ 41 w 87"/>
                <a:gd name="T29" fmla="*/ 90 h 99"/>
                <a:gd name="T30" fmla="*/ 43 w 87"/>
                <a:gd name="T31" fmla="*/ 84 h 99"/>
                <a:gd name="T32" fmla="*/ 51 w 87"/>
                <a:gd name="T33" fmla="*/ 85 h 99"/>
                <a:gd name="T34" fmla="*/ 62 w 87"/>
                <a:gd name="T35" fmla="*/ 83 h 99"/>
                <a:gd name="T36" fmla="*/ 74 w 87"/>
                <a:gd name="T37" fmla="*/ 88 h 99"/>
                <a:gd name="T38" fmla="*/ 78 w 87"/>
                <a:gd name="T39" fmla="*/ 78 h 99"/>
                <a:gd name="T40" fmla="*/ 81 w 87"/>
                <a:gd name="T41" fmla="*/ 68 h 99"/>
                <a:gd name="T42" fmla="*/ 85 w 87"/>
                <a:gd name="T43" fmla="*/ 56 h 99"/>
                <a:gd name="T44" fmla="*/ 77 w 87"/>
                <a:gd name="T45" fmla="*/ 43 h 99"/>
                <a:gd name="T46" fmla="*/ 76 w 87"/>
                <a:gd name="T47" fmla="*/ 27 h 99"/>
                <a:gd name="T48" fmla="*/ 87 w 87"/>
                <a:gd name="T49" fmla="*/ 6 h 99"/>
                <a:gd name="T50" fmla="*/ 64 w 87"/>
                <a:gd name="T51" fmla="*/ 0 h 99"/>
                <a:gd name="T52" fmla="*/ 64 w 87"/>
                <a:gd name="T53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7" h="99">
                  <a:moveTo>
                    <a:pt x="64" y="0"/>
                  </a:moveTo>
                  <a:lnTo>
                    <a:pt x="48" y="1"/>
                  </a:lnTo>
                  <a:lnTo>
                    <a:pt x="45" y="6"/>
                  </a:lnTo>
                  <a:lnTo>
                    <a:pt x="20" y="1"/>
                  </a:lnTo>
                  <a:lnTo>
                    <a:pt x="16" y="23"/>
                  </a:lnTo>
                  <a:lnTo>
                    <a:pt x="3" y="28"/>
                  </a:lnTo>
                  <a:lnTo>
                    <a:pt x="5" y="34"/>
                  </a:lnTo>
                  <a:lnTo>
                    <a:pt x="0" y="46"/>
                  </a:lnTo>
                  <a:lnTo>
                    <a:pt x="9" y="64"/>
                  </a:lnTo>
                  <a:lnTo>
                    <a:pt x="16" y="64"/>
                  </a:lnTo>
                  <a:lnTo>
                    <a:pt x="19" y="77"/>
                  </a:lnTo>
                  <a:lnTo>
                    <a:pt x="31" y="98"/>
                  </a:lnTo>
                  <a:lnTo>
                    <a:pt x="42" y="99"/>
                  </a:lnTo>
                  <a:lnTo>
                    <a:pt x="44" y="95"/>
                  </a:lnTo>
                  <a:lnTo>
                    <a:pt x="41" y="90"/>
                  </a:lnTo>
                  <a:lnTo>
                    <a:pt x="43" y="84"/>
                  </a:lnTo>
                  <a:lnTo>
                    <a:pt x="51" y="85"/>
                  </a:lnTo>
                  <a:lnTo>
                    <a:pt x="62" y="83"/>
                  </a:lnTo>
                  <a:lnTo>
                    <a:pt x="74" y="88"/>
                  </a:lnTo>
                  <a:lnTo>
                    <a:pt x="78" y="78"/>
                  </a:lnTo>
                  <a:lnTo>
                    <a:pt x="81" y="68"/>
                  </a:lnTo>
                  <a:lnTo>
                    <a:pt x="85" y="56"/>
                  </a:lnTo>
                  <a:lnTo>
                    <a:pt x="77" y="43"/>
                  </a:lnTo>
                  <a:lnTo>
                    <a:pt x="76" y="27"/>
                  </a:lnTo>
                  <a:lnTo>
                    <a:pt x="87" y="6"/>
                  </a:lnTo>
                  <a:lnTo>
                    <a:pt x="64" y="0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0" name="Slovakia">
              <a:extLst>
                <a:ext uri="{FF2B5EF4-FFF2-40B4-BE49-F238E27FC236}">
                  <a16:creationId xmlns:a16="http://schemas.microsoft.com/office/drawing/2014/main" id="{78CB6A90-8A90-4550-94FD-8A6D67B2E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8906" y="2200049"/>
              <a:ext cx="163512" cy="66675"/>
            </a:xfrm>
            <a:custGeom>
              <a:avLst/>
              <a:gdLst>
                <a:gd name="T0" fmla="*/ 103 w 103"/>
                <a:gd name="T1" fmla="*/ 11 h 42"/>
                <a:gd name="T2" fmla="*/ 84 w 103"/>
                <a:gd name="T3" fmla="*/ 2 h 42"/>
                <a:gd name="T4" fmla="*/ 71 w 103"/>
                <a:gd name="T5" fmla="*/ 5 h 42"/>
                <a:gd name="T6" fmla="*/ 63 w 103"/>
                <a:gd name="T7" fmla="*/ 2 h 42"/>
                <a:gd name="T8" fmla="*/ 53 w 103"/>
                <a:gd name="T9" fmla="*/ 7 h 42"/>
                <a:gd name="T10" fmla="*/ 42 w 103"/>
                <a:gd name="T11" fmla="*/ 0 h 42"/>
                <a:gd name="T12" fmla="*/ 35 w 103"/>
                <a:gd name="T13" fmla="*/ 2 h 42"/>
                <a:gd name="T14" fmla="*/ 34 w 103"/>
                <a:gd name="T15" fmla="*/ 2 h 42"/>
                <a:gd name="T16" fmla="*/ 28 w 103"/>
                <a:gd name="T17" fmla="*/ 2 h 42"/>
                <a:gd name="T18" fmla="*/ 26 w 103"/>
                <a:gd name="T19" fmla="*/ 5 h 42"/>
                <a:gd name="T20" fmla="*/ 22 w 103"/>
                <a:gd name="T21" fmla="*/ 6 h 42"/>
                <a:gd name="T22" fmla="*/ 21 w 103"/>
                <a:gd name="T23" fmla="*/ 12 h 42"/>
                <a:gd name="T24" fmla="*/ 18 w 103"/>
                <a:gd name="T25" fmla="*/ 13 h 42"/>
                <a:gd name="T26" fmla="*/ 17 w 103"/>
                <a:gd name="T27" fmla="*/ 15 h 42"/>
                <a:gd name="T28" fmla="*/ 12 w 103"/>
                <a:gd name="T29" fmla="*/ 17 h 42"/>
                <a:gd name="T30" fmla="*/ 3 w 103"/>
                <a:gd name="T31" fmla="*/ 16 h 42"/>
                <a:gd name="T32" fmla="*/ 1 w 103"/>
                <a:gd name="T33" fmla="*/ 22 h 42"/>
                <a:gd name="T34" fmla="*/ 0 w 103"/>
                <a:gd name="T35" fmla="*/ 25 h 42"/>
                <a:gd name="T36" fmla="*/ 2 w 103"/>
                <a:gd name="T37" fmla="*/ 33 h 42"/>
                <a:gd name="T38" fmla="*/ 12 w 103"/>
                <a:gd name="T39" fmla="*/ 39 h 42"/>
                <a:gd name="T40" fmla="*/ 19 w 103"/>
                <a:gd name="T41" fmla="*/ 42 h 42"/>
                <a:gd name="T42" fmla="*/ 35 w 103"/>
                <a:gd name="T43" fmla="*/ 39 h 42"/>
                <a:gd name="T44" fmla="*/ 36 w 103"/>
                <a:gd name="T45" fmla="*/ 34 h 42"/>
                <a:gd name="T46" fmla="*/ 43 w 103"/>
                <a:gd name="T47" fmla="*/ 33 h 42"/>
                <a:gd name="T48" fmla="*/ 52 w 103"/>
                <a:gd name="T49" fmla="*/ 30 h 42"/>
                <a:gd name="T50" fmla="*/ 54 w 103"/>
                <a:gd name="T51" fmla="*/ 31 h 42"/>
                <a:gd name="T52" fmla="*/ 62 w 103"/>
                <a:gd name="T53" fmla="*/ 29 h 42"/>
                <a:gd name="T54" fmla="*/ 66 w 103"/>
                <a:gd name="T55" fmla="*/ 23 h 42"/>
                <a:gd name="T56" fmla="*/ 71 w 103"/>
                <a:gd name="T57" fmla="*/ 21 h 42"/>
                <a:gd name="T58" fmla="*/ 92 w 103"/>
                <a:gd name="T59" fmla="*/ 29 h 42"/>
                <a:gd name="T60" fmla="*/ 96 w 103"/>
                <a:gd name="T61" fmla="*/ 26 h 42"/>
                <a:gd name="T62" fmla="*/ 98 w 103"/>
                <a:gd name="T63" fmla="*/ 16 h 42"/>
                <a:gd name="T64" fmla="*/ 103 w 103"/>
                <a:gd name="T65" fmla="*/ 11 h 42"/>
                <a:gd name="T66" fmla="*/ 103 w 103"/>
                <a:gd name="T67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3" h="42">
                  <a:moveTo>
                    <a:pt x="103" y="11"/>
                  </a:moveTo>
                  <a:lnTo>
                    <a:pt x="84" y="2"/>
                  </a:lnTo>
                  <a:lnTo>
                    <a:pt x="71" y="5"/>
                  </a:lnTo>
                  <a:lnTo>
                    <a:pt x="63" y="2"/>
                  </a:lnTo>
                  <a:lnTo>
                    <a:pt x="53" y="7"/>
                  </a:lnTo>
                  <a:lnTo>
                    <a:pt x="42" y="0"/>
                  </a:lnTo>
                  <a:lnTo>
                    <a:pt x="35" y="2"/>
                  </a:lnTo>
                  <a:lnTo>
                    <a:pt x="34" y="2"/>
                  </a:lnTo>
                  <a:lnTo>
                    <a:pt x="28" y="2"/>
                  </a:lnTo>
                  <a:lnTo>
                    <a:pt x="26" y="5"/>
                  </a:lnTo>
                  <a:lnTo>
                    <a:pt x="22" y="6"/>
                  </a:lnTo>
                  <a:lnTo>
                    <a:pt x="21" y="12"/>
                  </a:lnTo>
                  <a:lnTo>
                    <a:pt x="18" y="13"/>
                  </a:lnTo>
                  <a:lnTo>
                    <a:pt x="17" y="15"/>
                  </a:lnTo>
                  <a:lnTo>
                    <a:pt x="12" y="17"/>
                  </a:lnTo>
                  <a:lnTo>
                    <a:pt x="3" y="16"/>
                  </a:lnTo>
                  <a:lnTo>
                    <a:pt x="1" y="22"/>
                  </a:lnTo>
                  <a:lnTo>
                    <a:pt x="0" y="25"/>
                  </a:lnTo>
                  <a:lnTo>
                    <a:pt x="2" y="33"/>
                  </a:lnTo>
                  <a:lnTo>
                    <a:pt x="12" y="39"/>
                  </a:lnTo>
                  <a:lnTo>
                    <a:pt x="19" y="42"/>
                  </a:lnTo>
                  <a:lnTo>
                    <a:pt x="35" y="39"/>
                  </a:lnTo>
                  <a:lnTo>
                    <a:pt x="36" y="34"/>
                  </a:lnTo>
                  <a:lnTo>
                    <a:pt x="43" y="33"/>
                  </a:lnTo>
                  <a:lnTo>
                    <a:pt x="52" y="30"/>
                  </a:lnTo>
                  <a:lnTo>
                    <a:pt x="54" y="31"/>
                  </a:lnTo>
                  <a:lnTo>
                    <a:pt x="62" y="29"/>
                  </a:lnTo>
                  <a:lnTo>
                    <a:pt x="66" y="23"/>
                  </a:lnTo>
                  <a:lnTo>
                    <a:pt x="71" y="21"/>
                  </a:lnTo>
                  <a:lnTo>
                    <a:pt x="92" y="29"/>
                  </a:lnTo>
                  <a:lnTo>
                    <a:pt x="96" y="26"/>
                  </a:lnTo>
                  <a:lnTo>
                    <a:pt x="98" y="16"/>
                  </a:lnTo>
                  <a:lnTo>
                    <a:pt x="103" y="11"/>
                  </a:lnTo>
                  <a:lnTo>
                    <a:pt x="103" y="11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1" name="Slovenia">
              <a:extLst>
                <a:ext uri="{FF2B5EF4-FFF2-40B4-BE49-F238E27FC236}">
                  <a16:creationId xmlns:a16="http://schemas.microsoft.com/office/drawing/2014/main" id="{01E8DD56-9701-4696-9B4D-6AC8A7411E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1594" y="2298474"/>
              <a:ext cx="84137" cy="52388"/>
            </a:xfrm>
            <a:custGeom>
              <a:avLst/>
              <a:gdLst>
                <a:gd name="T0" fmla="*/ 53 w 53"/>
                <a:gd name="T1" fmla="*/ 9 h 33"/>
                <a:gd name="T2" fmla="*/ 49 w 53"/>
                <a:gd name="T3" fmla="*/ 1 h 33"/>
                <a:gd name="T4" fmla="*/ 46 w 53"/>
                <a:gd name="T5" fmla="*/ 0 h 33"/>
                <a:gd name="T6" fmla="*/ 42 w 53"/>
                <a:gd name="T7" fmla="*/ 5 h 33"/>
                <a:gd name="T8" fmla="*/ 26 w 53"/>
                <a:gd name="T9" fmla="*/ 5 h 33"/>
                <a:gd name="T10" fmla="*/ 17 w 53"/>
                <a:gd name="T11" fmla="*/ 10 h 33"/>
                <a:gd name="T12" fmla="*/ 1 w 53"/>
                <a:gd name="T13" fmla="*/ 9 h 33"/>
                <a:gd name="T14" fmla="*/ 0 w 53"/>
                <a:gd name="T15" fmla="*/ 20 h 33"/>
                <a:gd name="T16" fmla="*/ 6 w 53"/>
                <a:gd name="T17" fmla="*/ 30 h 33"/>
                <a:gd name="T18" fmla="*/ 1 w 53"/>
                <a:gd name="T19" fmla="*/ 32 h 33"/>
                <a:gd name="T20" fmla="*/ 14 w 53"/>
                <a:gd name="T21" fmla="*/ 33 h 33"/>
                <a:gd name="T22" fmla="*/ 18 w 53"/>
                <a:gd name="T23" fmla="*/ 29 h 33"/>
                <a:gd name="T24" fmla="*/ 25 w 53"/>
                <a:gd name="T25" fmla="*/ 33 h 33"/>
                <a:gd name="T26" fmla="*/ 32 w 53"/>
                <a:gd name="T27" fmla="*/ 33 h 33"/>
                <a:gd name="T28" fmla="*/ 31 w 53"/>
                <a:gd name="T29" fmla="*/ 26 h 33"/>
                <a:gd name="T30" fmla="*/ 38 w 53"/>
                <a:gd name="T31" fmla="*/ 24 h 33"/>
                <a:gd name="T32" fmla="*/ 39 w 53"/>
                <a:gd name="T33" fmla="*/ 15 h 33"/>
                <a:gd name="T34" fmla="*/ 53 w 53"/>
                <a:gd name="T35" fmla="*/ 9 h 33"/>
                <a:gd name="T36" fmla="*/ 53 w 53"/>
                <a:gd name="T37" fmla="*/ 9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3" h="33">
                  <a:moveTo>
                    <a:pt x="53" y="9"/>
                  </a:moveTo>
                  <a:lnTo>
                    <a:pt x="49" y="1"/>
                  </a:lnTo>
                  <a:lnTo>
                    <a:pt x="46" y="0"/>
                  </a:lnTo>
                  <a:lnTo>
                    <a:pt x="42" y="5"/>
                  </a:lnTo>
                  <a:lnTo>
                    <a:pt x="26" y="5"/>
                  </a:lnTo>
                  <a:lnTo>
                    <a:pt x="17" y="10"/>
                  </a:lnTo>
                  <a:lnTo>
                    <a:pt x="1" y="9"/>
                  </a:lnTo>
                  <a:lnTo>
                    <a:pt x="0" y="20"/>
                  </a:lnTo>
                  <a:lnTo>
                    <a:pt x="6" y="30"/>
                  </a:lnTo>
                  <a:lnTo>
                    <a:pt x="1" y="32"/>
                  </a:lnTo>
                  <a:lnTo>
                    <a:pt x="14" y="33"/>
                  </a:lnTo>
                  <a:lnTo>
                    <a:pt x="18" y="29"/>
                  </a:lnTo>
                  <a:lnTo>
                    <a:pt x="25" y="33"/>
                  </a:lnTo>
                  <a:lnTo>
                    <a:pt x="32" y="33"/>
                  </a:lnTo>
                  <a:lnTo>
                    <a:pt x="31" y="26"/>
                  </a:lnTo>
                  <a:lnTo>
                    <a:pt x="38" y="24"/>
                  </a:lnTo>
                  <a:lnTo>
                    <a:pt x="39" y="15"/>
                  </a:lnTo>
                  <a:lnTo>
                    <a:pt x="53" y="9"/>
                  </a:lnTo>
                  <a:lnTo>
                    <a:pt x="53" y="9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2" name="Sweden">
              <a:extLst>
                <a:ext uri="{FF2B5EF4-FFF2-40B4-BE49-F238E27FC236}">
                  <a16:creationId xmlns:a16="http://schemas.microsoft.com/office/drawing/2014/main" id="{49B85BDF-D4D4-40E9-BF73-CE282DAB521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2056" y="1523774"/>
              <a:ext cx="303212" cy="466724"/>
            </a:xfrm>
            <a:custGeom>
              <a:avLst/>
              <a:gdLst>
                <a:gd name="T0" fmla="*/ 191 w 191"/>
                <a:gd name="T1" fmla="*/ 63 h 294"/>
                <a:gd name="T2" fmla="*/ 183 w 191"/>
                <a:gd name="T3" fmla="*/ 56 h 294"/>
                <a:gd name="T4" fmla="*/ 177 w 191"/>
                <a:gd name="T5" fmla="*/ 24 h 294"/>
                <a:gd name="T6" fmla="*/ 150 w 191"/>
                <a:gd name="T7" fmla="*/ 10 h 294"/>
                <a:gd name="T8" fmla="*/ 128 w 191"/>
                <a:gd name="T9" fmla="*/ 0 h 294"/>
                <a:gd name="T10" fmla="*/ 119 w 191"/>
                <a:gd name="T11" fmla="*/ 2 h 294"/>
                <a:gd name="T12" fmla="*/ 119 w 191"/>
                <a:gd name="T13" fmla="*/ 15 h 294"/>
                <a:gd name="T14" fmla="*/ 89 w 191"/>
                <a:gd name="T15" fmla="*/ 11 h 294"/>
                <a:gd name="T16" fmla="*/ 87 w 191"/>
                <a:gd name="T17" fmla="*/ 22 h 294"/>
                <a:gd name="T18" fmla="*/ 72 w 191"/>
                <a:gd name="T19" fmla="*/ 22 h 294"/>
                <a:gd name="T20" fmla="*/ 64 w 191"/>
                <a:gd name="T21" fmla="*/ 37 h 294"/>
                <a:gd name="T22" fmla="*/ 52 w 191"/>
                <a:gd name="T23" fmla="*/ 60 h 294"/>
                <a:gd name="T24" fmla="*/ 30 w 191"/>
                <a:gd name="T25" fmla="*/ 90 h 294"/>
                <a:gd name="T26" fmla="*/ 37 w 191"/>
                <a:gd name="T27" fmla="*/ 96 h 294"/>
                <a:gd name="T28" fmla="*/ 32 w 191"/>
                <a:gd name="T29" fmla="*/ 104 h 294"/>
                <a:gd name="T30" fmla="*/ 16 w 191"/>
                <a:gd name="T31" fmla="*/ 104 h 294"/>
                <a:gd name="T32" fmla="*/ 7 w 191"/>
                <a:gd name="T33" fmla="*/ 124 h 294"/>
                <a:gd name="T34" fmla="*/ 10 w 191"/>
                <a:gd name="T35" fmla="*/ 152 h 294"/>
                <a:gd name="T36" fmla="*/ 23 w 191"/>
                <a:gd name="T37" fmla="*/ 163 h 294"/>
                <a:gd name="T38" fmla="*/ 19 w 191"/>
                <a:gd name="T39" fmla="*/ 189 h 294"/>
                <a:gd name="T40" fmla="*/ 7 w 191"/>
                <a:gd name="T41" fmla="*/ 203 h 294"/>
                <a:gd name="T42" fmla="*/ 0 w 191"/>
                <a:gd name="T43" fmla="*/ 217 h 294"/>
                <a:gd name="T44" fmla="*/ 16 w 191"/>
                <a:gd name="T45" fmla="*/ 247 h 294"/>
                <a:gd name="T46" fmla="*/ 32 w 191"/>
                <a:gd name="T47" fmla="*/ 273 h 294"/>
                <a:gd name="T48" fmla="*/ 39 w 191"/>
                <a:gd name="T49" fmla="*/ 294 h 294"/>
                <a:gd name="T50" fmla="*/ 59 w 191"/>
                <a:gd name="T51" fmla="*/ 293 h 294"/>
                <a:gd name="T52" fmla="*/ 67 w 191"/>
                <a:gd name="T53" fmla="*/ 275 h 294"/>
                <a:gd name="T54" fmla="*/ 89 w 191"/>
                <a:gd name="T55" fmla="*/ 277 h 294"/>
                <a:gd name="T56" fmla="*/ 96 w 191"/>
                <a:gd name="T57" fmla="*/ 257 h 294"/>
                <a:gd name="T58" fmla="*/ 98 w 191"/>
                <a:gd name="T59" fmla="*/ 219 h 294"/>
                <a:gd name="T60" fmla="*/ 116 w 191"/>
                <a:gd name="T61" fmla="*/ 215 h 294"/>
                <a:gd name="T62" fmla="*/ 128 w 191"/>
                <a:gd name="T63" fmla="*/ 189 h 294"/>
                <a:gd name="T64" fmla="*/ 110 w 191"/>
                <a:gd name="T65" fmla="*/ 177 h 294"/>
                <a:gd name="T66" fmla="*/ 96 w 191"/>
                <a:gd name="T67" fmla="*/ 162 h 294"/>
                <a:gd name="T68" fmla="*/ 105 w 191"/>
                <a:gd name="T69" fmla="*/ 132 h 294"/>
                <a:gd name="T70" fmla="*/ 134 w 191"/>
                <a:gd name="T71" fmla="*/ 114 h 294"/>
                <a:gd name="T72" fmla="*/ 156 w 191"/>
                <a:gd name="T73" fmla="*/ 97 h 294"/>
                <a:gd name="T74" fmla="*/ 151 w 191"/>
                <a:gd name="T75" fmla="*/ 84 h 294"/>
                <a:gd name="T76" fmla="*/ 164 w 191"/>
                <a:gd name="T77" fmla="*/ 69 h 294"/>
                <a:gd name="T78" fmla="*/ 191 w 191"/>
                <a:gd name="T79" fmla="*/ 63 h 294"/>
                <a:gd name="T80" fmla="*/ 191 w 191"/>
                <a:gd name="T81" fmla="*/ 63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91" h="294">
                  <a:moveTo>
                    <a:pt x="191" y="63"/>
                  </a:moveTo>
                  <a:lnTo>
                    <a:pt x="183" y="56"/>
                  </a:lnTo>
                  <a:lnTo>
                    <a:pt x="177" y="24"/>
                  </a:lnTo>
                  <a:lnTo>
                    <a:pt x="150" y="10"/>
                  </a:lnTo>
                  <a:lnTo>
                    <a:pt x="128" y="0"/>
                  </a:lnTo>
                  <a:lnTo>
                    <a:pt x="119" y="2"/>
                  </a:lnTo>
                  <a:lnTo>
                    <a:pt x="119" y="15"/>
                  </a:lnTo>
                  <a:lnTo>
                    <a:pt x="89" y="11"/>
                  </a:lnTo>
                  <a:lnTo>
                    <a:pt x="87" y="22"/>
                  </a:lnTo>
                  <a:lnTo>
                    <a:pt x="72" y="22"/>
                  </a:lnTo>
                  <a:lnTo>
                    <a:pt x="64" y="37"/>
                  </a:lnTo>
                  <a:lnTo>
                    <a:pt x="52" y="60"/>
                  </a:lnTo>
                  <a:lnTo>
                    <a:pt x="30" y="90"/>
                  </a:lnTo>
                  <a:lnTo>
                    <a:pt x="37" y="96"/>
                  </a:lnTo>
                  <a:lnTo>
                    <a:pt x="32" y="104"/>
                  </a:lnTo>
                  <a:lnTo>
                    <a:pt x="16" y="104"/>
                  </a:lnTo>
                  <a:lnTo>
                    <a:pt x="7" y="124"/>
                  </a:lnTo>
                  <a:lnTo>
                    <a:pt x="10" y="152"/>
                  </a:lnTo>
                  <a:lnTo>
                    <a:pt x="23" y="163"/>
                  </a:lnTo>
                  <a:lnTo>
                    <a:pt x="19" y="189"/>
                  </a:lnTo>
                  <a:lnTo>
                    <a:pt x="7" y="203"/>
                  </a:lnTo>
                  <a:lnTo>
                    <a:pt x="0" y="217"/>
                  </a:lnTo>
                  <a:lnTo>
                    <a:pt x="16" y="247"/>
                  </a:lnTo>
                  <a:lnTo>
                    <a:pt x="32" y="273"/>
                  </a:lnTo>
                  <a:lnTo>
                    <a:pt x="39" y="294"/>
                  </a:lnTo>
                  <a:lnTo>
                    <a:pt x="59" y="293"/>
                  </a:lnTo>
                  <a:lnTo>
                    <a:pt x="67" y="275"/>
                  </a:lnTo>
                  <a:lnTo>
                    <a:pt x="89" y="277"/>
                  </a:lnTo>
                  <a:lnTo>
                    <a:pt x="96" y="257"/>
                  </a:lnTo>
                  <a:lnTo>
                    <a:pt x="98" y="219"/>
                  </a:lnTo>
                  <a:lnTo>
                    <a:pt x="116" y="215"/>
                  </a:lnTo>
                  <a:lnTo>
                    <a:pt x="128" y="189"/>
                  </a:lnTo>
                  <a:lnTo>
                    <a:pt x="110" y="177"/>
                  </a:lnTo>
                  <a:lnTo>
                    <a:pt x="96" y="162"/>
                  </a:lnTo>
                  <a:lnTo>
                    <a:pt x="105" y="132"/>
                  </a:lnTo>
                  <a:lnTo>
                    <a:pt x="134" y="114"/>
                  </a:lnTo>
                  <a:lnTo>
                    <a:pt x="156" y="97"/>
                  </a:lnTo>
                  <a:lnTo>
                    <a:pt x="151" y="84"/>
                  </a:lnTo>
                  <a:lnTo>
                    <a:pt x="164" y="69"/>
                  </a:lnTo>
                  <a:lnTo>
                    <a:pt x="191" y="63"/>
                  </a:lnTo>
                  <a:lnTo>
                    <a:pt x="191" y="63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3" name="Swaziland">
              <a:extLst>
                <a:ext uri="{FF2B5EF4-FFF2-40B4-BE49-F238E27FC236}">
                  <a16:creationId xmlns:a16="http://schemas.microsoft.com/office/drawing/2014/main" id="{8A5CAE5D-B4DA-480C-84AB-5212CE491A7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5794" y="5030561"/>
              <a:ext cx="46037" cy="60325"/>
            </a:xfrm>
            <a:custGeom>
              <a:avLst/>
              <a:gdLst>
                <a:gd name="T0" fmla="*/ 25 w 29"/>
                <a:gd name="T1" fmla="*/ 4 h 38"/>
                <a:gd name="T2" fmla="*/ 15 w 29"/>
                <a:gd name="T3" fmla="*/ 0 h 38"/>
                <a:gd name="T4" fmla="*/ 9 w 29"/>
                <a:gd name="T5" fmla="*/ 2 h 38"/>
                <a:gd name="T6" fmla="*/ 7 w 29"/>
                <a:gd name="T7" fmla="*/ 8 h 38"/>
                <a:gd name="T8" fmla="*/ 1 w 29"/>
                <a:gd name="T9" fmla="*/ 17 h 38"/>
                <a:gd name="T10" fmla="*/ 0 w 29"/>
                <a:gd name="T11" fmla="*/ 25 h 38"/>
                <a:gd name="T12" fmla="*/ 11 w 29"/>
                <a:gd name="T13" fmla="*/ 38 h 38"/>
                <a:gd name="T14" fmla="*/ 23 w 29"/>
                <a:gd name="T15" fmla="*/ 35 h 38"/>
                <a:gd name="T16" fmla="*/ 29 w 29"/>
                <a:gd name="T17" fmla="*/ 25 h 38"/>
                <a:gd name="T18" fmla="*/ 27 w 29"/>
                <a:gd name="T19" fmla="*/ 15 h 38"/>
                <a:gd name="T20" fmla="*/ 25 w 29"/>
                <a:gd name="T21" fmla="*/ 4 h 38"/>
                <a:gd name="T22" fmla="*/ 25 w 29"/>
                <a:gd name="T23" fmla="*/ 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38">
                  <a:moveTo>
                    <a:pt x="25" y="4"/>
                  </a:moveTo>
                  <a:lnTo>
                    <a:pt x="15" y="0"/>
                  </a:lnTo>
                  <a:lnTo>
                    <a:pt x="9" y="2"/>
                  </a:lnTo>
                  <a:lnTo>
                    <a:pt x="7" y="8"/>
                  </a:lnTo>
                  <a:lnTo>
                    <a:pt x="1" y="17"/>
                  </a:lnTo>
                  <a:lnTo>
                    <a:pt x="0" y="25"/>
                  </a:lnTo>
                  <a:lnTo>
                    <a:pt x="11" y="38"/>
                  </a:lnTo>
                  <a:lnTo>
                    <a:pt x="23" y="35"/>
                  </a:lnTo>
                  <a:lnTo>
                    <a:pt x="29" y="25"/>
                  </a:lnTo>
                  <a:lnTo>
                    <a:pt x="27" y="15"/>
                  </a:lnTo>
                  <a:lnTo>
                    <a:pt x="25" y="4"/>
                  </a:lnTo>
                  <a:lnTo>
                    <a:pt x="25" y="4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4" name="Syria">
              <a:extLst>
                <a:ext uri="{FF2B5EF4-FFF2-40B4-BE49-F238E27FC236}">
                  <a16:creationId xmlns:a16="http://schemas.microsoft.com/office/drawing/2014/main" id="{040F581E-F7C0-4EFD-A415-4963CFD52C5C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0731" y="2655662"/>
              <a:ext cx="192087" cy="187325"/>
            </a:xfrm>
            <a:custGeom>
              <a:avLst/>
              <a:gdLst>
                <a:gd name="T0" fmla="*/ 64 w 121"/>
                <a:gd name="T1" fmla="*/ 94 h 118"/>
                <a:gd name="T2" fmla="*/ 105 w 121"/>
                <a:gd name="T3" fmla="*/ 68 h 118"/>
                <a:gd name="T4" fmla="*/ 108 w 121"/>
                <a:gd name="T5" fmla="*/ 39 h 118"/>
                <a:gd name="T6" fmla="*/ 104 w 121"/>
                <a:gd name="T7" fmla="*/ 22 h 118"/>
                <a:gd name="T8" fmla="*/ 114 w 121"/>
                <a:gd name="T9" fmla="*/ 15 h 118"/>
                <a:gd name="T10" fmla="*/ 121 w 121"/>
                <a:gd name="T11" fmla="*/ 0 h 118"/>
                <a:gd name="T12" fmla="*/ 99 w 121"/>
                <a:gd name="T13" fmla="*/ 4 h 118"/>
                <a:gd name="T14" fmla="*/ 89 w 121"/>
                <a:gd name="T15" fmla="*/ 4 h 118"/>
                <a:gd name="T16" fmla="*/ 67 w 121"/>
                <a:gd name="T17" fmla="*/ 13 h 118"/>
                <a:gd name="T18" fmla="*/ 51 w 121"/>
                <a:gd name="T19" fmla="*/ 13 h 118"/>
                <a:gd name="T20" fmla="*/ 40 w 121"/>
                <a:gd name="T21" fmla="*/ 9 h 118"/>
                <a:gd name="T22" fmla="*/ 20 w 121"/>
                <a:gd name="T23" fmla="*/ 15 h 118"/>
                <a:gd name="T24" fmla="*/ 13 w 121"/>
                <a:gd name="T25" fmla="*/ 11 h 118"/>
                <a:gd name="T26" fmla="*/ 13 w 121"/>
                <a:gd name="T27" fmla="*/ 24 h 118"/>
                <a:gd name="T28" fmla="*/ 8 w 121"/>
                <a:gd name="T29" fmla="*/ 29 h 118"/>
                <a:gd name="T30" fmla="*/ 4 w 121"/>
                <a:gd name="T31" fmla="*/ 35 h 118"/>
                <a:gd name="T32" fmla="*/ 0 w 121"/>
                <a:gd name="T33" fmla="*/ 44 h 118"/>
                <a:gd name="T34" fmla="*/ 5 w 121"/>
                <a:gd name="T35" fmla="*/ 63 h 118"/>
                <a:gd name="T36" fmla="*/ 13 w 121"/>
                <a:gd name="T37" fmla="*/ 64 h 118"/>
                <a:gd name="T38" fmla="*/ 18 w 121"/>
                <a:gd name="T39" fmla="*/ 73 h 118"/>
                <a:gd name="T40" fmla="*/ 8 w 121"/>
                <a:gd name="T41" fmla="*/ 82 h 118"/>
                <a:gd name="T42" fmla="*/ 5 w 121"/>
                <a:gd name="T43" fmla="*/ 95 h 118"/>
                <a:gd name="T44" fmla="*/ 6 w 121"/>
                <a:gd name="T45" fmla="*/ 105 h 118"/>
                <a:gd name="T46" fmla="*/ 4 w 121"/>
                <a:gd name="T47" fmla="*/ 109 h 118"/>
                <a:gd name="T48" fmla="*/ 4 w 121"/>
                <a:gd name="T49" fmla="*/ 109 h 118"/>
                <a:gd name="T50" fmla="*/ 28 w 121"/>
                <a:gd name="T51" fmla="*/ 118 h 118"/>
                <a:gd name="T52" fmla="*/ 64 w 121"/>
                <a:gd name="T53" fmla="*/ 94 h 118"/>
                <a:gd name="T54" fmla="*/ 64 w 121"/>
                <a:gd name="T55" fmla="*/ 94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1" h="118">
                  <a:moveTo>
                    <a:pt x="64" y="94"/>
                  </a:moveTo>
                  <a:lnTo>
                    <a:pt x="105" y="68"/>
                  </a:lnTo>
                  <a:lnTo>
                    <a:pt x="108" y="39"/>
                  </a:lnTo>
                  <a:lnTo>
                    <a:pt x="104" y="22"/>
                  </a:lnTo>
                  <a:lnTo>
                    <a:pt x="114" y="15"/>
                  </a:lnTo>
                  <a:lnTo>
                    <a:pt x="121" y="0"/>
                  </a:lnTo>
                  <a:lnTo>
                    <a:pt x="99" y="4"/>
                  </a:lnTo>
                  <a:lnTo>
                    <a:pt x="89" y="4"/>
                  </a:lnTo>
                  <a:lnTo>
                    <a:pt x="67" y="13"/>
                  </a:lnTo>
                  <a:lnTo>
                    <a:pt x="51" y="13"/>
                  </a:lnTo>
                  <a:lnTo>
                    <a:pt x="40" y="9"/>
                  </a:lnTo>
                  <a:lnTo>
                    <a:pt x="20" y="15"/>
                  </a:lnTo>
                  <a:lnTo>
                    <a:pt x="13" y="11"/>
                  </a:lnTo>
                  <a:lnTo>
                    <a:pt x="13" y="24"/>
                  </a:lnTo>
                  <a:lnTo>
                    <a:pt x="8" y="29"/>
                  </a:lnTo>
                  <a:lnTo>
                    <a:pt x="4" y="35"/>
                  </a:lnTo>
                  <a:lnTo>
                    <a:pt x="0" y="44"/>
                  </a:lnTo>
                  <a:lnTo>
                    <a:pt x="5" y="63"/>
                  </a:lnTo>
                  <a:lnTo>
                    <a:pt x="13" y="64"/>
                  </a:lnTo>
                  <a:lnTo>
                    <a:pt x="18" y="73"/>
                  </a:lnTo>
                  <a:lnTo>
                    <a:pt x="8" y="82"/>
                  </a:lnTo>
                  <a:lnTo>
                    <a:pt x="5" y="95"/>
                  </a:lnTo>
                  <a:lnTo>
                    <a:pt x="6" y="105"/>
                  </a:lnTo>
                  <a:lnTo>
                    <a:pt x="4" y="109"/>
                  </a:lnTo>
                  <a:lnTo>
                    <a:pt x="4" y="109"/>
                  </a:lnTo>
                  <a:lnTo>
                    <a:pt x="28" y="118"/>
                  </a:lnTo>
                  <a:lnTo>
                    <a:pt x="64" y="94"/>
                  </a:lnTo>
                  <a:lnTo>
                    <a:pt x="64" y="94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5" name="Chad">
              <a:extLst>
                <a:ext uri="{FF2B5EF4-FFF2-40B4-BE49-F238E27FC236}">
                  <a16:creationId xmlns:a16="http://schemas.microsoft.com/office/drawing/2014/main" id="{7C947244-C688-4657-AF2E-317888037D2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1281" y="3179537"/>
              <a:ext cx="341312" cy="603250"/>
            </a:xfrm>
            <a:custGeom>
              <a:avLst/>
              <a:gdLst>
                <a:gd name="T0" fmla="*/ 211 w 215"/>
                <a:gd name="T1" fmla="*/ 90 h 380"/>
                <a:gd name="T2" fmla="*/ 127 w 215"/>
                <a:gd name="T3" fmla="*/ 46 h 380"/>
                <a:gd name="T4" fmla="*/ 44 w 215"/>
                <a:gd name="T5" fmla="*/ 0 h 380"/>
                <a:gd name="T6" fmla="*/ 24 w 215"/>
                <a:gd name="T7" fmla="*/ 13 h 380"/>
                <a:gd name="T8" fmla="*/ 30 w 215"/>
                <a:gd name="T9" fmla="*/ 49 h 380"/>
                <a:gd name="T10" fmla="*/ 38 w 215"/>
                <a:gd name="T11" fmla="*/ 56 h 380"/>
                <a:gd name="T12" fmla="*/ 38 w 215"/>
                <a:gd name="T13" fmla="*/ 63 h 380"/>
                <a:gd name="T14" fmla="*/ 47 w 215"/>
                <a:gd name="T15" fmla="*/ 72 h 380"/>
                <a:gd name="T16" fmla="*/ 42 w 215"/>
                <a:gd name="T17" fmla="*/ 82 h 380"/>
                <a:gd name="T18" fmla="*/ 36 w 215"/>
                <a:gd name="T19" fmla="*/ 130 h 380"/>
                <a:gd name="T20" fmla="*/ 35 w 215"/>
                <a:gd name="T21" fmla="*/ 161 h 380"/>
                <a:gd name="T22" fmla="*/ 10 w 215"/>
                <a:gd name="T23" fmla="*/ 184 h 380"/>
                <a:gd name="T24" fmla="*/ 0 w 215"/>
                <a:gd name="T25" fmla="*/ 215 h 380"/>
                <a:gd name="T26" fmla="*/ 10 w 215"/>
                <a:gd name="T27" fmla="*/ 223 h 380"/>
                <a:gd name="T28" fmla="*/ 10 w 215"/>
                <a:gd name="T29" fmla="*/ 239 h 380"/>
                <a:gd name="T30" fmla="*/ 23 w 215"/>
                <a:gd name="T31" fmla="*/ 240 h 380"/>
                <a:gd name="T32" fmla="*/ 21 w 215"/>
                <a:gd name="T33" fmla="*/ 250 h 380"/>
                <a:gd name="T34" fmla="*/ 29 w 215"/>
                <a:gd name="T35" fmla="*/ 266 h 380"/>
                <a:gd name="T36" fmla="*/ 31 w 215"/>
                <a:gd name="T37" fmla="*/ 281 h 380"/>
                <a:gd name="T38" fmla="*/ 30 w 215"/>
                <a:gd name="T39" fmla="*/ 298 h 380"/>
                <a:gd name="T40" fmla="*/ 42 w 215"/>
                <a:gd name="T41" fmla="*/ 319 h 380"/>
                <a:gd name="T42" fmla="*/ 30 w 215"/>
                <a:gd name="T43" fmla="*/ 318 h 380"/>
                <a:gd name="T44" fmla="*/ 25 w 215"/>
                <a:gd name="T45" fmla="*/ 320 h 380"/>
                <a:gd name="T46" fmla="*/ 15 w 215"/>
                <a:gd name="T47" fmla="*/ 318 h 380"/>
                <a:gd name="T48" fmla="*/ 11 w 215"/>
                <a:gd name="T49" fmla="*/ 329 h 380"/>
                <a:gd name="T50" fmla="*/ 23 w 215"/>
                <a:gd name="T51" fmla="*/ 342 h 380"/>
                <a:gd name="T52" fmla="*/ 32 w 215"/>
                <a:gd name="T53" fmla="*/ 347 h 380"/>
                <a:gd name="T54" fmla="*/ 36 w 215"/>
                <a:gd name="T55" fmla="*/ 356 h 380"/>
                <a:gd name="T56" fmla="*/ 42 w 215"/>
                <a:gd name="T57" fmla="*/ 373 h 380"/>
                <a:gd name="T58" fmla="*/ 39 w 215"/>
                <a:gd name="T59" fmla="*/ 380 h 380"/>
                <a:gd name="T60" fmla="*/ 56 w 215"/>
                <a:gd name="T61" fmla="*/ 378 h 380"/>
                <a:gd name="T62" fmla="*/ 60 w 215"/>
                <a:gd name="T63" fmla="*/ 371 h 380"/>
                <a:gd name="T64" fmla="*/ 64 w 215"/>
                <a:gd name="T65" fmla="*/ 372 h 380"/>
                <a:gd name="T66" fmla="*/ 69 w 215"/>
                <a:gd name="T67" fmla="*/ 378 h 380"/>
                <a:gd name="T68" fmla="*/ 96 w 215"/>
                <a:gd name="T69" fmla="*/ 369 h 380"/>
                <a:gd name="T70" fmla="*/ 104 w 215"/>
                <a:gd name="T71" fmla="*/ 359 h 380"/>
                <a:gd name="T72" fmla="*/ 114 w 215"/>
                <a:gd name="T73" fmla="*/ 351 h 380"/>
                <a:gd name="T74" fmla="*/ 113 w 215"/>
                <a:gd name="T75" fmla="*/ 342 h 380"/>
                <a:gd name="T76" fmla="*/ 118 w 215"/>
                <a:gd name="T77" fmla="*/ 341 h 380"/>
                <a:gd name="T78" fmla="*/ 139 w 215"/>
                <a:gd name="T79" fmla="*/ 342 h 380"/>
                <a:gd name="T80" fmla="*/ 158 w 215"/>
                <a:gd name="T81" fmla="*/ 331 h 380"/>
                <a:gd name="T82" fmla="*/ 173 w 215"/>
                <a:gd name="T83" fmla="*/ 305 h 380"/>
                <a:gd name="T84" fmla="*/ 183 w 215"/>
                <a:gd name="T85" fmla="*/ 296 h 380"/>
                <a:gd name="T86" fmla="*/ 197 w 215"/>
                <a:gd name="T87" fmla="*/ 291 h 380"/>
                <a:gd name="T88" fmla="*/ 197 w 215"/>
                <a:gd name="T89" fmla="*/ 286 h 380"/>
                <a:gd name="T90" fmla="*/ 189 w 215"/>
                <a:gd name="T91" fmla="*/ 279 h 380"/>
                <a:gd name="T92" fmla="*/ 188 w 215"/>
                <a:gd name="T93" fmla="*/ 265 h 380"/>
                <a:gd name="T94" fmla="*/ 183 w 215"/>
                <a:gd name="T95" fmla="*/ 256 h 380"/>
                <a:gd name="T96" fmla="*/ 176 w 215"/>
                <a:gd name="T97" fmla="*/ 257 h 380"/>
                <a:gd name="T98" fmla="*/ 178 w 215"/>
                <a:gd name="T99" fmla="*/ 248 h 380"/>
                <a:gd name="T100" fmla="*/ 183 w 215"/>
                <a:gd name="T101" fmla="*/ 238 h 380"/>
                <a:gd name="T102" fmla="*/ 181 w 215"/>
                <a:gd name="T103" fmla="*/ 229 h 380"/>
                <a:gd name="T104" fmla="*/ 187 w 215"/>
                <a:gd name="T105" fmla="*/ 221 h 380"/>
                <a:gd name="T106" fmla="*/ 183 w 215"/>
                <a:gd name="T107" fmla="*/ 216 h 380"/>
                <a:gd name="T108" fmla="*/ 188 w 215"/>
                <a:gd name="T109" fmla="*/ 201 h 380"/>
                <a:gd name="T110" fmla="*/ 197 w 215"/>
                <a:gd name="T111" fmla="*/ 184 h 380"/>
                <a:gd name="T112" fmla="*/ 215 w 215"/>
                <a:gd name="T113" fmla="*/ 185 h 380"/>
                <a:gd name="T114" fmla="*/ 211 w 215"/>
                <a:gd name="T115" fmla="*/ 90 h 380"/>
                <a:gd name="T116" fmla="*/ 211 w 215"/>
                <a:gd name="T117" fmla="*/ 9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15" h="380">
                  <a:moveTo>
                    <a:pt x="211" y="90"/>
                  </a:moveTo>
                  <a:lnTo>
                    <a:pt x="127" y="46"/>
                  </a:lnTo>
                  <a:lnTo>
                    <a:pt x="44" y="0"/>
                  </a:lnTo>
                  <a:lnTo>
                    <a:pt x="24" y="13"/>
                  </a:lnTo>
                  <a:lnTo>
                    <a:pt x="30" y="49"/>
                  </a:lnTo>
                  <a:lnTo>
                    <a:pt x="38" y="56"/>
                  </a:lnTo>
                  <a:lnTo>
                    <a:pt x="38" y="63"/>
                  </a:lnTo>
                  <a:lnTo>
                    <a:pt x="47" y="72"/>
                  </a:lnTo>
                  <a:lnTo>
                    <a:pt x="42" y="82"/>
                  </a:lnTo>
                  <a:lnTo>
                    <a:pt x="36" y="130"/>
                  </a:lnTo>
                  <a:lnTo>
                    <a:pt x="35" y="161"/>
                  </a:lnTo>
                  <a:lnTo>
                    <a:pt x="10" y="184"/>
                  </a:lnTo>
                  <a:lnTo>
                    <a:pt x="0" y="215"/>
                  </a:lnTo>
                  <a:lnTo>
                    <a:pt x="10" y="223"/>
                  </a:lnTo>
                  <a:lnTo>
                    <a:pt x="10" y="239"/>
                  </a:lnTo>
                  <a:lnTo>
                    <a:pt x="23" y="240"/>
                  </a:lnTo>
                  <a:lnTo>
                    <a:pt x="21" y="250"/>
                  </a:lnTo>
                  <a:lnTo>
                    <a:pt x="29" y="266"/>
                  </a:lnTo>
                  <a:lnTo>
                    <a:pt x="31" y="281"/>
                  </a:lnTo>
                  <a:lnTo>
                    <a:pt x="30" y="298"/>
                  </a:lnTo>
                  <a:lnTo>
                    <a:pt x="42" y="319"/>
                  </a:lnTo>
                  <a:lnTo>
                    <a:pt x="30" y="318"/>
                  </a:lnTo>
                  <a:lnTo>
                    <a:pt x="25" y="320"/>
                  </a:lnTo>
                  <a:lnTo>
                    <a:pt x="15" y="318"/>
                  </a:lnTo>
                  <a:lnTo>
                    <a:pt x="11" y="329"/>
                  </a:lnTo>
                  <a:lnTo>
                    <a:pt x="23" y="342"/>
                  </a:lnTo>
                  <a:lnTo>
                    <a:pt x="32" y="347"/>
                  </a:lnTo>
                  <a:lnTo>
                    <a:pt x="36" y="356"/>
                  </a:lnTo>
                  <a:lnTo>
                    <a:pt x="42" y="373"/>
                  </a:lnTo>
                  <a:lnTo>
                    <a:pt x="39" y="380"/>
                  </a:lnTo>
                  <a:lnTo>
                    <a:pt x="56" y="378"/>
                  </a:lnTo>
                  <a:lnTo>
                    <a:pt x="60" y="371"/>
                  </a:lnTo>
                  <a:lnTo>
                    <a:pt x="64" y="372"/>
                  </a:lnTo>
                  <a:lnTo>
                    <a:pt x="69" y="378"/>
                  </a:lnTo>
                  <a:lnTo>
                    <a:pt x="96" y="369"/>
                  </a:lnTo>
                  <a:lnTo>
                    <a:pt x="104" y="359"/>
                  </a:lnTo>
                  <a:lnTo>
                    <a:pt x="114" y="351"/>
                  </a:lnTo>
                  <a:lnTo>
                    <a:pt x="113" y="342"/>
                  </a:lnTo>
                  <a:lnTo>
                    <a:pt x="118" y="341"/>
                  </a:lnTo>
                  <a:lnTo>
                    <a:pt x="139" y="342"/>
                  </a:lnTo>
                  <a:lnTo>
                    <a:pt x="158" y="331"/>
                  </a:lnTo>
                  <a:lnTo>
                    <a:pt x="173" y="305"/>
                  </a:lnTo>
                  <a:lnTo>
                    <a:pt x="183" y="296"/>
                  </a:lnTo>
                  <a:lnTo>
                    <a:pt x="197" y="291"/>
                  </a:lnTo>
                  <a:lnTo>
                    <a:pt x="197" y="286"/>
                  </a:lnTo>
                  <a:lnTo>
                    <a:pt x="189" y="279"/>
                  </a:lnTo>
                  <a:lnTo>
                    <a:pt x="188" y="265"/>
                  </a:lnTo>
                  <a:lnTo>
                    <a:pt x="183" y="256"/>
                  </a:lnTo>
                  <a:lnTo>
                    <a:pt x="176" y="257"/>
                  </a:lnTo>
                  <a:lnTo>
                    <a:pt x="178" y="248"/>
                  </a:lnTo>
                  <a:lnTo>
                    <a:pt x="183" y="238"/>
                  </a:lnTo>
                  <a:lnTo>
                    <a:pt x="181" y="229"/>
                  </a:lnTo>
                  <a:lnTo>
                    <a:pt x="187" y="221"/>
                  </a:lnTo>
                  <a:lnTo>
                    <a:pt x="183" y="216"/>
                  </a:lnTo>
                  <a:lnTo>
                    <a:pt x="188" y="201"/>
                  </a:lnTo>
                  <a:lnTo>
                    <a:pt x="197" y="184"/>
                  </a:lnTo>
                  <a:lnTo>
                    <a:pt x="215" y="185"/>
                  </a:lnTo>
                  <a:lnTo>
                    <a:pt x="211" y="90"/>
                  </a:lnTo>
                  <a:lnTo>
                    <a:pt x="211" y="9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6" name="Togo">
              <a:extLst>
                <a:ext uri="{FF2B5EF4-FFF2-40B4-BE49-F238E27FC236}">
                  <a16:creationId xmlns:a16="http://schemas.microsoft.com/office/drawing/2014/main" id="{1E135B7C-3BE0-4EA0-AA92-572C149C401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5194" y="3646262"/>
              <a:ext cx="63500" cy="192088"/>
            </a:xfrm>
            <a:custGeom>
              <a:avLst/>
              <a:gdLst>
                <a:gd name="T0" fmla="*/ 19 w 40"/>
                <a:gd name="T1" fmla="*/ 1 h 121"/>
                <a:gd name="T2" fmla="*/ 0 w 40"/>
                <a:gd name="T3" fmla="*/ 0 h 121"/>
                <a:gd name="T4" fmla="*/ 0 w 40"/>
                <a:gd name="T5" fmla="*/ 7 h 121"/>
                <a:gd name="T6" fmla="*/ 8 w 40"/>
                <a:gd name="T7" fmla="*/ 20 h 121"/>
                <a:gd name="T8" fmla="*/ 8 w 40"/>
                <a:gd name="T9" fmla="*/ 37 h 121"/>
                <a:gd name="T10" fmla="*/ 10 w 40"/>
                <a:gd name="T11" fmla="*/ 56 h 121"/>
                <a:gd name="T12" fmla="*/ 15 w 40"/>
                <a:gd name="T13" fmla="*/ 64 h 121"/>
                <a:gd name="T14" fmla="*/ 11 w 40"/>
                <a:gd name="T15" fmla="*/ 86 h 121"/>
                <a:gd name="T16" fmla="*/ 13 w 40"/>
                <a:gd name="T17" fmla="*/ 98 h 121"/>
                <a:gd name="T18" fmla="*/ 18 w 40"/>
                <a:gd name="T19" fmla="*/ 113 h 121"/>
                <a:gd name="T20" fmla="*/ 22 w 40"/>
                <a:gd name="T21" fmla="*/ 121 h 121"/>
                <a:gd name="T22" fmla="*/ 40 w 40"/>
                <a:gd name="T23" fmla="*/ 116 h 121"/>
                <a:gd name="T24" fmla="*/ 34 w 40"/>
                <a:gd name="T25" fmla="*/ 100 h 121"/>
                <a:gd name="T26" fmla="*/ 35 w 40"/>
                <a:gd name="T27" fmla="*/ 45 h 121"/>
                <a:gd name="T28" fmla="*/ 31 w 40"/>
                <a:gd name="T29" fmla="*/ 40 h 121"/>
                <a:gd name="T30" fmla="*/ 30 w 40"/>
                <a:gd name="T31" fmla="*/ 29 h 121"/>
                <a:gd name="T32" fmla="*/ 23 w 40"/>
                <a:gd name="T33" fmla="*/ 20 h 121"/>
                <a:gd name="T34" fmla="*/ 16 w 40"/>
                <a:gd name="T35" fmla="*/ 13 h 121"/>
                <a:gd name="T36" fmla="*/ 19 w 40"/>
                <a:gd name="T37" fmla="*/ 1 h 121"/>
                <a:gd name="T38" fmla="*/ 19 w 40"/>
                <a:gd name="T39" fmla="*/ 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0" h="121">
                  <a:moveTo>
                    <a:pt x="19" y="1"/>
                  </a:moveTo>
                  <a:lnTo>
                    <a:pt x="0" y="0"/>
                  </a:lnTo>
                  <a:lnTo>
                    <a:pt x="0" y="7"/>
                  </a:lnTo>
                  <a:lnTo>
                    <a:pt x="8" y="20"/>
                  </a:lnTo>
                  <a:lnTo>
                    <a:pt x="8" y="37"/>
                  </a:lnTo>
                  <a:lnTo>
                    <a:pt x="10" y="56"/>
                  </a:lnTo>
                  <a:lnTo>
                    <a:pt x="15" y="64"/>
                  </a:lnTo>
                  <a:lnTo>
                    <a:pt x="11" y="86"/>
                  </a:lnTo>
                  <a:lnTo>
                    <a:pt x="13" y="98"/>
                  </a:lnTo>
                  <a:lnTo>
                    <a:pt x="18" y="113"/>
                  </a:lnTo>
                  <a:lnTo>
                    <a:pt x="22" y="121"/>
                  </a:lnTo>
                  <a:lnTo>
                    <a:pt x="40" y="116"/>
                  </a:lnTo>
                  <a:lnTo>
                    <a:pt x="34" y="100"/>
                  </a:lnTo>
                  <a:lnTo>
                    <a:pt x="35" y="45"/>
                  </a:lnTo>
                  <a:lnTo>
                    <a:pt x="31" y="40"/>
                  </a:lnTo>
                  <a:lnTo>
                    <a:pt x="30" y="29"/>
                  </a:lnTo>
                  <a:lnTo>
                    <a:pt x="23" y="20"/>
                  </a:lnTo>
                  <a:lnTo>
                    <a:pt x="16" y="13"/>
                  </a:lnTo>
                  <a:lnTo>
                    <a:pt x="19" y="1"/>
                  </a:lnTo>
                  <a:lnTo>
                    <a:pt x="19" y="1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7" name="Thailand">
              <a:extLst>
                <a:ext uri="{FF2B5EF4-FFF2-40B4-BE49-F238E27FC236}">
                  <a16:creationId xmlns:a16="http://schemas.microsoft.com/office/drawing/2014/main" id="{5C9BDB66-20F6-474B-87B9-E22955CA0376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9244" y="3292249"/>
              <a:ext cx="290512" cy="555625"/>
            </a:xfrm>
            <a:custGeom>
              <a:avLst/>
              <a:gdLst>
                <a:gd name="T0" fmla="*/ 183 w 183"/>
                <a:gd name="T1" fmla="*/ 135 h 350"/>
                <a:gd name="T2" fmla="*/ 161 w 183"/>
                <a:gd name="T3" fmla="*/ 94 h 350"/>
                <a:gd name="T4" fmla="*/ 138 w 183"/>
                <a:gd name="T5" fmla="*/ 51 h 350"/>
                <a:gd name="T6" fmla="*/ 119 w 183"/>
                <a:gd name="T7" fmla="*/ 59 h 350"/>
                <a:gd name="T8" fmla="*/ 100 w 183"/>
                <a:gd name="T9" fmla="*/ 55 h 350"/>
                <a:gd name="T10" fmla="*/ 77 w 183"/>
                <a:gd name="T11" fmla="*/ 47 h 350"/>
                <a:gd name="T12" fmla="*/ 64 w 183"/>
                <a:gd name="T13" fmla="*/ 21 h 350"/>
                <a:gd name="T14" fmla="*/ 51 w 183"/>
                <a:gd name="T15" fmla="*/ 0 h 350"/>
                <a:gd name="T16" fmla="*/ 29 w 183"/>
                <a:gd name="T17" fmla="*/ 16 h 350"/>
                <a:gd name="T18" fmla="*/ 9 w 183"/>
                <a:gd name="T19" fmla="*/ 43 h 350"/>
                <a:gd name="T20" fmla="*/ 14 w 183"/>
                <a:gd name="T21" fmla="*/ 68 h 350"/>
                <a:gd name="T22" fmla="*/ 40 w 183"/>
                <a:gd name="T23" fmla="*/ 101 h 350"/>
                <a:gd name="T24" fmla="*/ 28 w 183"/>
                <a:gd name="T25" fmla="*/ 126 h 350"/>
                <a:gd name="T26" fmla="*/ 51 w 183"/>
                <a:gd name="T27" fmla="*/ 157 h 350"/>
                <a:gd name="T28" fmla="*/ 55 w 183"/>
                <a:gd name="T29" fmla="*/ 181 h 350"/>
                <a:gd name="T30" fmla="*/ 56 w 183"/>
                <a:gd name="T31" fmla="*/ 225 h 350"/>
                <a:gd name="T32" fmla="*/ 42 w 183"/>
                <a:gd name="T33" fmla="*/ 271 h 350"/>
                <a:gd name="T34" fmla="*/ 46 w 183"/>
                <a:gd name="T35" fmla="*/ 299 h 350"/>
                <a:gd name="T36" fmla="*/ 59 w 183"/>
                <a:gd name="T37" fmla="*/ 298 h 350"/>
                <a:gd name="T38" fmla="*/ 75 w 183"/>
                <a:gd name="T39" fmla="*/ 322 h 350"/>
                <a:gd name="T40" fmla="*/ 88 w 183"/>
                <a:gd name="T41" fmla="*/ 328 h 350"/>
                <a:gd name="T42" fmla="*/ 108 w 183"/>
                <a:gd name="T43" fmla="*/ 350 h 350"/>
                <a:gd name="T44" fmla="*/ 127 w 183"/>
                <a:gd name="T45" fmla="*/ 337 h 350"/>
                <a:gd name="T46" fmla="*/ 103 w 183"/>
                <a:gd name="T47" fmla="*/ 322 h 350"/>
                <a:gd name="T48" fmla="*/ 86 w 183"/>
                <a:gd name="T49" fmla="*/ 288 h 350"/>
                <a:gd name="T50" fmla="*/ 62 w 183"/>
                <a:gd name="T51" fmla="*/ 266 h 350"/>
                <a:gd name="T52" fmla="*/ 65 w 183"/>
                <a:gd name="T53" fmla="*/ 228 h 350"/>
                <a:gd name="T54" fmla="*/ 72 w 183"/>
                <a:gd name="T55" fmla="*/ 167 h 350"/>
                <a:gd name="T56" fmla="*/ 90 w 183"/>
                <a:gd name="T57" fmla="*/ 185 h 350"/>
                <a:gd name="T58" fmla="*/ 127 w 183"/>
                <a:gd name="T59" fmla="*/ 195 h 350"/>
                <a:gd name="T60" fmla="*/ 130 w 183"/>
                <a:gd name="T61" fmla="*/ 147 h 350"/>
                <a:gd name="T62" fmla="*/ 177 w 183"/>
                <a:gd name="T63" fmla="*/ 146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3" h="350">
                  <a:moveTo>
                    <a:pt x="177" y="146"/>
                  </a:moveTo>
                  <a:lnTo>
                    <a:pt x="183" y="135"/>
                  </a:lnTo>
                  <a:lnTo>
                    <a:pt x="181" y="115"/>
                  </a:lnTo>
                  <a:lnTo>
                    <a:pt x="161" y="94"/>
                  </a:lnTo>
                  <a:lnTo>
                    <a:pt x="156" y="71"/>
                  </a:lnTo>
                  <a:lnTo>
                    <a:pt x="138" y="51"/>
                  </a:lnTo>
                  <a:lnTo>
                    <a:pt x="122" y="50"/>
                  </a:lnTo>
                  <a:lnTo>
                    <a:pt x="119" y="59"/>
                  </a:lnTo>
                  <a:lnTo>
                    <a:pt x="107" y="59"/>
                  </a:lnTo>
                  <a:lnTo>
                    <a:pt x="100" y="55"/>
                  </a:lnTo>
                  <a:lnTo>
                    <a:pt x="81" y="69"/>
                  </a:lnTo>
                  <a:lnTo>
                    <a:pt x="77" y="47"/>
                  </a:lnTo>
                  <a:lnTo>
                    <a:pt x="78" y="22"/>
                  </a:lnTo>
                  <a:lnTo>
                    <a:pt x="64" y="21"/>
                  </a:lnTo>
                  <a:lnTo>
                    <a:pt x="60" y="7"/>
                  </a:lnTo>
                  <a:lnTo>
                    <a:pt x="51" y="0"/>
                  </a:lnTo>
                  <a:lnTo>
                    <a:pt x="40" y="5"/>
                  </a:lnTo>
                  <a:lnTo>
                    <a:pt x="29" y="16"/>
                  </a:lnTo>
                  <a:lnTo>
                    <a:pt x="14" y="17"/>
                  </a:lnTo>
                  <a:lnTo>
                    <a:pt x="9" y="43"/>
                  </a:lnTo>
                  <a:lnTo>
                    <a:pt x="0" y="46"/>
                  </a:lnTo>
                  <a:lnTo>
                    <a:pt x="14" y="68"/>
                  </a:lnTo>
                  <a:lnTo>
                    <a:pt x="29" y="85"/>
                  </a:lnTo>
                  <a:lnTo>
                    <a:pt x="40" y="101"/>
                  </a:lnTo>
                  <a:lnTo>
                    <a:pt x="35" y="121"/>
                  </a:lnTo>
                  <a:lnTo>
                    <a:pt x="28" y="126"/>
                  </a:lnTo>
                  <a:lnTo>
                    <a:pt x="35" y="137"/>
                  </a:lnTo>
                  <a:lnTo>
                    <a:pt x="51" y="157"/>
                  </a:lnTo>
                  <a:lnTo>
                    <a:pt x="55" y="170"/>
                  </a:lnTo>
                  <a:lnTo>
                    <a:pt x="55" y="181"/>
                  </a:lnTo>
                  <a:lnTo>
                    <a:pt x="66" y="202"/>
                  </a:lnTo>
                  <a:lnTo>
                    <a:pt x="56" y="225"/>
                  </a:lnTo>
                  <a:lnTo>
                    <a:pt x="47" y="249"/>
                  </a:lnTo>
                  <a:lnTo>
                    <a:pt x="42" y="271"/>
                  </a:lnTo>
                  <a:lnTo>
                    <a:pt x="42" y="286"/>
                  </a:lnTo>
                  <a:lnTo>
                    <a:pt x="46" y="299"/>
                  </a:lnTo>
                  <a:lnTo>
                    <a:pt x="49" y="285"/>
                  </a:lnTo>
                  <a:lnTo>
                    <a:pt x="59" y="298"/>
                  </a:lnTo>
                  <a:lnTo>
                    <a:pt x="71" y="311"/>
                  </a:lnTo>
                  <a:lnTo>
                    <a:pt x="75" y="322"/>
                  </a:lnTo>
                  <a:lnTo>
                    <a:pt x="85" y="331"/>
                  </a:lnTo>
                  <a:lnTo>
                    <a:pt x="88" y="328"/>
                  </a:lnTo>
                  <a:lnTo>
                    <a:pt x="105" y="338"/>
                  </a:lnTo>
                  <a:lnTo>
                    <a:pt x="108" y="350"/>
                  </a:lnTo>
                  <a:lnTo>
                    <a:pt x="122" y="347"/>
                  </a:lnTo>
                  <a:lnTo>
                    <a:pt x="127" y="337"/>
                  </a:lnTo>
                  <a:lnTo>
                    <a:pt x="116" y="325"/>
                  </a:lnTo>
                  <a:lnTo>
                    <a:pt x="103" y="322"/>
                  </a:lnTo>
                  <a:lnTo>
                    <a:pt x="91" y="309"/>
                  </a:lnTo>
                  <a:lnTo>
                    <a:pt x="86" y="288"/>
                  </a:lnTo>
                  <a:lnTo>
                    <a:pt x="76" y="266"/>
                  </a:lnTo>
                  <a:lnTo>
                    <a:pt x="62" y="266"/>
                  </a:lnTo>
                  <a:lnTo>
                    <a:pt x="60" y="248"/>
                  </a:lnTo>
                  <a:lnTo>
                    <a:pt x="65" y="228"/>
                  </a:lnTo>
                  <a:lnTo>
                    <a:pt x="73" y="193"/>
                  </a:lnTo>
                  <a:lnTo>
                    <a:pt x="72" y="167"/>
                  </a:lnTo>
                  <a:lnTo>
                    <a:pt x="91" y="166"/>
                  </a:lnTo>
                  <a:lnTo>
                    <a:pt x="90" y="185"/>
                  </a:lnTo>
                  <a:lnTo>
                    <a:pt x="107" y="185"/>
                  </a:lnTo>
                  <a:lnTo>
                    <a:pt x="127" y="195"/>
                  </a:lnTo>
                  <a:lnTo>
                    <a:pt x="119" y="167"/>
                  </a:lnTo>
                  <a:lnTo>
                    <a:pt x="130" y="147"/>
                  </a:lnTo>
                  <a:lnTo>
                    <a:pt x="157" y="143"/>
                  </a:lnTo>
                  <a:lnTo>
                    <a:pt x="177" y="146"/>
                  </a:lnTo>
                  <a:lnTo>
                    <a:pt x="177" y="146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8" name="Tajikistan">
              <a:extLst>
                <a:ext uri="{FF2B5EF4-FFF2-40B4-BE49-F238E27FC236}">
                  <a16:creationId xmlns:a16="http://schemas.microsoft.com/office/drawing/2014/main" id="{56B3B13C-103F-4AFC-8D58-FD9A6BF0F1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074819" y="2515962"/>
              <a:ext cx="252412" cy="158750"/>
            </a:xfrm>
            <a:custGeom>
              <a:avLst/>
              <a:gdLst>
                <a:gd name="T0" fmla="*/ 62 w 159"/>
                <a:gd name="T1" fmla="*/ 16 h 100"/>
                <a:gd name="T2" fmla="*/ 55 w 159"/>
                <a:gd name="T3" fmla="*/ 17 h 100"/>
                <a:gd name="T4" fmla="*/ 50 w 159"/>
                <a:gd name="T5" fmla="*/ 10 h 100"/>
                <a:gd name="T6" fmla="*/ 51 w 159"/>
                <a:gd name="T7" fmla="*/ 0 h 100"/>
                <a:gd name="T8" fmla="*/ 27 w 159"/>
                <a:gd name="T9" fmla="*/ 5 h 100"/>
                <a:gd name="T10" fmla="*/ 25 w 159"/>
                <a:gd name="T11" fmla="*/ 20 h 100"/>
                <a:gd name="T12" fmla="*/ 19 w 159"/>
                <a:gd name="T13" fmla="*/ 33 h 100"/>
                <a:gd name="T14" fmla="*/ 2 w 159"/>
                <a:gd name="T15" fmla="*/ 32 h 100"/>
                <a:gd name="T16" fmla="*/ 0 w 159"/>
                <a:gd name="T17" fmla="*/ 42 h 100"/>
                <a:gd name="T18" fmla="*/ 16 w 159"/>
                <a:gd name="T19" fmla="*/ 48 h 100"/>
                <a:gd name="T20" fmla="*/ 25 w 159"/>
                <a:gd name="T21" fmla="*/ 66 h 100"/>
                <a:gd name="T22" fmla="*/ 20 w 159"/>
                <a:gd name="T23" fmla="*/ 90 h 100"/>
                <a:gd name="T24" fmla="*/ 27 w 159"/>
                <a:gd name="T25" fmla="*/ 94 h 100"/>
                <a:gd name="T26" fmla="*/ 40 w 159"/>
                <a:gd name="T27" fmla="*/ 85 h 100"/>
                <a:gd name="T28" fmla="*/ 47 w 159"/>
                <a:gd name="T29" fmla="*/ 90 h 100"/>
                <a:gd name="T30" fmla="*/ 51 w 159"/>
                <a:gd name="T31" fmla="*/ 79 h 100"/>
                <a:gd name="T32" fmla="*/ 62 w 159"/>
                <a:gd name="T33" fmla="*/ 80 h 100"/>
                <a:gd name="T34" fmla="*/ 65 w 159"/>
                <a:gd name="T35" fmla="*/ 76 h 100"/>
                <a:gd name="T36" fmla="*/ 64 w 159"/>
                <a:gd name="T37" fmla="*/ 67 h 100"/>
                <a:gd name="T38" fmla="*/ 70 w 159"/>
                <a:gd name="T39" fmla="*/ 58 h 100"/>
                <a:gd name="T40" fmla="*/ 83 w 159"/>
                <a:gd name="T41" fmla="*/ 64 h 100"/>
                <a:gd name="T42" fmla="*/ 83 w 159"/>
                <a:gd name="T43" fmla="*/ 71 h 100"/>
                <a:gd name="T44" fmla="*/ 88 w 159"/>
                <a:gd name="T45" fmla="*/ 72 h 100"/>
                <a:gd name="T46" fmla="*/ 92 w 159"/>
                <a:gd name="T47" fmla="*/ 92 h 100"/>
                <a:gd name="T48" fmla="*/ 101 w 159"/>
                <a:gd name="T49" fmla="*/ 100 h 100"/>
                <a:gd name="T50" fmla="*/ 107 w 159"/>
                <a:gd name="T51" fmla="*/ 96 h 100"/>
                <a:gd name="T52" fmla="*/ 115 w 159"/>
                <a:gd name="T53" fmla="*/ 93 h 100"/>
                <a:gd name="T54" fmla="*/ 125 w 159"/>
                <a:gd name="T55" fmla="*/ 82 h 100"/>
                <a:gd name="T56" fmla="*/ 139 w 159"/>
                <a:gd name="T57" fmla="*/ 84 h 100"/>
                <a:gd name="T58" fmla="*/ 159 w 159"/>
                <a:gd name="T59" fmla="*/ 84 h 100"/>
                <a:gd name="T60" fmla="*/ 152 w 159"/>
                <a:gd name="T61" fmla="*/ 70 h 100"/>
                <a:gd name="T62" fmla="*/ 150 w 159"/>
                <a:gd name="T63" fmla="*/ 60 h 100"/>
                <a:gd name="T64" fmla="*/ 137 w 159"/>
                <a:gd name="T65" fmla="*/ 56 h 100"/>
                <a:gd name="T66" fmla="*/ 131 w 159"/>
                <a:gd name="T67" fmla="*/ 57 h 100"/>
                <a:gd name="T68" fmla="*/ 120 w 159"/>
                <a:gd name="T69" fmla="*/ 36 h 100"/>
                <a:gd name="T70" fmla="*/ 84 w 159"/>
                <a:gd name="T71" fmla="*/ 39 h 100"/>
                <a:gd name="T72" fmla="*/ 57 w 159"/>
                <a:gd name="T73" fmla="*/ 31 h 100"/>
                <a:gd name="T74" fmla="*/ 38 w 159"/>
                <a:gd name="T75" fmla="*/ 33 h 100"/>
                <a:gd name="T76" fmla="*/ 35 w 159"/>
                <a:gd name="T77" fmla="*/ 19 h 100"/>
                <a:gd name="T78" fmla="*/ 57 w 159"/>
                <a:gd name="T79" fmla="*/ 24 h 100"/>
                <a:gd name="T80" fmla="*/ 62 w 159"/>
                <a:gd name="T81" fmla="*/ 16 h 100"/>
                <a:gd name="T82" fmla="*/ 62 w 159"/>
                <a:gd name="T83" fmla="*/ 16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9" h="100">
                  <a:moveTo>
                    <a:pt x="62" y="16"/>
                  </a:moveTo>
                  <a:lnTo>
                    <a:pt x="55" y="17"/>
                  </a:lnTo>
                  <a:lnTo>
                    <a:pt x="50" y="10"/>
                  </a:lnTo>
                  <a:lnTo>
                    <a:pt x="51" y="0"/>
                  </a:lnTo>
                  <a:lnTo>
                    <a:pt x="27" y="5"/>
                  </a:lnTo>
                  <a:lnTo>
                    <a:pt x="25" y="20"/>
                  </a:lnTo>
                  <a:lnTo>
                    <a:pt x="19" y="33"/>
                  </a:lnTo>
                  <a:lnTo>
                    <a:pt x="2" y="32"/>
                  </a:lnTo>
                  <a:lnTo>
                    <a:pt x="0" y="42"/>
                  </a:lnTo>
                  <a:lnTo>
                    <a:pt x="16" y="48"/>
                  </a:lnTo>
                  <a:lnTo>
                    <a:pt x="25" y="66"/>
                  </a:lnTo>
                  <a:lnTo>
                    <a:pt x="20" y="90"/>
                  </a:lnTo>
                  <a:lnTo>
                    <a:pt x="27" y="94"/>
                  </a:lnTo>
                  <a:lnTo>
                    <a:pt x="40" y="85"/>
                  </a:lnTo>
                  <a:lnTo>
                    <a:pt x="47" y="90"/>
                  </a:lnTo>
                  <a:lnTo>
                    <a:pt x="51" y="79"/>
                  </a:lnTo>
                  <a:lnTo>
                    <a:pt x="62" y="80"/>
                  </a:lnTo>
                  <a:lnTo>
                    <a:pt x="65" y="76"/>
                  </a:lnTo>
                  <a:lnTo>
                    <a:pt x="64" y="67"/>
                  </a:lnTo>
                  <a:lnTo>
                    <a:pt x="70" y="58"/>
                  </a:lnTo>
                  <a:lnTo>
                    <a:pt x="83" y="64"/>
                  </a:lnTo>
                  <a:lnTo>
                    <a:pt x="83" y="71"/>
                  </a:lnTo>
                  <a:lnTo>
                    <a:pt x="88" y="72"/>
                  </a:lnTo>
                  <a:lnTo>
                    <a:pt x="92" y="92"/>
                  </a:lnTo>
                  <a:lnTo>
                    <a:pt x="101" y="100"/>
                  </a:lnTo>
                  <a:lnTo>
                    <a:pt x="107" y="96"/>
                  </a:lnTo>
                  <a:lnTo>
                    <a:pt x="115" y="93"/>
                  </a:lnTo>
                  <a:lnTo>
                    <a:pt x="125" y="82"/>
                  </a:lnTo>
                  <a:lnTo>
                    <a:pt x="139" y="84"/>
                  </a:lnTo>
                  <a:lnTo>
                    <a:pt x="159" y="84"/>
                  </a:lnTo>
                  <a:lnTo>
                    <a:pt x="152" y="70"/>
                  </a:lnTo>
                  <a:lnTo>
                    <a:pt x="150" y="60"/>
                  </a:lnTo>
                  <a:lnTo>
                    <a:pt x="137" y="56"/>
                  </a:lnTo>
                  <a:lnTo>
                    <a:pt x="131" y="57"/>
                  </a:lnTo>
                  <a:lnTo>
                    <a:pt x="120" y="36"/>
                  </a:lnTo>
                  <a:lnTo>
                    <a:pt x="84" y="39"/>
                  </a:lnTo>
                  <a:lnTo>
                    <a:pt x="57" y="31"/>
                  </a:lnTo>
                  <a:lnTo>
                    <a:pt x="38" y="33"/>
                  </a:lnTo>
                  <a:lnTo>
                    <a:pt x="35" y="19"/>
                  </a:lnTo>
                  <a:lnTo>
                    <a:pt x="57" y="24"/>
                  </a:lnTo>
                  <a:lnTo>
                    <a:pt x="62" y="16"/>
                  </a:lnTo>
                  <a:lnTo>
                    <a:pt x="62" y="16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9" name="Turkmenistan">
              <a:extLst>
                <a:ext uri="{FF2B5EF4-FFF2-40B4-BE49-F238E27FC236}">
                  <a16:creationId xmlns:a16="http://schemas.microsoft.com/office/drawing/2014/main" id="{BFB5B0F8-3636-4E3C-9132-8163DBFACA9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2219" y="2449287"/>
              <a:ext cx="471487" cy="282575"/>
            </a:xfrm>
            <a:custGeom>
              <a:avLst/>
              <a:gdLst>
                <a:gd name="T0" fmla="*/ 297 w 297"/>
                <a:gd name="T1" fmla="*/ 127 h 178"/>
                <a:gd name="T2" fmla="*/ 294 w 297"/>
                <a:gd name="T3" fmla="*/ 112 h 178"/>
                <a:gd name="T4" fmla="*/ 265 w 297"/>
                <a:gd name="T5" fmla="*/ 102 h 178"/>
                <a:gd name="T6" fmla="*/ 243 w 297"/>
                <a:gd name="T7" fmla="*/ 90 h 178"/>
                <a:gd name="T8" fmla="*/ 227 w 297"/>
                <a:gd name="T9" fmla="*/ 79 h 178"/>
                <a:gd name="T10" fmla="*/ 201 w 297"/>
                <a:gd name="T11" fmla="*/ 63 h 178"/>
                <a:gd name="T12" fmla="*/ 185 w 297"/>
                <a:gd name="T13" fmla="*/ 39 h 178"/>
                <a:gd name="T14" fmla="*/ 177 w 297"/>
                <a:gd name="T15" fmla="*/ 34 h 178"/>
                <a:gd name="T16" fmla="*/ 157 w 297"/>
                <a:gd name="T17" fmla="*/ 35 h 178"/>
                <a:gd name="T18" fmla="*/ 148 w 297"/>
                <a:gd name="T19" fmla="*/ 30 h 178"/>
                <a:gd name="T20" fmla="*/ 141 w 297"/>
                <a:gd name="T21" fmla="*/ 13 h 178"/>
                <a:gd name="T22" fmla="*/ 112 w 297"/>
                <a:gd name="T23" fmla="*/ 0 h 178"/>
                <a:gd name="T24" fmla="*/ 99 w 297"/>
                <a:gd name="T25" fmla="*/ 14 h 178"/>
                <a:gd name="T26" fmla="*/ 85 w 297"/>
                <a:gd name="T27" fmla="*/ 22 h 178"/>
                <a:gd name="T28" fmla="*/ 91 w 297"/>
                <a:gd name="T29" fmla="*/ 33 h 178"/>
                <a:gd name="T30" fmla="*/ 69 w 297"/>
                <a:gd name="T31" fmla="*/ 33 h 178"/>
                <a:gd name="T32" fmla="*/ 60 w 297"/>
                <a:gd name="T33" fmla="*/ 35 h 178"/>
                <a:gd name="T34" fmla="*/ 42 w 297"/>
                <a:gd name="T35" fmla="*/ 16 h 178"/>
                <a:gd name="T36" fmla="*/ 28 w 297"/>
                <a:gd name="T37" fmla="*/ 10 h 178"/>
                <a:gd name="T38" fmla="*/ 7 w 297"/>
                <a:gd name="T39" fmla="*/ 14 h 178"/>
                <a:gd name="T40" fmla="*/ 0 w 297"/>
                <a:gd name="T41" fmla="*/ 22 h 178"/>
                <a:gd name="T42" fmla="*/ 9 w 297"/>
                <a:gd name="T43" fmla="*/ 37 h 178"/>
                <a:gd name="T44" fmla="*/ 7 w 297"/>
                <a:gd name="T45" fmla="*/ 20 h 178"/>
                <a:gd name="T46" fmla="*/ 21 w 297"/>
                <a:gd name="T47" fmla="*/ 14 h 178"/>
                <a:gd name="T48" fmla="*/ 31 w 297"/>
                <a:gd name="T49" fmla="*/ 28 h 178"/>
                <a:gd name="T50" fmla="*/ 48 w 297"/>
                <a:gd name="T51" fmla="*/ 42 h 178"/>
                <a:gd name="T52" fmla="*/ 33 w 297"/>
                <a:gd name="T53" fmla="*/ 49 h 178"/>
                <a:gd name="T54" fmla="*/ 13 w 297"/>
                <a:gd name="T55" fmla="*/ 43 h 178"/>
                <a:gd name="T56" fmla="*/ 13 w 297"/>
                <a:gd name="T57" fmla="*/ 63 h 178"/>
                <a:gd name="T58" fmla="*/ 26 w 297"/>
                <a:gd name="T59" fmla="*/ 65 h 178"/>
                <a:gd name="T60" fmla="*/ 25 w 297"/>
                <a:gd name="T61" fmla="*/ 81 h 178"/>
                <a:gd name="T62" fmla="*/ 42 w 297"/>
                <a:gd name="T63" fmla="*/ 89 h 178"/>
                <a:gd name="T64" fmla="*/ 45 w 297"/>
                <a:gd name="T65" fmla="*/ 114 h 178"/>
                <a:gd name="T66" fmla="*/ 51 w 297"/>
                <a:gd name="T67" fmla="*/ 131 h 178"/>
                <a:gd name="T68" fmla="*/ 67 w 297"/>
                <a:gd name="T69" fmla="*/ 127 h 178"/>
                <a:gd name="T70" fmla="*/ 78 w 297"/>
                <a:gd name="T71" fmla="*/ 112 h 178"/>
                <a:gd name="T72" fmla="*/ 91 w 297"/>
                <a:gd name="T73" fmla="*/ 113 h 178"/>
                <a:gd name="T74" fmla="*/ 100 w 297"/>
                <a:gd name="T75" fmla="*/ 109 h 178"/>
                <a:gd name="T76" fmla="*/ 114 w 297"/>
                <a:gd name="T77" fmla="*/ 112 h 178"/>
                <a:gd name="T78" fmla="*/ 138 w 297"/>
                <a:gd name="T79" fmla="*/ 124 h 178"/>
                <a:gd name="T80" fmla="*/ 154 w 297"/>
                <a:gd name="T81" fmla="*/ 127 h 178"/>
                <a:gd name="T82" fmla="*/ 181 w 297"/>
                <a:gd name="T83" fmla="*/ 147 h 178"/>
                <a:gd name="T84" fmla="*/ 196 w 297"/>
                <a:gd name="T85" fmla="*/ 148 h 178"/>
                <a:gd name="T86" fmla="*/ 202 w 297"/>
                <a:gd name="T87" fmla="*/ 169 h 178"/>
                <a:gd name="T88" fmla="*/ 224 w 297"/>
                <a:gd name="T89" fmla="*/ 178 h 178"/>
                <a:gd name="T90" fmla="*/ 239 w 297"/>
                <a:gd name="T91" fmla="*/ 175 h 178"/>
                <a:gd name="T92" fmla="*/ 240 w 297"/>
                <a:gd name="T93" fmla="*/ 164 h 178"/>
                <a:gd name="T94" fmla="*/ 255 w 297"/>
                <a:gd name="T95" fmla="*/ 160 h 178"/>
                <a:gd name="T96" fmla="*/ 264 w 297"/>
                <a:gd name="T97" fmla="*/ 153 h 178"/>
                <a:gd name="T98" fmla="*/ 264 w 297"/>
                <a:gd name="T99" fmla="*/ 133 h 178"/>
                <a:gd name="T100" fmla="*/ 279 w 297"/>
                <a:gd name="T101" fmla="*/ 128 h 178"/>
                <a:gd name="T102" fmla="*/ 280 w 297"/>
                <a:gd name="T103" fmla="*/ 120 h 178"/>
                <a:gd name="T104" fmla="*/ 291 w 297"/>
                <a:gd name="T105" fmla="*/ 127 h 178"/>
                <a:gd name="T106" fmla="*/ 297 w 297"/>
                <a:gd name="T107" fmla="*/ 127 h 178"/>
                <a:gd name="T108" fmla="*/ 297 w 297"/>
                <a:gd name="T109" fmla="*/ 127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97" h="178">
                  <a:moveTo>
                    <a:pt x="297" y="127"/>
                  </a:moveTo>
                  <a:lnTo>
                    <a:pt x="294" y="112"/>
                  </a:lnTo>
                  <a:lnTo>
                    <a:pt x="265" y="102"/>
                  </a:lnTo>
                  <a:lnTo>
                    <a:pt x="243" y="90"/>
                  </a:lnTo>
                  <a:lnTo>
                    <a:pt x="227" y="79"/>
                  </a:lnTo>
                  <a:lnTo>
                    <a:pt x="201" y="63"/>
                  </a:lnTo>
                  <a:lnTo>
                    <a:pt x="185" y="39"/>
                  </a:lnTo>
                  <a:lnTo>
                    <a:pt x="177" y="34"/>
                  </a:lnTo>
                  <a:lnTo>
                    <a:pt x="157" y="35"/>
                  </a:lnTo>
                  <a:lnTo>
                    <a:pt x="148" y="30"/>
                  </a:lnTo>
                  <a:lnTo>
                    <a:pt x="141" y="13"/>
                  </a:lnTo>
                  <a:lnTo>
                    <a:pt x="112" y="0"/>
                  </a:lnTo>
                  <a:lnTo>
                    <a:pt x="99" y="14"/>
                  </a:lnTo>
                  <a:lnTo>
                    <a:pt x="85" y="22"/>
                  </a:lnTo>
                  <a:lnTo>
                    <a:pt x="91" y="33"/>
                  </a:lnTo>
                  <a:lnTo>
                    <a:pt x="69" y="33"/>
                  </a:lnTo>
                  <a:lnTo>
                    <a:pt x="60" y="35"/>
                  </a:lnTo>
                  <a:lnTo>
                    <a:pt x="42" y="16"/>
                  </a:lnTo>
                  <a:lnTo>
                    <a:pt x="28" y="10"/>
                  </a:lnTo>
                  <a:lnTo>
                    <a:pt x="7" y="14"/>
                  </a:lnTo>
                  <a:lnTo>
                    <a:pt x="0" y="22"/>
                  </a:lnTo>
                  <a:lnTo>
                    <a:pt x="9" y="37"/>
                  </a:lnTo>
                  <a:lnTo>
                    <a:pt x="7" y="20"/>
                  </a:lnTo>
                  <a:lnTo>
                    <a:pt x="21" y="14"/>
                  </a:lnTo>
                  <a:lnTo>
                    <a:pt x="31" y="28"/>
                  </a:lnTo>
                  <a:lnTo>
                    <a:pt x="48" y="42"/>
                  </a:lnTo>
                  <a:lnTo>
                    <a:pt x="33" y="49"/>
                  </a:lnTo>
                  <a:lnTo>
                    <a:pt x="13" y="43"/>
                  </a:lnTo>
                  <a:lnTo>
                    <a:pt x="13" y="63"/>
                  </a:lnTo>
                  <a:lnTo>
                    <a:pt x="26" y="65"/>
                  </a:lnTo>
                  <a:lnTo>
                    <a:pt x="25" y="81"/>
                  </a:lnTo>
                  <a:lnTo>
                    <a:pt x="42" y="89"/>
                  </a:lnTo>
                  <a:lnTo>
                    <a:pt x="45" y="114"/>
                  </a:lnTo>
                  <a:lnTo>
                    <a:pt x="51" y="131"/>
                  </a:lnTo>
                  <a:lnTo>
                    <a:pt x="67" y="127"/>
                  </a:lnTo>
                  <a:lnTo>
                    <a:pt x="78" y="112"/>
                  </a:lnTo>
                  <a:lnTo>
                    <a:pt x="91" y="113"/>
                  </a:lnTo>
                  <a:lnTo>
                    <a:pt x="100" y="109"/>
                  </a:lnTo>
                  <a:lnTo>
                    <a:pt x="114" y="112"/>
                  </a:lnTo>
                  <a:lnTo>
                    <a:pt x="138" y="124"/>
                  </a:lnTo>
                  <a:lnTo>
                    <a:pt x="154" y="127"/>
                  </a:lnTo>
                  <a:lnTo>
                    <a:pt x="181" y="147"/>
                  </a:lnTo>
                  <a:lnTo>
                    <a:pt x="196" y="148"/>
                  </a:lnTo>
                  <a:lnTo>
                    <a:pt x="202" y="169"/>
                  </a:lnTo>
                  <a:lnTo>
                    <a:pt x="224" y="178"/>
                  </a:lnTo>
                  <a:lnTo>
                    <a:pt x="239" y="175"/>
                  </a:lnTo>
                  <a:lnTo>
                    <a:pt x="240" y="164"/>
                  </a:lnTo>
                  <a:lnTo>
                    <a:pt x="255" y="160"/>
                  </a:lnTo>
                  <a:lnTo>
                    <a:pt x="264" y="153"/>
                  </a:lnTo>
                  <a:lnTo>
                    <a:pt x="264" y="133"/>
                  </a:lnTo>
                  <a:lnTo>
                    <a:pt x="279" y="128"/>
                  </a:lnTo>
                  <a:lnTo>
                    <a:pt x="280" y="120"/>
                  </a:lnTo>
                  <a:lnTo>
                    <a:pt x="291" y="127"/>
                  </a:lnTo>
                  <a:lnTo>
                    <a:pt x="297" y="127"/>
                  </a:lnTo>
                  <a:lnTo>
                    <a:pt x="297" y="127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0" name="Timor-Leste">
              <a:extLst>
                <a:ext uri="{FF2B5EF4-FFF2-40B4-BE49-F238E27FC236}">
                  <a16:creationId xmlns:a16="http://schemas.microsoft.com/office/drawing/2014/main" id="{78497DA8-07D1-45BE-A354-23E363B049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44919" y="4373337"/>
              <a:ext cx="79375" cy="42863"/>
            </a:xfrm>
            <a:custGeom>
              <a:avLst/>
              <a:gdLst>
                <a:gd name="T0" fmla="*/ 1 w 50"/>
                <a:gd name="T1" fmla="*/ 27 h 27"/>
                <a:gd name="T2" fmla="*/ 19 w 50"/>
                <a:gd name="T3" fmla="*/ 20 h 27"/>
                <a:gd name="T4" fmla="*/ 42 w 50"/>
                <a:gd name="T5" fmla="*/ 10 h 27"/>
                <a:gd name="T6" fmla="*/ 50 w 50"/>
                <a:gd name="T7" fmla="*/ 3 h 27"/>
                <a:gd name="T8" fmla="*/ 43 w 50"/>
                <a:gd name="T9" fmla="*/ 0 h 27"/>
                <a:gd name="T10" fmla="*/ 35 w 50"/>
                <a:gd name="T11" fmla="*/ 3 h 27"/>
                <a:gd name="T12" fmla="*/ 20 w 50"/>
                <a:gd name="T13" fmla="*/ 4 h 27"/>
                <a:gd name="T14" fmla="*/ 3 w 50"/>
                <a:gd name="T15" fmla="*/ 10 h 27"/>
                <a:gd name="T16" fmla="*/ 0 w 50"/>
                <a:gd name="T17" fmla="*/ 15 h 27"/>
                <a:gd name="T18" fmla="*/ 2 w 50"/>
                <a:gd name="T19" fmla="*/ 20 h 27"/>
                <a:gd name="T20" fmla="*/ 1 w 50"/>
                <a:gd name="T21" fmla="*/ 27 h 27"/>
                <a:gd name="T22" fmla="*/ 1 w 50"/>
                <a:gd name="T23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0" h="27">
                  <a:moveTo>
                    <a:pt x="1" y="27"/>
                  </a:moveTo>
                  <a:lnTo>
                    <a:pt x="19" y="20"/>
                  </a:lnTo>
                  <a:lnTo>
                    <a:pt x="42" y="10"/>
                  </a:lnTo>
                  <a:lnTo>
                    <a:pt x="50" y="3"/>
                  </a:lnTo>
                  <a:lnTo>
                    <a:pt x="43" y="0"/>
                  </a:lnTo>
                  <a:lnTo>
                    <a:pt x="35" y="3"/>
                  </a:lnTo>
                  <a:lnTo>
                    <a:pt x="20" y="4"/>
                  </a:lnTo>
                  <a:lnTo>
                    <a:pt x="3" y="10"/>
                  </a:lnTo>
                  <a:lnTo>
                    <a:pt x="0" y="15"/>
                  </a:lnTo>
                  <a:lnTo>
                    <a:pt x="2" y="20"/>
                  </a:lnTo>
                  <a:lnTo>
                    <a:pt x="1" y="27"/>
                  </a:lnTo>
                  <a:lnTo>
                    <a:pt x="1" y="27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1" name="Tunisia">
              <a:extLst>
                <a:ext uri="{FF2B5EF4-FFF2-40B4-BE49-F238E27FC236}">
                  <a16:creationId xmlns:a16="http://schemas.microsoft.com/office/drawing/2014/main" id="{9B11F820-0438-4DE0-ABFE-95C8D46DA4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3319" y="2652220"/>
              <a:ext cx="125412" cy="264059"/>
            </a:xfrm>
            <a:custGeom>
              <a:avLst/>
              <a:gdLst>
                <a:gd name="T0" fmla="*/ 79 w 79"/>
                <a:gd name="T1" fmla="*/ 102 h 168"/>
                <a:gd name="T2" fmla="*/ 72 w 79"/>
                <a:gd name="T3" fmla="*/ 98 h 168"/>
                <a:gd name="T4" fmla="*/ 66 w 79"/>
                <a:gd name="T5" fmla="*/ 87 h 168"/>
                <a:gd name="T6" fmla="*/ 56 w 79"/>
                <a:gd name="T7" fmla="*/ 86 h 168"/>
                <a:gd name="T8" fmla="*/ 51 w 79"/>
                <a:gd name="T9" fmla="*/ 73 h 168"/>
                <a:gd name="T10" fmla="*/ 64 w 79"/>
                <a:gd name="T11" fmla="*/ 61 h 168"/>
                <a:gd name="T12" fmla="*/ 66 w 79"/>
                <a:gd name="T13" fmla="*/ 41 h 168"/>
                <a:gd name="T14" fmla="*/ 59 w 79"/>
                <a:gd name="T15" fmla="*/ 35 h 168"/>
                <a:gd name="T16" fmla="*/ 59 w 79"/>
                <a:gd name="T17" fmla="*/ 24 h 168"/>
                <a:gd name="T18" fmla="*/ 68 w 79"/>
                <a:gd name="T19" fmla="*/ 12 h 168"/>
                <a:gd name="T20" fmla="*/ 66 w 79"/>
                <a:gd name="T21" fmla="*/ 7 h 168"/>
                <a:gd name="T22" fmla="*/ 50 w 79"/>
                <a:gd name="T23" fmla="*/ 15 h 168"/>
                <a:gd name="T24" fmla="*/ 50 w 79"/>
                <a:gd name="T25" fmla="*/ 3 h 168"/>
                <a:gd name="T26" fmla="*/ 36 w 79"/>
                <a:gd name="T27" fmla="*/ 0 h 168"/>
                <a:gd name="T28" fmla="*/ 16 w 79"/>
                <a:gd name="T29" fmla="*/ 11 h 168"/>
                <a:gd name="T30" fmla="*/ 12 w 79"/>
                <a:gd name="T31" fmla="*/ 23 h 168"/>
                <a:gd name="T32" fmla="*/ 16 w 79"/>
                <a:gd name="T33" fmla="*/ 46 h 168"/>
                <a:gd name="T34" fmla="*/ 12 w 79"/>
                <a:gd name="T35" fmla="*/ 66 h 168"/>
                <a:gd name="T36" fmla="*/ 0 w 79"/>
                <a:gd name="T37" fmla="*/ 79 h 168"/>
                <a:gd name="T38" fmla="*/ 2 w 79"/>
                <a:gd name="T39" fmla="*/ 97 h 168"/>
                <a:gd name="T40" fmla="*/ 18 w 79"/>
                <a:gd name="T41" fmla="*/ 112 h 168"/>
                <a:gd name="T42" fmla="*/ 18 w 79"/>
                <a:gd name="T43" fmla="*/ 117 h 168"/>
                <a:gd name="T44" fmla="*/ 32 w 79"/>
                <a:gd name="T45" fmla="*/ 126 h 168"/>
                <a:gd name="T46" fmla="*/ 41 w 79"/>
                <a:gd name="T47" fmla="*/ 168 h 168"/>
                <a:gd name="T48" fmla="*/ 51 w 79"/>
                <a:gd name="T49" fmla="*/ 164 h 168"/>
                <a:gd name="T50" fmla="*/ 52 w 79"/>
                <a:gd name="T51" fmla="*/ 154 h 168"/>
                <a:gd name="T52" fmla="*/ 49 w 79"/>
                <a:gd name="T53" fmla="*/ 143 h 168"/>
                <a:gd name="T54" fmla="*/ 63 w 79"/>
                <a:gd name="T55" fmla="*/ 134 h 168"/>
                <a:gd name="T56" fmla="*/ 69 w 79"/>
                <a:gd name="T57" fmla="*/ 126 h 168"/>
                <a:gd name="T58" fmla="*/ 79 w 79"/>
                <a:gd name="T59" fmla="*/ 120 h 168"/>
                <a:gd name="T60" fmla="*/ 79 w 79"/>
                <a:gd name="T61" fmla="*/ 102 h 168"/>
                <a:gd name="T62" fmla="*/ 79 w 79"/>
                <a:gd name="T63" fmla="*/ 102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9" h="168">
                  <a:moveTo>
                    <a:pt x="79" y="102"/>
                  </a:moveTo>
                  <a:lnTo>
                    <a:pt x="72" y="98"/>
                  </a:lnTo>
                  <a:lnTo>
                    <a:pt x="66" y="87"/>
                  </a:lnTo>
                  <a:lnTo>
                    <a:pt x="56" y="86"/>
                  </a:lnTo>
                  <a:lnTo>
                    <a:pt x="51" y="73"/>
                  </a:lnTo>
                  <a:lnTo>
                    <a:pt x="64" y="61"/>
                  </a:lnTo>
                  <a:lnTo>
                    <a:pt x="66" y="41"/>
                  </a:lnTo>
                  <a:lnTo>
                    <a:pt x="59" y="35"/>
                  </a:lnTo>
                  <a:lnTo>
                    <a:pt x="59" y="24"/>
                  </a:lnTo>
                  <a:lnTo>
                    <a:pt x="68" y="12"/>
                  </a:lnTo>
                  <a:lnTo>
                    <a:pt x="66" y="7"/>
                  </a:lnTo>
                  <a:lnTo>
                    <a:pt x="50" y="15"/>
                  </a:lnTo>
                  <a:lnTo>
                    <a:pt x="50" y="3"/>
                  </a:lnTo>
                  <a:lnTo>
                    <a:pt x="36" y="0"/>
                  </a:lnTo>
                  <a:lnTo>
                    <a:pt x="16" y="11"/>
                  </a:lnTo>
                  <a:lnTo>
                    <a:pt x="12" y="23"/>
                  </a:lnTo>
                  <a:lnTo>
                    <a:pt x="16" y="46"/>
                  </a:lnTo>
                  <a:lnTo>
                    <a:pt x="12" y="66"/>
                  </a:lnTo>
                  <a:lnTo>
                    <a:pt x="0" y="79"/>
                  </a:lnTo>
                  <a:lnTo>
                    <a:pt x="2" y="97"/>
                  </a:lnTo>
                  <a:lnTo>
                    <a:pt x="18" y="112"/>
                  </a:lnTo>
                  <a:lnTo>
                    <a:pt x="18" y="117"/>
                  </a:lnTo>
                  <a:lnTo>
                    <a:pt x="32" y="126"/>
                  </a:lnTo>
                  <a:lnTo>
                    <a:pt x="41" y="168"/>
                  </a:lnTo>
                  <a:lnTo>
                    <a:pt x="51" y="164"/>
                  </a:lnTo>
                  <a:lnTo>
                    <a:pt x="52" y="154"/>
                  </a:lnTo>
                  <a:lnTo>
                    <a:pt x="49" y="143"/>
                  </a:lnTo>
                  <a:lnTo>
                    <a:pt x="63" y="134"/>
                  </a:lnTo>
                  <a:lnTo>
                    <a:pt x="69" y="126"/>
                  </a:lnTo>
                  <a:lnTo>
                    <a:pt x="79" y="120"/>
                  </a:lnTo>
                  <a:lnTo>
                    <a:pt x="79" y="102"/>
                  </a:lnTo>
                  <a:lnTo>
                    <a:pt x="79" y="102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2" name="Turkey">
              <a:extLst>
                <a:ext uri="{FF2B5EF4-FFF2-40B4-BE49-F238E27FC236}">
                  <a16:creationId xmlns:a16="http://schemas.microsoft.com/office/drawing/2014/main" id="{47315CA2-1326-4FEB-9E82-F353267080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90531" y="2471512"/>
              <a:ext cx="598487" cy="239713"/>
            </a:xfrm>
            <a:custGeom>
              <a:avLst/>
              <a:gdLst>
                <a:gd name="T0" fmla="*/ 173 w 377"/>
                <a:gd name="T1" fmla="*/ 2 h 151"/>
                <a:gd name="T2" fmla="*/ 119 w 377"/>
                <a:gd name="T3" fmla="*/ 10 h 151"/>
                <a:gd name="T4" fmla="*/ 62 w 377"/>
                <a:gd name="T5" fmla="*/ 21 h 151"/>
                <a:gd name="T6" fmla="*/ 26 w 377"/>
                <a:gd name="T7" fmla="*/ 40 h 151"/>
                <a:gd name="T8" fmla="*/ 20 w 377"/>
                <a:gd name="T9" fmla="*/ 74 h 151"/>
                <a:gd name="T10" fmla="*/ 29 w 377"/>
                <a:gd name="T11" fmla="*/ 106 h 151"/>
                <a:gd name="T12" fmla="*/ 64 w 377"/>
                <a:gd name="T13" fmla="*/ 129 h 151"/>
                <a:gd name="T14" fmla="*/ 98 w 377"/>
                <a:gd name="T15" fmla="*/ 140 h 151"/>
                <a:gd name="T16" fmla="*/ 122 w 377"/>
                <a:gd name="T17" fmla="*/ 130 h 151"/>
                <a:gd name="T18" fmla="*/ 169 w 377"/>
                <a:gd name="T19" fmla="*/ 141 h 151"/>
                <a:gd name="T20" fmla="*/ 198 w 377"/>
                <a:gd name="T21" fmla="*/ 133 h 151"/>
                <a:gd name="T22" fmla="*/ 203 w 377"/>
                <a:gd name="T23" fmla="*/ 140 h 151"/>
                <a:gd name="T24" fmla="*/ 216 w 377"/>
                <a:gd name="T25" fmla="*/ 145 h 151"/>
                <a:gd name="T26" fmla="*/ 221 w 377"/>
                <a:gd name="T27" fmla="*/ 127 h 151"/>
                <a:gd name="T28" fmla="*/ 248 w 377"/>
                <a:gd name="T29" fmla="*/ 125 h 151"/>
                <a:gd name="T30" fmla="*/ 275 w 377"/>
                <a:gd name="T31" fmla="*/ 129 h 151"/>
                <a:gd name="T32" fmla="*/ 307 w 377"/>
                <a:gd name="T33" fmla="*/ 120 h 151"/>
                <a:gd name="T34" fmla="*/ 337 w 377"/>
                <a:gd name="T35" fmla="*/ 113 h 151"/>
                <a:gd name="T36" fmla="*/ 369 w 377"/>
                <a:gd name="T37" fmla="*/ 122 h 151"/>
                <a:gd name="T38" fmla="*/ 377 w 377"/>
                <a:gd name="T39" fmla="*/ 118 h 151"/>
                <a:gd name="T40" fmla="*/ 366 w 377"/>
                <a:gd name="T41" fmla="*/ 91 h 151"/>
                <a:gd name="T42" fmla="*/ 367 w 377"/>
                <a:gd name="T43" fmla="*/ 56 h 151"/>
                <a:gd name="T44" fmla="*/ 343 w 377"/>
                <a:gd name="T45" fmla="*/ 44 h 151"/>
                <a:gd name="T46" fmla="*/ 338 w 377"/>
                <a:gd name="T47" fmla="*/ 25 h 151"/>
                <a:gd name="T48" fmla="*/ 297 w 377"/>
                <a:gd name="T49" fmla="*/ 14 h 151"/>
                <a:gd name="T50" fmla="*/ 259 w 377"/>
                <a:gd name="T51" fmla="*/ 24 h 151"/>
                <a:gd name="T52" fmla="*/ 208 w 377"/>
                <a:gd name="T53" fmla="*/ 19 h 151"/>
                <a:gd name="T54" fmla="*/ 23 w 377"/>
                <a:gd name="T55" fmla="*/ 34 h 151"/>
                <a:gd name="T56" fmla="*/ 53 w 377"/>
                <a:gd name="T57" fmla="*/ 25 h 151"/>
                <a:gd name="T58" fmla="*/ 38 w 377"/>
                <a:gd name="T59" fmla="*/ 12 h 151"/>
                <a:gd name="T60" fmla="*/ 19 w 377"/>
                <a:gd name="T61" fmla="*/ 0 h 151"/>
                <a:gd name="T62" fmla="*/ 10 w 377"/>
                <a:gd name="T63" fmla="*/ 14 h 151"/>
                <a:gd name="T64" fmla="*/ 1 w 377"/>
                <a:gd name="T65" fmla="*/ 30 h 151"/>
                <a:gd name="T66" fmla="*/ 8 w 377"/>
                <a:gd name="T67" fmla="*/ 46 h 151"/>
                <a:gd name="T68" fmla="*/ 23 w 377"/>
                <a:gd name="T69" fmla="*/ 34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77" h="151">
                  <a:moveTo>
                    <a:pt x="208" y="19"/>
                  </a:moveTo>
                  <a:lnTo>
                    <a:pt x="173" y="2"/>
                  </a:lnTo>
                  <a:lnTo>
                    <a:pt x="141" y="3"/>
                  </a:lnTo>
                  <a:lnTo>
                    <a:pt x="119" y="10"/>
                  </a:lnTo>
                  <a:lnTo>
                    <a:pt x="98" y="25"/>
                  </a:lnTo>
                  <a:lnTo>
                    <a:pt x="62" y="21"/>
                  </a:lnTo>
                  <a:lnTo>
                    <a:pt x="55" y="40"/>
                  </a:lnTo>
                  <a:lnTo>
                    <a:pt x="26" y="40"/>
                  </a:lnTo>
                  <a:lnTo>
                    <a:pt x="6" y="63"/>
                  </a:lnTo>
                  <a:lnTo>
                    <a:pt x="20" y="74"/>
                  </a:lnTo>
                  <a:lnTo>
                    <a:pt x="13" y="93"/>
                  </a:lnTo>
                  <a:lnTo>
                    <a:pt x="29" y="106"/>
                  </a:lnTo>
                  <a:lnTo>
                    <a:pt x="42" y="130"/>
                  </a:lnTo>
                  <a:lnTo>
                    <a:pt x="64" y="129"/>
                  </a:lnTo>
                  <a:lnTo>
                    <a:pt x="84" y="142"/>
                  </a:lnTo>
                  <a:lnTo>
                    <a:pt x="98" y="140"/>
                  </a:lnTo>
                  <a:lnTo>
                    <a:pt x="101" y="129"/>
                  </a:lnTo>
                  <a:lnTo>
                    <a:pt x="122" y="130"/>
                  </a:lnTo>
                  <a:lnTo>
                    <a:pt x="139" y="143"/>
                  </a:lnTo>
                  <a:lnTo>
                    <a:pt x="169" y="141"/>
                  </a:lnTo>
                  <a:lnTo>
                    <a:pt x="181" y="127"/>
                  </a:lnTo>
                  <a:lnTo>
                    <a:pt x="198" y="133"/>
                  </a:lnTo>
                  <a:lnTo>
                    <a:pt x="210" y="130"/>
                  </a:lnTo>
                  <a:lnTo>
                    <a:pt x="203" y="140"/>
                  </a:lnTo>
                  <a:lnTo>
                    <a:pt x="212" y="151"/>
                  </a:lnTo>
                  <a:lnTo>
                    <a:pt x="216" y="145"/>
                  </a:lnTo>
                  <a:lnTo>
                    <a:pt x="221" y="140"/>
                  </a:lnTo>
                  <a:lnTo>
                    <a:pt x="221" y="127"/>
                  </a:lnTo>
                  <a:lnTo>
                    <a:pt x="228" y="131"/>
                  </a:lnTo>
                  <a:lnTo>
                    <a:pt x="248" y="125"/>
                  </a:lnTo>
                  <a:lnTo>
                    <a:pt x="259" y="129"/>
                  </a:lnTo>
                  <a:lnTo>
                    <a:pt x="275" y="129"/>
                  </a:lnTo>
                  <a:lnTo>
                    <a:pt x="297" y="120"/>
                  </a:lnTo>
                  <a:lnTo>
                    <a:pt x="307" y="120"/>
                  </a:lnTo>
                  <a:lnTo>
                    <a:pt x="329" y="116"/>
                  </a:lnTo>
                  <a:lnTo>
                    <a:pt x="337" y="113"/>
                  </a:lnTo>
                  <a:lnTo>
                    <a:pt x="360" y="116"/>
                  </a:lnTo>
                  <a:lnTo>
                    <a:pt x="369" y="122"/>
                  </a:lnTo>
                  <a:lnTo>
                    <a:pt x="377" y="118"/>
                  </a:lnTo>
                  <a:lnTo>
                    <a:pt x="377" y="118"/>
                  </a:lnTo>
                  <a:lnTo>
                    <a:pt x="363" y="98"/>
                  </a:lnTo>
                  <a:lnTo>
                    <a:pt x="366" y="91"/>
                  </a:lnTo>
                  <a:lnTo>
                    <a:pt x="355" y="64"/>
                  </a:lnTo>
                  <a:lnTo>
                    <a:pt x="367" y="56"/>
                  </a:lnTo>
                  <a:lnTo>
                    <a:pt x="358" y="50"/>
                  </a:lnTo>
                  <a:lnTo>
                    <a:pt x="343" y="44"/>
                  </a:lnTo>
                  <a:lnTo>
                    <a:pt x="343" y="32"/>
                  </a:lnTo>
                  <a:lnTo>
                    <a:pt x="338" y="25"/>
                  </a:lnTo>
                  <a:lnTo>
                    <a:pt x="316" y="14"/>
                  </a:lnTo>
                  <a:lnTo>
                    <a:pt x="297" y="14"/>
                  </a:lnTo>
                  <a:lnTo>
                    <a:pt x="276" y="27"/>
                  </a:lnTo>
                  <a:lnTo>
                    <a:pt x="259" y="24"/>
                  </a:lnTo>
                  <a:lnTo>
                    <a:pt x="238" y="28"/>
                  </a:lnTo>
                  <a:lnTo>
                    <a:pt x="208" y="19"/>
                  </a:lnTo>
                  <a:lnTo>
                    <a:pt x="208" y="19"/>
                  </a:lnTo>
                  <a:close/>
                  <a:moveTo>
                    <a:pt x="23" y="34"/>
                  </a:moveTo>
                  <a:lnTo>
                    <a:pt x="31" y="27"/>
                  </a:lnTo>
                  <a:lnTo>
                    <a:pt x="53" y="25"/>
                  </a:lnTo>
                  <a:lnTo>
                    <a:pt x="56" y="19"/>
                  </a:lnTo>
                  <a:lnTo>
                    <a:pt x="38" y="12"/>
                  </a:lnTo>
                  <a:lnTo>
                    <a:pt x="35" y="3"/>
                  </a:lnTo>
                  <a:lnTo>
                    <a:pt x="19" y="0"/>
                  </a:lnTo>
                  <a:lnTo>
                    <a:pt x="0" y="8"/>
                  </a:lnTo>
                  <a:lnTo>
                    <a:pt x="10" y="14"/>
                  </a:lnTo>
                  <a:lnTo>
                    <a:pt x="5" y="28"/>
                  </a:lnTo>
                  <a:lnTo>
                    <a:pt x="1" y="30"/>
                  </a:lnTo>
                  <a:lnTo>
                    <a:pt x="2" y="36"/>
                  </a:lnTo>
                  <a:lnTo>
                    <a:pt x="8" y="46"/>
                  </a:lnTo>
                  <a:lnTo>
                    <a:pt x="23" y="34"/>
                  </a:lnTo>
                  <a:lnTo>
                    <a:pt x="23" y="34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3" name="Taiwan">
              <a:extLst>
                <a:ext uri="{FF2B5EF4-FFF2-40B4-BE49-F238E27FC236}">
                  <a16:creationId xmlns:a16="http://schemas.microsoft.com/office/drawing/2014/main" id="{12A72530-5142-44D8-8EA0-53A6A383368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2031" y="3108099"/>
              <a:ext cx="47625" cy="125413"/>
            </a:xfrm>
            <a:custGeom>
              <a:avLst/>
              <a:gdLst>
                <a:gd name="T0" fmla="*/ 25 w 30"/>
                <a:gd name="T1" fmla="*/ 60 h 79"/>
                <a:gd name="T2" fmla="*/ 30 w 30"/>
                <a:gd name="T3" fmla="*/ 21 h 79"/>
                <a:gd name="T4" fmla="*/ 30 w 30"/>
                <a:gd name="T5" fmla="*/ 7 h 79"/>
                <a:gd name="T6" fmla="*/ 19 w 30"/>
                <a:gd name="T7" fmla="*/ 0 h 79"/>
                <a:gd name="T8" fmla="*/ 7 w 30"/>
                <a:gd name="T9" fmla="*/ 18 h 79"/>
                <a:gd name="T10" fmla="*/ 0 w 30"/>
                <a:gd name="T11" fmla="*/ 41 h 79"/>
                <a:gd name="T12" fmla="*/ 5 w 30"/>
                <a:gd name="T13" fmla="*/ 59 h 79"/>
                <a:gd name="T14" fmla="*/ 20 w 30"/>
                <a:gd name="T15" fmla="*/ 79 h 79"/>
                <a:gd name="T16" fmla="*/ 25 w 30"/>
                <a:gd name="T17" fmla="*/ 60 h 79"/>
                <a:gd name="T18" fmla="*/ 25 w 30"/>
                <a:gd name="T19" fmla="*/ 6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79">
                  <a:moveTo>
                    <a:pt x="25" y="60"/>
                  </a:moveTo>
                  <a:lnTo>
                    <a:pt x="30" y="21"/>
                  </a:lnTo>
                  <a:lnTo>
                    <a:pt x="30" y="7"/>
                  </a:lnTo>
                  <a:lnTo>
                    <a:pt x="19" y="0"/>
                  </a:lnTo>
                  <a:lnTo>
                    <a:pt x="7" y="18"/>
                  </a:lnTo>
                  <a:lnTo>
                    <a:pt x="0" y="41"/>
                  </a:lnTo>
                  <a:lnTo>
                    <a:pt x="5" y="59"/>
                  </a:lnTo>
                  <a:lnTo>
                    <a:pt x="20" y="79"/>
                  </a:lnTo>
                  <a:lnTo>
                    <a:pt x="25" y="60"/>
                  </a:lnTo>
                  <a:lnTo>
                    <a:pt x="25" y="6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4" name="Tanzania">
              <a:extLst>
                <a:ext uri="{FF2B5EF4-FFF2-40B4-BE49-F238E27FC236}">
                  <a16:creationId xmlns:a16="http://schemas.microsoft.com/office/drawing/2014/main" id="{0CCC7EE3-25E7-445F-8F5B-D50EF2D61D6F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9444" y="4100286"/>
              <a:ext cx="354012" cy="404813"/>
            </a:xfrm>
            <a:custGeom>
              <a:avLst/>
              <a:gdLst>
                <a:gd name="T0" fmla="*/ 18 w 223"/>
                <a:gd name="T1" fmla="*/ 3 h 255"/>
                <a:gd name="T2" fmla="*/ 26 w 223"/>
                <a:gd name="T3" fmla="*/ 30 h 255"/>
                <a:gd name="T4" fmla="*/ 20 w 223"/>
                <a:gd name="T5" fmla="*/ 33 h 255"/>
                <a:gd name="T6" fmla="*/ 26 w 223"/>
                <a:gd name="T7" fmla="*/ 48 h 255"/>
                <a:gd name="T8" fmla="*/ 20 w 223"/>
                <a:gd name="T9" fmla="*/ 61 h 255"/>
                <a:gd name="T10" fmla="*/ 4 w 223"/>
                <a:gd name="T11" fmla="*/ 82 h 255"/>
                <a:gd name="T12" fmla="*/ 0 w 223"/>
                <a:gd name="T13" fmla="*/ 92 h 255"/>
                <a:gd name="T14" fmla="*/ 4 w 223"/>
                <a:gd name="T15" fmla="*/ 106 h 255"/>
                <a:gd name="T16" fmla="*/ 3 w 223"/>
                <a:gd name="T17" fmla="*/ 125 h 255"/>
                <a:gd name="T18" fmla="*/ 21 w 223"/>
                <a:gd name="T19" fmla="*/ 155 h 255"/>
                <a:gd name="T20" fmla="*/ 31 w 223"/>
                <a:gd name="T21" fmla="*/ 179 h 255"/>
                <a:gd name="T22" fmla="*/ 41 w 223"/>
                <a:gd name="T23" fmla="*/ 185 h 255"/>
                <a:gd name="T24" fmla="*/ 65 w 223"/>
                <a:gd name="T25" fmla="*/ 196 h 255"/>
                <a:gd name="T26" fmla="*/ 89 w 223"/>
                <a:gd name="T27" fmla="*/ 206 h 255"/>
                <a:gd name="T28" fmla="*/ 91 w 223"/>
                <a:gd name="T29" fmla="*/ 201 h 255"/>
                <a:gd name="T30" fmla="*/ 102 w 223"/>
                <a:gd name="T31" fmla="*/ 240 h 255"/>
                <a:gd name="T32" fmla="*/ 110 w 223"/>
                <a:gd name="T33" fmla="*/ 249 h 255"/>
                <a:gd name="T34" fmla="*/ 142 w 223"/>
                <a:gd name="T35" fmla="*/ 255 h 255"/>
                <a:gd name="T36" fmla="*/ 162 w 223"/>
                <a:gd name="T37" fmla="*/ 251 h 255"/>
                <a:gd name="T38" fmla="*/ 182 w 223"/>
                <a:gd name="T39" fmla="*/ 244 h 255"/>
                <a:gd name="T40" fmla="*/ 223 w 223"/>
                <a:gd name="T41" fmla="*/ 221 h 255"/>
                <a:gd name="T42" fmla="*/ 215 w 223"/>
                <a:gd name="T43" fmla="*/ 216 h 255"/>
                <a:gd name="T44" fmla="*/ 200 w 223"/>
                <a:gd name="T45" fmla="*/ 178 h 255"/>
                <a:gd name="T46" fmla="*/ 200 w 223"/>
                <a:gd name="T47" fmla="*/ 159 h 255"/>
                <a:gd name="T48" fmla="*/ 206 w 223"/>
                <a:gd name="T49" fmla="*/ 139 h 255"/>
                <a:gd name="T50" fmla="*/ 192 w 223"/>
                <a:gd name="T51" fmla="*/ 116 h 255"/>
                <a:gd name="T52" fmla="*/ 172 w 223"/>
                <a:gd name="T53" fmla="*/ 63 h 255"/>
                <a:gd name="T54" fmla="*/ 96 w 223"/>
                <a:gd name="T55" fmla="*/ 2 h 255"/>
                <a:gd name="T56" fmla="*/ 85 w 223"/>
                <a:gd name="T57" fmla="*/ 12 h 255"/>
                <a:gd name="T58" fmla="*/ 86 w 223"/>
                <a:gd name="T59" fmla="*/ 30 h 255"/>
                <a:gd name="T60" fmla="*/ 71 w 223"/>
                <a:gd name="T61" fmla="*/ 33 h 255"/>
                <a:gd name="T62" fmla="*/ 50 w 223"/>
                <a:gd name="T63" fmla="*/ 41 h 255"/>
                <a:gd name="T64" fmla="*/ 48 w 223"/>
                <a:gd name="T65" fmla="*/ 15 h 255"/>
                <a:gd name="T66" fmla="*/ 49 w 223"/>
                <a:gd name="T67" fmla="*/ 1 h 255"/>
                <a:gd name="T68" fmla="*/ 26 w 223"/>
                <a:gd name="T69" fmla="*/ 0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23" h="255">
                  <a:moveTo>
                    <a:pt x="26" y="0"/>
                  </a:moveTo>
                  <a:lnTo>
                    <a:pt x="18" y="3"/>
                  </a:lnTo>
                  <a:lnTo>
                    <a:pt x="27" y="16"/>
                  </a:lnTo>
                  <a:lnTo>
                    <a:pt x="26" y="30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1" y="43"/>
                  </a:lnTo>
                  <a:lnTo>
                    <a:pt x="26" y="48"/>
                  </a:lnTo>
                  <a:lnTo>
                    <a:pt x="26" y="56"/>
                  </a:lnTo>
                  <a:lnTo>
                    <a:pt x="20" y="61"/>
                  </a:lnTo>
                  <a:lnTo>
                    <a:pt x="12" y="73"/>
                  </a:lnTo>
                  <a:lnTo>
                    <a:pt x="4" y="82"/>
                  </a:lnTo>
                  <a:lnTo>
                    <a:pt x="1" y="82"/>
                  </a:lnTo>
                  <a:lnTo>
                    <a:pt x="0" y="92"/>
                  </a:lnTo>
                  <a:lnTo>
                    <a:pt x="5" y="96"/>
                  </a:lnTo>
                  <a:lnTo>
                    <a:pt x="4" y="106"/>
                  </a:lnTo>
                  <a:lnTo>
                    <a:pt x="8" y="115"/>
                  </a:lnTo>
                  <a:lnTo>
                    <a:pt x="3" y="125"/>
                  </a:lnTo>
                  <a:lnTo>
                    <a:pt x="20" y="141"/>
                  </a:lnTo>
                  <a:lnTo>
                    <a:pt x="21" y="155"/>
                  </a:lnTo>
                  <a:lnTo>
                    <a:pt x="31" y="179"/>
                  </a:lnTo>
                  <a:lnTo>
                    <a:pt x="31" y="179"/>
                  </a:lnTo>
                  <a:lnTo>
                    <a:pt x="32" y="180"/>
                  </a:lnTo>
                  <a:lnTo>
                    <a:pt x="41" y="185"/>
                  </a:lnTo>
                  <a:lnTo>
                    <a:pt x="54" y="188"/>
                  </a:lnTo>
                  <a:lnTo>
                    <a:pt x="65" y="196"/>
                  </a:lnTo>
                  <a:lnTo>
                    <a:pt x="85" y="199"/>
                  </a:lnTo>
                  <a:lnTo>
                    <a:pt x="89" y="206"/>
                  </a:lnTo>
                  <a:lnTo>
                    <a:pt x="89" y="206"/>
                  </a:lnTo>
                  <a:lnTo>
                    <a:pt x="91" y="201"/>
                  </a:lnTo>
                  <a:lnTo>
                    <a:pt x="101" y="214"/>
                  </a:lnTo>
                  <a:lnTo>
                    <a:pt x="102" y="240"/>
                  </a:lnTo>
                  <a:lnTo>
                    <a:pt x="110" y="248"/>
                  </a:lnTo>
                  <a:lnTo>
                    <a:pt x="110" y="249"/>
                  </a:lnTo>
                  <a:lnTo>
                    <a:pt x="117" y="248"/>
                  </a:lnTo>
                  <a:lnTo>
                    <a:pt x="142" y="255"/>
                  </a:lnTo>
                  <a:lnTo>
                    <a:pt x="147" y="252"/>
                  </a:lnTo>
                  <a:lnTo>
                    <a:pt x="162" y="251"/>
                  </a:lnTo>
                  <a:lnTo>
                    <a:pt x="169" y="244"/>
                  </a:lnTo>
                  <a:lnTo>
                    <a:pt x="182" y="244"/>
                  </a:lnTo>
                  <a:lnTo>
                    <a:pt x="205" y="235"/>
                  </a:lnTo>
                  <a:lnTo>
                    <a:pt x="223" y="221"/>
                  </a:lnTo>
                  <a:lnTo>
                    <a:pt x="223" y="221"/>
                  </a:lnTo>
                  <a:lnTo>
                    <a:pt x="215" y="216"/>
                  </a:lnTo>
                  <a:lnTo>
                    <a:pt x="207" y="192"/>
                  </a:lnTo>
                  <a:lnTo>
                    <a:pt x="200" y="178"/>
                  </a:lnTo>
                  <a:lnTo>
                    <a:pt x="201" y="166"/>
                  </a:lnTo>
                  <a:lnTo>
                    <a:pt x="200" y="159"/>
                  </a:lnTo>
                  <a:lnTo>
                    <a:pt x="207" y="144"/>
                  </a:lnTo>
                  <a:lnTo>
                    <a:pt x="206" y="139"/>
                  </a:lnTo>
                  <a:lnTo>
                    <a:pt x="193" y="130"/>
                  </a:lnTo>
                  <a:lnTo>
                    <a:pt x="192" y="116"/>
                  </a:lnTo>
                  <a:lnTo>
                    <a:pt x="202" y="87"/>
                  </a:lnTo>
                  <a:lnTo>
                    <a:pt x="172" y="63"/>
                  </a:lnTo>
                  <a:lnTo>
                    <a:pt x="171" y="50"/>
                  </a:lnTo>
                  <a:lnTo>
                    <a:pt x="96" y="2"/>
                  </a:lnTo>
                  <a:lnTo>
                    <a:pt x="96" y="2"/>
                  </a:lnTo>
                  <a:lnTo>
                    <a:pt x="85" y="12"/>
                  </a:lnTo>
                  <a:lnTo>
                    <a:pt x="78" y="22"/>
                  </a:lnTo>
                  <a:lnTo>
                    <a:pt x="86" y="30"/>
                  </a:lnTo>
                  <a:lnTo>
                    <a:pt x="74" y="37"/>
                  </a:lnTo>
                  <a:lnTo>
                    <a:pt x="71" y="33"/>
                  </a:lnTo>
                  <a:lnTo>
                    <a:pt x="59" y="35"/>
                  </a:lnTo>
                  <a:lnTo>
                    <a:pt x="50" y="41"/>
                  </a:lnTo>
                  <a:lnTo>
                    <a:pt x="44" y="31"/>
                  </a:lnTo>
                  <a:lnTo>
                    <a:pt x="48" y="15"/>
                  </a:lnTo>
                  <a:lnTo>
                    <a:pt x="49" y="1"/>
                  </a:lnTo>
                  <a:lnTo>
                    <a:pt x="49" y="1"/>
                  </a:lnTo>
                  <a:lnTo>
                    <a:pt x="49" y="1"/>
                  </a:lnTo>
                  <a:lnTo>
                    <a:pt x="26" y="0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5" name="Uganda">
              <a:extLst>
                <a:ext uri="{FF2B5EF4-FFF2-40B4-BE49-F238E27FC236}">
                  <a16:creationId xmlns:a16="http://schemas.microsoft.com/office/drawing/2014/main" id="{FA60E14A-0C46-479A-930F-52BCE1FE06BD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1031" y="3901849"/>
              <a:ext cx="180975" cy="214313"/>
            </a:xfrm>
            <a:custGeom>
              <a:avLst/>
              <a:gdLst>
                <a:gd name="T0" fmla="*/ 92 w 114"/>
                <a:gd name="T1" fmla="*/ 0 h 135"/>
                <a:gd name="T2" fmla="*/ 80 w 114"/>
                <a:gd name="T3" fmla="*/ 11 h 135"/>
                <a:gd name="T4" fmla="*/ 65 w 114"/>
                <a:gd name="T5" fmla="*/ 11 h 135"/>
                <a:gd name="T6" fmla="*/ 48 w 114"/>
                <a:gd name="T7" fmla="*/ 16 h 135"/>
                <a:gd name="T8" fmla="*/ 35 w 114"/>
                <a:gd name="T9" fmla="*/ 11 h 135"/>
                <a:gd name="T10" fmla="*/ 26 w 114"/>
                <a:gd name="T11" fmla="*/ 17 h 135"/>
                <a:gd name="T12" fmla="*/ 26 w 114"/>
                <a:gd name="T13" fmla="*/ 17 h 135"/>
                <a:gd name="T14" fmla="*/ 25 w 114"/>
                <a:gd name="T15" fmla="*/ 45 h 135"/>
                <a:gd name="T16" fmla="*/ 34 w 114"/>
                <a:gd name="T17" fmla="*/ 48 h 135"/>
                <a:gd name="T18" fmla="*/ 26 w 114"/>
                <a:gd name="T19" fmla="*/ 57 h 135"/>
                <a:gd name="T20" fmla="*/ 19 w 114"/>
                <a:gd name="T21" fmla="*/ 63 h 135"/>
                <a:gd name="T22" fmla="*/ 11 w 114"/>
                <a:gd name="T23" fmla="*/ 76 h 135"/>
                <a:gd name="T24" fmla="*/ 6 w 114"/>
                <a:gd name="T25" fmla="*/ 87 h 135"/>
                <a:gd name="T26" fmla="*/ 5 w 114"/>
                <a:gd name="T27" fmla="*/ 106 h 135"/>
                <a:gd name="T28" fmla="*/ 0 w 114"/>
                <a:gd name="T29" fmla="*/ 115 h 135"/>
                <a:gd name="T30" fmla="*/ 0 w 114"/>
                <a:gd name="T31" fmla="*/ 133 h 135"/>
                <a:gd name="T32" fmla="*/ 5 w 114"/>
                <a:gd name="T33" fmla="*/ 135 h 135"/>
                <a:gd name="T34" fmla="*/ 17 w 114"/>
                <a:gd name="T35" fmla="*/ 128 h 135"/>
                <a:gd name="T36" fmla="*/ 25 w 114"/>
                <a:gd name="T37" fmla="*/ 125 h 135"/>
                <a:gd name="T38" fmla="*/ 48 w 114"/>
                <a:gd name="T39" fmla="*/ 126 h 135"/>
                <a:gd name="T40" fmla="*/ 48 w 114"/>
                <a:gd name="T41" fmla="*/ 126 h 135"/>
                <a:gd name="T42" fmla="*/ 47 w 114"/>
                <a:gd name="T43" fmla="*/ 116 h 135"/>
                <a:gd name="T44" fmla="*/ 56 w 114"/>
                <a:gd name="T45" fmla="*/ 102 h 135"/>
                <a:gd name="T46" fmla="*/ 69 w 114"/>
                <a:gd name="T47" fmla="*/ 98 h 135"/>
                <a:gd name="T48" fmla="*/ 79 w 114"/>
                <a:gd name="T49" fmla="*/ 93 h 135"/>
                <a:gd name="T50" fmla="*/ 90 w 114"/>
                <a:gd name="T51" fmla="*/ 98 h 135"/>
                <a:gd name="T52" fmla="*/ 91 w 114"/>
                <a:gd name="T53" fmla="*/ 99 h 135"/>
                <a:gd name="T54" fmla="*/ 91 w 114"/>
                <a:gd name="T55" fmla="*/ 98 h 135"/>
                <a:gd name="T56" fmla="*/ 96 w 114"/>
                <a:gd name="T57" fmla="*/ 89 h 135"/>
                <a:gd name="T58" fmla="*/ 107 w 114"/>
                <a:gd name="T59" fmla="*/ 73 h 135"/>
                <a:gd name="T60" fmla="*/ 114 w 114"/>
                <a:gd name="T61" fmla="*/ 56 h 135"/>
                <a:gd name="T62" fmla="*/ 105 w 114"/>
                <a:gd name="T63" fmla="*/ 28 h 135"/>
                <a:gd name="T64" fmla="*/ 102 w 114"/>
                <a:gd name="T65" fmla="*/ 16 h 135"/>
                <a:gd name="T66" fmla="*/ 92 w 114"/>
                <a:gd name="T67" fmla="*/ 0 h 135"/>
                <a:gd name="T68" fmla="*/ 92 w 114"/>
                <a:gd name="T69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4" h="135">
                  <a:moveTo>
                    <a:pt x="92" y="0"/>
                  </a:moveTo>
                  <a:lnTo>
                    <a:pt x="80" y="11"/>
                  </a:lnTo>
                  <a:lnTo>
                    <a:pt x="65" y="11"/>
                  </a:lnTo>
                  <a:lnTo>
                    <a:pt x="48" y="16"/>
                  </a:lnTo>
                  <a:lnTo>
                    <a:pt x="35" y="11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5" y="45"/>
                  </a:lnTo>
                  <a:lnTo>
                    <a:pt x="34" y="48"/>
                  </a:lnTo>
                  <a:lnTo>
                    <a:pt x="26" y="57"/>
                  </a:lnTo>
                  <a:lnTo>
                    <a:pt x="19" y="63"/>
                  </a:lnTo>
                  <a:lnTo>
                    <a:pt x="11" y="76"/>
                  </a:lnTo>
                  <a:lnTo>
                    <a:pt x="6" y="87"/>
                  </a:lnTo>
                  <a:lnTo>
                    <a:pt x="5" y="106"/>
                  </a:lnTo>
                  <a:lnTo>
                    <a:pt x="0" y="115"/>
                  </a:lnTo>
                  <a:lnTo>
                    <a:pt x="0" y="133"/>
                  </a:lnTo>
                  <a:lnTo>
                    <a:pt x="5" y="135"/>
                  </a:lnTo>
                  <a:lnTo>
                    <a:pt x="17" y="128"/>
                  </a:lnTo>
                  <a:lnTo>
                    <a:pt x="25" y="125"/>
                  </a:lnTo>
                  <a:lnTo>
                    <a:pt x="48" y="126"/>
                  </a:lnTo>
                  <a:lnTo>
                    <a:pt x="48" y="126"/>
                  </a:lnTo>
                  <a:lnTo>
                    <a:pt x="47" y="116"/>
                  </a:lnTo>
                  <a:lnTo>
                    <a:pt x="56" y="102"/>
                  </a:lnTo>
                  <a:lnTo>
                    <a:pt x="69" y="98"/>
                  </a:lnTo>
                  <a:lnTo>
                    <a:pt x="79" y="93"/>
                  </a:lnTo>
                  <a:lnTo>
                    <a:pt x="90" y="98"/>
                  </a:lnTo>
                  <a:lnTo>
                    <a:pt x="91" y="99"/>
                  </a:lnTo>
                  <a:lnTo>
                    <a:pt x="91" y="98"/>
                  </a:lnTo>
                  <a:lnTo>
                    <a:pt x="96" y="89"/>
                  </a:lnTo>
                  <a:lnTo>
                    <a:pt x="107" y="73"/>
                  </a:lnTo>
                  <a:lnTo>
                    <a:pt x="114" y="56"/>
                  </a:lnTo>
                  <a:lnTo>
                    <a:pt x="105" y="28"/>
                  </a:lnTo>
                  <a:lnTo>
                    <a:pt x="102" y="16"/>
                  </a:lnTo>
                  <a:lnTo>
                    <a:pt x="92" y="0"/>
                  </a:lnTo>
                  <a:lnTo>
                    <a:pt x="92" y="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6" name="Ukraine">
              <a:extLst>
                <a:ext uri="{FF2B5EF4-FFF2-40B4-BE49-F238E27FC236}">
                  <a16:creationId xmlns:a16="http://schemas.microsoft.com/office/drawing/2014/main" id="{D1ED26AC-4732-4219-880E-0A8B4B5D2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1306" y="2098449"/>
              <a:ext cx="520700" cy="292100"/>
            </a:xfrm>
            <a:custGeom>
              <a:avLst/>
              <a:gdLst>
                <a:gd name="T0" fmla="*/ 180 w 328"/>
                <a:gd name="T1" fmla="*/ 2 h 184"/>
                <a:gd name="T2" fmla="*/ 170 w 328"/>
                <a:gd name="T3" fmla="*/ 6 h 184"/>
                <a:gd name="T4" fmla="*/ 164 w 328"/>
                <a:gd name="T5" fmla="*/ 6 h 184"/>
                <a:gd name="T6" fmla="*/ 143 w 328"/>
                <a:gd name="T7" fmla="*/ 11 h 184"/>
                <a:gd name="T8" fmla="*/ 137 w 328"/>
                <a:gd name="T9" fmla="*/ 21 h 184"/>
                <a:gd name="T10" fmla="*/ 115 w 328"/>
                <a:gd name="T11" fmla="*/ 17 h 184"/>
                <a:gd name="T12" fmla="*/ 102 w 328"/>
                <a:gd name="T13" fmla="*/ 17 h 184"/>
                <a:gd name="T14" fmla="*/ 67 w 328"/>
                <a:gd name="T15" fmla="*/ 11 h 184"/>
                <a:gd name="T16" fmla="*/ 34 w 328"/>
                <a:gd name="T17" fmla="*/ 10 h 184"/>
                <a:gd name="T18" fmla="*/ 17 w 328"/>
                <a:gd name="T19" fmla="*/ 17 h 184"/>
                <a:gd name="T20" fmla="*/ 28 w 328"/>
                <a:gd name="T21" fmla="*/ 44 h 184"/>
                <a:gd name="T22" fmla="*/ 5 w 328"/>
                <a:gd name="T23" fmla="*/ 66 h 184"/>
                <a:gd name="T24" fmla="*/ 7 w 328"/>
                <a:gd name="T25" fmla="*/ 75 h 184"/>
                <a:gd name="T26" fmla="*/ 0 w 328"/>
                <a:gd name="T27" fmla="*/ 90 h 184"/>
                <a:gd name="T28" fmla="*/ 13 w 328"/>
                <a:gd name="T29" fmla="*/ 103 h 184"/>
                <a:gd name="T30" fmla="*/ 32 w 328"/>
                <a:gd name="T31" fmla="*/ 100 h 184"/>
                <a:gd name="T32" fmla="*/ 53 w 328"/>
                <a:gd name="T33" fmla="*/ 106 h 184"/>
                <a:gd name="T34" fmla="*/ 72 w 328"/>
                <a:gd name="T35" fmla="*/ 100 h 184"/>
                <a:gd name="T36" fmla="*/ 84 w 328"/>
                <a:gd name="T37" fmla="*/ 94 h 184"/>
                <a:gd name="T38" fmla="*/ 100 w 328"/>
                <a:gd name="T39" fmla="*/ 89 h 184"/>
                <a:gd name="T40" fmla="*/ 122 w 328"/>
                <a:gd name="T41" fmla="*/ 97 h 184"/>
                <a:gd name="T42" fmla="*/ 131 w 328"/>
                <a:gd name="T43" fmla="*/ 111 h 184"/>
                <a:gd name="T44" fmla="*/ 142 w 328"/>
                <a:gd name="T45" fmla="*/ 125 h 184"/>
                <a:gd name="T46" fmla="*/ 149 w 328"/>
                <a:gd name="T47" fmla="*/ 135 h 184"/>
                <a:gd name="T48" fmla="*/ 149 w 328"/>
                <a:gd name="T49" fmla="*/ 138 h 184"/>
                <a:gd name="T50" fmla="*/ 135 w 328"/>
                <a:gd name="T51" fmla="*/ 135 h 184"/>
                <a:gd name="T52" fmla="*/ 133 w 328"/>
                <a:gd name="T53" fmla="*/ 140 h 184"/>
                <a:gd name="T54" fmla="*/ 127 w 328"/>
                <a:gd name="T55" fmla="*/ 155 h 184"/>
                <a:gd name="T56" fmla="*/ 132 w 328"/>
                <a:gd name="T57" fmla="*/ 163 h 184"/>
                <a:gd name="T58" fmla="*/ 149 w 328"/>
                <a:gd name="T59" fmla="*/ 163 h 184"/>
                <a:gd name="T60" fmla="*/ 166 w 328"/>
                <a:gd name="T61" fmla="*/ 133 h 184"/>
                <a:gd name="T62" fmla="*/ 185 w 328"/>
                <a:gd name="T63" fmla="*/ 138 h 184"/>
                <a:gd name="T64" fmla="*/ 222 w 328"/>
                <a:gd name="T65" fmla="*/ 150 h 184"/>
                <a:gd name="T66" fmla="*/ 202 w 328"/>
                <a:gd name="T67" fmla="*/ 162 h 184"/>
                <a:gd name="T68" fmla="*/ 222 w 328"/>
                <a:gd name="T69" fmla="*/ 179 h 184"/>
                <a:gd name="T70" fmla="*/ 256 w 328"/>
                <a:gd name="T71" fmla="*/ 171 h 184"/>
                <a:gd name="T72" fmla="*/ 279 w 328"/>
                <a:gd name="T73" fmla="*/ 159 h 184"/>
                <a:gd name="T74" fmla="*/ 250 w 328"/>
                <a:gd name="T75" fmla="*/ 154 h 184"/>
                <a:gd name="T76" fmla="*/ 260 w 328"/>
                <a:gd name="T77" fmla="*/ 131 h 184"/>
                <a:gd name="T78" fmla="*/ 289 w 328"/>
                <a:gd name="T79" fmla="*/ 122 h 184"/>
                <a:gd name="T80" fmla="*/ 302 w 328"/>
                <a:gd name="T81" fmla="*/ 110 h 184"/>
                <a:gd name="T82" fmla="*/ 327 w 328"/>
                <a:gd name="T83" fmla="*/ 102 h 184"/>
                <a:gd name="T84" fmla="*/ 322 w 328"/>
                <a:gd name="T85" fmla="*/ 81 h 184"/>
                <a:gd name="T86" fmla="*/ 325 w 328"/>
                <a:gd name="T87" fmla="*/ 63 h 184"/>
                <a:gd name="T88" fmla="*/ 286 w 328"/>
                <a:gd name="T89" fmla="*/ 55 h 184"/>
                <a:gd name="T90" fmla="*/ 259 w 328"/>
                <a:gd name="T91" fmla="*/ 49 h 184"/>
                <a:gd name="T92" fmla="*/ 234 w 328"/>
                <a:gd name="T93" fmla="*/ 36 h 184"/>
                <a:gd name="T94" fmla="*/ 211 w 328"/>
                <a:gd name="T95" fmla="*/ 24 h 184"/>
                <a:gd name="T96" fmla="*/ 212 w 328"/>
                <a:gd name="T97" fmla="*/ 13 h 184"/>
                <a:gd name="T98" fmla="*/ 198 w 328"/>
                <a:gd name="T99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8" h="184">
                  <a:moveTo>
                    <a:pt x="198" y="0"/>
                  </a:moveTo>
                  <a:lnTo>
                    <a:pt x="180" y="2"/>
                  </a:lnTo>
                  <a:lnTo>
                    <a:pt x="174" y="1"/>
                  </a:lnTo>
                  <a:lnTo>
                    <a:pt x="170" y="6"/>
                  </a:lnTo>
                  <a:lnTo>
                    <a:pt x="164" y="6"/>
                  </a:lnTo>
                  <a:lnTo>
                    <a:pt x="164" y="6"/>
                  </a:lnTo>
                  <a:lnTo>
                    <a:pt x="148" y="7"/>
                  </a:lnTo>
                  <a:lnTo>
                    <a:pt x="143" y="11"/>
                  </a:lnTo>
                  <a:lnTo>
                    <a:pt x="144" y="24"/>
                  </a:lnTo>
                  <a:lnTo>
                    <a:pt x="137" y="21"/>
                  </a:lnTo>
                  <a:lnTo>
                    <a:pt x="121" y="23"/>
                  </a:lnTo>
                  <a:lnTo>
                    <a:pt x="115" y="17"/>
                  </a:lnTo>
                  <a:lnTo>
                    <a:pt x="110" y="21"/>
                  </a:lnTo>
                  <a:lnTo>
                    <a:pt x="102" y="17"/>
                  </a:lnTo>
                  <a:lnTo>
                    <a:pt x="87" y="17"/>
                  </a:lnTo>
                  <a:lnTo>
                    <a:pt x="67" y="11"/>
                  </a:lnTo>
                  <a:lnTo>
                    <a:pt x="48" y="10"/>
                  </a:lnTo>
                  <a:lnTo>
                    <a:pt x="34" y="10"/>
                  </a:lnTo>
                  <a:lnTo>
                    <a:pt x="26" y="16"/>
                  </a:lnTo>
                  <a:lnTo>
                    <a:pt x="17" y="17"/>
                  </a:lnTo>
                  <a:lnTo>
                    <a:pt x="29" y="38"/>
                  </a:lnTo>
                  <a:lnTo>
                    <a:pt x="28" y="44"/>
                  </a:lnTo>
                  <a:lnTo>
                    <a:pt x="19" y="47"/>
                  </a:lnTo>
                  <a:lnTo>
                    <a:pt x="5" y="66"/>
                  </a:lnTo>
                  <a:lnTo>
                    <a:pt x="11" y="76"/>
                  </a:lnTo>
                  <a:lnTo>
                    <a:pt x="7" y="75"/>
                  </a:lnTo>
                  <a:lnTo>
                    <a:pt x="2" y="80"/>
                  </a:lnTo>
                  <a:lnTo>
                    <a:pt x="0" y="90"/>
                  </a:lnTo>
                  <a:lnTo>
                    <a:pt x="11" y="96"/>
                  </a:lnTo>
                  <a:lnTo>
                    <a:pt x="13" y="103"/>
                  </a:lnTo>
                  <a:lnTo>
                    <a:pt x="20" y="97"/>
                  </a:lnTo>
                  <a:lnTo>
                    <a:pt x="32" y="100"/>
                  </a:lnTo>
                  <a:lnTo>
                    <a:pt x="44" y="100"/>
                  </a:lnTo>
                  <a:lnTo>
                    <a:pt x="53" y="106"/>
                  </a:lnTo>
                  <a:lnTo>
                    <a:pt x="59" y="103"/>
                  </a:lnTo>
                  <a:lnTo>
                    <a:pt x="72" y="100"/>
                  </a:lnTo>
                  <a:lnTo>
                    <a:pt x="76" y="94"/>
                  </a:lnTo>
                  <a:lnTo>
                    <a:pt x="84" y="94"/>
                  </a:lnTo>
                  <a:lnTo>
                    <a:pt x="88" y="92"/>
                  </a:lnTo>
                  <a:lnTo>
                    <a:pt x="100" y="89"/>
                  </a:lnTo>
                  <a:lnTo>
                    <a:pt x="114" y="96"/>
                  </a:lnTo>
                  <a:lnTo>
                    <a:pt x="122" y="97"/>
                  </a:lnTo>
                  <a:lnTo>
                    <a:pt x="131" y="103"/>
                  </a:lnTo>
                  <a:lnTo>
                    <a:pt x="131" y="111"/>
                  </a:lnTo>
                  <a:lnTo>
                    <a:pt x="139" y="115"/>
                  </a:lnTo>
                  <a:lnTo>
                    <a:pt x="142" y="125"/>
                  </a:lnTo>
                  <a:lnTo>
                    <a:pt x="150" y="131"/>
                  </a:lnTo>
                  <a:lnTo>
                    <a:pt x="149" y="135"/>
                  </a:lnTo>
                  <a:lnTo>
                    <a:pt x="153" y="136"/>
                  </a:lnTo>
                  <a:lnTo>
                    <a:pt x="149" y="138"/>
                  </a:lnTo>
                  <a:lnTo>
                    <a:pt x="138" y="137"/>
                  </a:lnTo>
                  <a:lnTo>
                    <a:pt x="135" y="135"/>
                  </a:lnTo>
                  <a:lnTo>
                    <a:pt x="131" y="136"/>
                  </a:lnTo>
                  <a:lnTo>
                    <a:pt x="133" y="140"/>
                  </a:lnTo>
                  <a:lnTo>
                    <a:pt x="129" y="148"/>
                  </a:lnTo>
                  <a:lnTo>
                    <a:pt x="127" y="155"/>
                  </a:lnTo>
                  <a:lnTo>
                    <a:pt x="123" y="158"/>
                  </a:lnTo>
                  <a:lnTo>
                    <a:pt x="132" y="163"/>
                  </a:lnTo>
                  <a:lnTo>
                    <a:pt x="140" y="159"/>
                  </a:lnTo>
                  <a:lnTo>
                    <a:pt x="149" y="163"/>
                  </a:lnTo>
                  <a:lnTo>
                    <a:pt x="161" y="146"/>
                  </a:lnTo>
                  <a:lnTo>
                    <a:pt x="166" y="133"/>
                  </a:lnTo>
                  <a:lnTo>
                    <a:pt x="183" y="130"/>
                  </a:lnTo>
                  <a:lnTo>
                    <a:pt x="185" y="138"/>
                  </a:lnTo>
                  <a:lnTo>
                    <a:pt x="215" y="144"/>
                  </a:lnTo>
                  <a:lnTo>
                    <a:pt x="222" y="150"/>
                  </a:lnTo>
                  <a:lnTo>
                    <a:pt x="205" y="157"/>
                  </a:lnTo>
                  <a:lnTo>
                    <a:pt x="202" y="162"/>
                  </a:lnTo>
                  <a:lnTo>
                    <a:pt x="224" y="168"/>
                  </a:lnTo>
                  <a:lnTo>
                    <a:pt x="222" y="179"/>
                  </a:lnTo>
                  <a:lnTo>
                    <a:pt x="233" y="184"/>
                  </a:lnTo>
                  <a:lnTo>
                    <a:pt x="256" y="171"/>
                  </a:lnTo>
                  <a:lnTo>
                    <a:pt x="276" y="166"/>
                  </a:lnTo>
                  <a:lnTo>
                    <a:pt x="279" y="159"/>
                  </a:lnTo>
                  <a:lnTo>
                    <a:pt x="259" y="160"/>
                  </a:lnTo>
                  <a:lnTo>
                    <a:pt x="250" y="154"/>
                  </a:lnTo>
                  <a:lnTo>
                    <a:pt x="246" y="140"/>
                  </a:lnTo>
                  <a:lnTo>
                    <a:pt x="260" y="131"/>
                  </a:lnTo>
                  <a:lnTo>
                    <a:pt x="278" y="130"/>
                  </a:lnTo>
                  <a:lnTo>
                    <a:pt x="289" y="122"/>
                  </a:lnTo>
                  <a:lnTo>
                    <a:pt x="303" y="121"/>
                  </a:lnTo>
                  <a:lnTo>
                    <a:pt x="302" y="110"/>
                  </a:lnTo>
                  <a:lnTo>
                    <a:pt x="310" y="104"/>
                  </a:lnTo>
                  <a:lnTo>
                    <a:pt x="327" y="102"/>
                  </a:lnTo>
                  <a:lnTo>
                    <a:pt x="328" y="94"/>
                  </a:lnTo>
                  <a:lnTo>
                    <a:pt x="322" y="81"/>
                  </a:lnTo>
                  <a:lnTo>
                    <a:pt x="326" y="69"/>
                  </a:lnTo>
                  <a:lnTo>
                    <a:pt x="325" y="63"/>
                  </a:lnTo>
                  <a:lnTo>
                    <a:pt x="296" y="55"/>
                  </a:lnTo>
                  <a:lnTo>
                    <a:pt x="286" y="55"/>
                  </a:lnTo>
                  <a:lnTo>
                    <a:pt x="272" y="45"/>
                  </a:lnTo>
                  <a:lnTo>
                    <a:pt x="259" y="49"/>
                  </a:lnTo>
                  <a:lnTo>
                    <a:pt x="235" y="40"/>
                  </a:lnTo>
                  <a:lnTo>
                    <a:pt x="234" y="36"/>
                  </a:lnTo>
                  <a:lnTo>
                    <a:pt x="226" y="25"/>
                  </a:lnTo>
                  <a:lnTo>
                    <a:pt x="211" y="24"/>
                  </a:lnTo>
                  <a:lnTo>
                    <a:pt x="209" y="18"/>
                  </a:lnTo>
                  <a:lnTo>
                    <a:pt x="212" y="13"/>
                  </a:lnTo>
                  <a:lnTo>
                    <a:pt x="198" y="0"/>
                  </a:lnTo>
                  <a:lnTo>
                    <a:pt x="198" y="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7" name="Uruguay">
              <a:extLst>
                <a:ext uri="{FF2B5EF4-FFF2-40B4-BE49-F238E27FC236}">
                  <a16:creationId xmlns:a16="http://schemas.microsoft.com/office/drawing/2014/main" id="{4DCB3E36-3588-41A7-8C3E-B6C1036DDB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8931" y="5197248"/>
              <a:ext cx="161925" cy="182563"/>
            </a:xfrm>
            <a:custGeom>
              <a:avLst/>
              <a:gdLst>
                <a:gd name="T0" fmla="*/ 102 w 102"/>
                <a:gd name="T1" fmla="*/ 87 h 115"/>
                <a:gd name="T2" fmla="*/ 94 w 102"/>
                <a:gd name="T3" fmla="*/ 73 h 115"/>
                <a:gd name="T4" fmla="*/ 101 w 102"/>
                <a:gd name="T5" fmla="*/ 62 h 115"/>
                <a:gd name="T6" fmla="*/ 87 w 102"/>
                <a:gd name="T7" fmla="*/ 46 h 115"/>
                <a:gd name="T8" fmla="*/ 69 w 102"/>
                <a:gd name="T9" fmla="*/ 33 h 115"/>
                <a:gd name="T10" fmla="*/ 46 w 102"/>
                <a:gd name="T11" fmla="*/ 18 h 115"/>
                <a:gd name="T12" fmla="*/ 38 w 102"/>
                <a:gd name="T13" fmla="*/ 18 h 115"/>
                <a:gd name="T14" fmla="*/ 16 w 102"/>
                <a:gd name="T15" fmla="*/ 0 h 115"/>
                <a:gd name="T16" fmla="*/ 3 w 102"/>
                <a:gd name="T17" fmla="*/ 3 h 115"/>
                <a:gd name="T18" fmla="*/ 1 w 102"/>
                <a:gd name="T19" fmla="*/ 22 h 115"/>
                <a:gd name="T20" fmla="*/ 0 w 102"/>
                <a:gd name="T21" fmla="*/ 46 h 115"/>
                <a:gd name="T22" fmla="*/ 4 w 102"/>
                <a:gd name="T23" fmla="*/ 70 h 115"/>
                <a:gd name="T24" fmla="*/ 1 w 102"/>
                <a:gd name="T25" fmla="*/ 75 h 115"/>
                <a:gd name="T26" fmla="*/ 2 w 102"/>
                <a:gd name="T27" fmla="*/ 91 h 115"/>
                <a:gd name="T28" fmla="*/ 17 w 102"/>
                <a:gd name="T29" fmla="*/ 104 h 115"/>
                <a:gd name="T30" fmla="*/ 30 w 102"/>
                <a:gd name="T31" fmla="*/ 103 h 115"/>
                <a:gd name="T32" fmla="*/ 51 w 102"/>
                <a:gd name="T33" fmla="*/ 113 h 115"/>
                <a:gd name="T34" fmla="*/ 61 w 102"/>
                <a:gd name="T35" fmla="*/ 111 h 115"/>
                <a:gd name="T36" fmla="*/ 76 w 102"/>
                <a:gd name="T37" fmla="*/ 115 h 115"/>
                <a:gd name="T38" fmla="*/ 96 w 102"/>
                <a:gd name="T39" fmla="*/ 102 h 115"/>
                <a:gd name="T40" fmla="*/ 102 w 102"/>
                <a:gd name="T41" fmla="*/ 87 h 115"/>
                <a:gd name="T42" fmla="*/ 102 w 102"/>
                <a:gd name="T43" fmla="*/ 87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2" h="115">
                  <a:moveTo>
                    <a:pt x="102" y="87"/>
                  </a:moveTo>
                  <a:lnTo>
                    <a:pt x="94" y="73"/>
                  </a:lnTo>
                  <a:lnTo>
                    <a:pt x="101" y="62"/>
                  </a:lnTo>
                  <a:lnTo>
                    <a:pt x="87" y="46"/>
                  </a:lnTo>
                  <a:lnTo>
                    <a:pt x="69" y="33"/>
                  </a:lnTo>
                  <a:lnTo>
                    <a:pt x="46" y="18"/>
                  </a:lnTo>
                  <a:lnTo>
                    <a:pt x="38" y="18"/>
                  </a:lnTo>
                  <a:lnTo>
                    <a:pt x="16" y="0"/>
                  </a:lnTo>
                  <a:lnTo>
                    <a:pt x="3" y="3"/>
                  </a:lnTo>
                  <a:lnTo>
                    <a:pt x="1" y="22"/>
                  </a:lnTo>
                  <a:lnTo>
                    <a:pt x="0" y="46"/>
                  </a:lnTo>
                  <a:lnTo>
                    <a:pt x="4" y="70"/>
                  </a:lnTo>
                  <a:lnTo>
                    <a:pt x="1" y="75"/>
                  </a:lnTo>
                  <a:lnTo>
                    <a:pt x="2" y="91"/>
                  </a:lnTo>
                  <a:lnTo>
                    <a:pt x="17" y="104"/>
                  </a:lnTo>
                  <a:lnTo>
                    <a:pt x="30" y="103"/>
                  </a:lnTo>
                  <a:lnTo>
                    <a:pt x="51" y="113"/>
                  </a:lnTo>
                  <a:lnTo>
                    <a:pt x="61" y="111"/>
                  </a:lnTo>
                  <a:lnTo>
                    <a:pt x="76" y="115"/>
                  </a:lnTo>
                  <a:lnTo>
                    <a:pt x="96" y="102"/>
                  </a:lnTo>
                  <a:lnTo>
                    <a:pt x="102" y="87"/>
                  </a:lnTo>
                  <a:lnTo>
                    <a:pt x="102" y="87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8" name="United States of America">
              <a:extLst>
                <a:ext uri="{FF2B5EF4-FFF2-40B4-BE49-F238E27FC236}">
                  <a16:creationId xmlns:a16="http://schemas.microsoft.com/office/drawing/2014/main" id="{00C0DAD6-05F0-4AE8-B35B-7C79DCD6C8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5019" y="1453924"/>
              <a:ext cx="3211512" cy="1893888"/>
            </a:xfrm>
            <a:custGeom>
              <a:avLst/>
              <a:gdLst>
                <a:gd name="T0" fmla="*/ 72 w 2023"/>
                <a:gd name="T1" fmla="*/ 1162 h 1193"/>
                <a:gd name="T2" fmla="*/ 67 w 2023"/>
                <a:gd name="T3" fmla="*/ 1193 h 1193"/>
                <a:gd name="T4" fmla="*/ 57 w 2023"/>
                <a:gd name="T5" fmla="*/ 1148 h 1193"/>
                <a:gd name="T6" fmla="*/ 56 w 2023"/>
                <a:gd name="T7" fmla="*/ 1142 h 1193"/>
                <a:gd name="T8" fmla="*/ 36 w 2023"/>
                <a:gd name="T9" fmla="*/ 1137 h 1193"/>
                <a:gd name="T10" fmla="*/ 0 w 2023"/>
                <a:gd name="T11" fmla="*/ 1119 h 1193"/>
                <a:gd name="T12" fmla="*/ 1374 w 2023"/>
                <a:gd name="T13" fmla="*/ 483 h 1193"/>
                <a:gd name="T14" fmla="*/ 1023 w 2023"/>
                <a:gd name="T15" fmla="*/ 501 h 1193"/>
                <a:gd name="T16" fmla="*/ 959 w 2023"/>
                <a:gd name="T17" fmla="*/ 563 h 1193"/>
                <a:gd name="T18" fmla="*/ 876 w 2023"/>
                <a:gd name="T19" fmla="*/ 716 h 1193"/>
                <a:gd name="T20" fmla="*/ 913 w 2023"/>
                <a:gd name="T21" fmla="*/ 827 h 1193"/>
                <a:gd name="T22" fmla="*/ 992 w 2023"/>
                <a:gd name="T23" fmla="*/ 866 h 1193"/>
                <a:gd name="T24" fmla="*/ 1154 w 2023"/>
                <a:gd name="T25" fmla="*/ 897 h 1193"/>
                <a:gd name="T26" fmla="*/ 1232 w 2023"/>
                <a:gd name="T27" fmla="*/ 936 h 1193"/>
                <a:gd name="T28" fmla="*/ 1295 w 2023"/>
                <a:gd name="T29" fmla="*/ 1029 h 1193"/>
                <a:gd name="T30" fmla="*/ 1371 w 2023"/>
                <a:gd name="T31" fmla="*/ 942 h 1193"/>
                <a:gd name="T32" fmla="*/ 1476 w 2023"/>
                <a:gd name="T33" fmla="*/ 950 h 1193"/>
                <a:gd name="T34" fmla="*/ 1543 w 2023"/>
                <a:gd name="T35" fmla="*/ 921 h 1193"/>
                <a:gd name="T36" fmla="*/ 1602 w 2023"/>
                <a:gd name="T37" fmla="*/ 980 h 1193"/>
                <a:gd name="T38" fmla="*/ 1649 w 2023"/>
                <a:gd name="T39" fmla="*/ 1030 h 1193"/>
                <a:gd name="T40" fmla="*/ 1651 w 2023"/>
                <a:gd name="T41" fmla="*/ 896 h 1193"/>
                <a:gd name="T42" fmla="*/ 1770 w 2023"/>
                <a:gd name="T43" fmla="*/ 816 h 1193"/>
                <a:gd name="T44" fmla="*/ 1792 w 2023"/>
                <a:gd name="T45" fmla="*/ 722 h 1193"/>
                <a:gd name="T46" fmla="*/ 1821 w 2023"/>
                <a:gd name="T47" fmla="*/ 720 h 1193"/>
                <a:gd name="T48" fmla="*/ 1849 w 2023"/>
                <a:gd name="T49" fmla="*/ 680 h 1193"/>
                <a:gd name="T50" fmla="*/ 1893 w 2023"/>
                <a:gd name="T51" fmla="*/ 661 h 1193"/>
                <a:gd name="T52" fmla="*/ 1931 w 2023"/>
                <a:gd name="T53" fmla="*/ 649 h 1193"/>
                <a:gd name="T54" fmla="*/ 2020 w 2023"/>
                <a:gd name="T55" fmla="*/ 572 h 1193"/>
                <a:gd name="T56" fmla="*/ 1957 w 2023"/>
                <a:gd name="T57" fmla="*/ 565 h 1193"/>
                <a:gd name="T58" fmla="*/ 1840 w 2023"/>
                <a:gd name="T59" fmla="*/ 599 h 1193"/>
                <a:gd name="T60" fmla="*/ 1779 w 2023"/>
                <a:gd name="T61" fmla="*/ 625 h 1193"/>
                <a:gd name="T62" fmla="*/ 1692 w 2023"/>
                <a:gd name="T63" fmla="*/ 642 h 1193"/>
                <a:gd name="T64" fmla="*/ 1712 w 2023"/>
                <a:gd name="T65" fmla="*/ 597 h 1193"/>
                <a:gd name="T66" fmla="*/ 1692 w 2023"/>
                <a:gd name="T67" fmla="*/ 557 h 1193"/>
                <a:gd name="T68" fmla="*/ 1642 w 2023"/>
                <a:gd name="T69" fmla="*/ 606 h 1193"/>
                <a:gd name="T70" fmla="*/ 1604 w 2023"/>
                <a:gd name="T71" fmla="*/ 639 h 1193"/>
                <a:gd name="T72" fmla="*/ 1626 w 2023"/>
                <a:gd name="T73" fmla="*/ 585 h 1193"/>
                <a:gd name="T74" fmla="*/ 1715 w 2023"/>
                <a:gd name="T75" fmla="*/ 552 h 1193"/>
                <a:gd name="T76" fmla="*/ 1679 w 2023"/>
                <a:gd name="T77" fmla="*/ 537 h 1193"/>
                <a:gd name="T78" fmla="*/ 1590 w 2023"/>
                <a:gd name="T79" fmla="*/ 531 h 1193"/>
                <a:gd name="T80" fmla="*/ 1608 w 2023"/>
                <a:gd name="T81" fmla="*/ 500 h 1193"/>
                <a:gd name="T82" fmla="*/ 649 w 2023"/>
                <a:gd name="T83" fmla="*/ 299 h 1193"/>
                <a:gd name="T84" fmla="*/ 649 w 2023"/>
                <a:gd name="T85" fmla="*/ 299 h 1193"/>
                <a:gd name="T86" fmla="*/ 505 w 2023"/>
                <a:gd name="T87" fmla="*/ 237 h 1193"/>
                <a:gd name="T88" fmla="*/ 545 w 2023"/>
                <a:gd name="T89" fmla="*/ 164 h 1193"/>
                <a:gd name="T90" fmla="*/ 921 w 2023"/>
                <a:gd name="T91" fmla="*/ 10 h 1193"/>
                <a:gd name="T92" fmla="*/ 719 w 2023"/>
                <a:gd name="T93" fmla="*/ 60 h 1193"/>
                <a:gd name="T94" fmla="*/ 704 w 2023"/>
                <a:gd name="T95" fmla="*/ 96 h 1193"/>
                <a:gd name="T96" fmla="*/ 680 w 2023"/>
                <a:gd name="T97" fmla="*/ 137 h 1193"/>
                <a:gd name="T98" fmla="*/ 630 w 2023"/>
                <a:gd name="T99" fmla="*/ 169 h 1193"/>
                <a:gd name="T100" fmla="*/ 529 w 2023"/>
                <a:gd name="T101" fmla="*/ 230 h 1193"/>
                <a:gd name="T102" fmla="*/ 565 w 2023"/>
                <a:gd name="T103" fmla="*/ 266 h 1193"/>
                <a:gd name="T104" fmla="*/ 557 w 2023"/>
                <a:gd name="T105" fmla="*/ 296 h 1193"/>
                <a:gd name="T106" fmla="*/ 380 w 2023"/>
                <a:gd name="T107" fmla="*/ 359 h 1193"/>
                <a:gd name="T108" fmla="*/ 585 w 2023"/>
                <a:gd name="T109" fmla="*/ 302 h 1193"/>
                <a:gd name="T110" fmla="*/ 789 w 2023"/>
                <a:gd name="T111" fmla="*/ 207 h 1193"/>
                <a:gd name="T112" fmla="*/ 801 w 2023"/>
                <a:gd name="T113" fmla="*/ 236 h 1193"/>
                <a:gd name="T114" fmla="*/ 940 w 2023"/>
                <a:gd name="T115" fmla="*/ 268 h 1193"/>
                <a:gd name="T116" fmla="*/ 990 w 2023"/>
                <a:gd name="T117" fmla="*/ 350 h 1193"/>
                <a:gd name="T118" fmla="*/ 1005 w 2023"/>
                <a:gd name="T119" fmla="*/ 251 h 1193"/>
                <a:gd name="T120" fmla="*/ 1058 w 2023"/>
                <a:gd name="T121" fmla="*/ 107 h 1193"/>
                <a:gd name="T122" fmla="*/ 1061 w 2023"/>
                <a:gd name="T123" fmla="*/ 22 h 1193"/>
                <a:gd name="T124" fmla="*/ 975 w 2023"/>
                <a:gd name="T125" fmla="*/ 4 h 1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3" h="1193">
                  <a:moveTo>
                    <a:pt x="71" y="1190"/>
                  </a:moveTo>
                  <a:lnTo>
                    <a:pt x="78" y="1186"/>
                  </a:lnTo>
                  <a:lnTo>
                    <a:pt x="87" y="1181"/>
                  </a:lnTo>
                  <a:lnTo>
                    <a:pt x="88" y="1179"/>
                  </a:lnTo>
                  <a:lnTo>
                    <a:pt x="85" y="1171"/>
                  </a:lnTo>
                  <a:lnTo>
                    <a:pt x="82" y="1168"/>
                  </a:lnTo>
                  <a:lnTo>
                    <a:pt x="79" y="1166"/>
                  </a:lnTo>
                  <a:lnTo>
                    <a:pt x="72" y="1162"/>
                  </a:lnTo>
                  <a:lnTo>
                    <a:pt x="71" y="1162"/>
                  </a:lnTo>
                  <a:lnTo>
                    <a:pt x="69" y="1163"/>
                  </a:lnTo>
                  <a:lnTo>
                    <a:pt x="69" y="1168"/>
                  </a:lnTo>
                  <a:lnTo>
                    <a:pt x="64" y="1172"/>
                  </a:lnTo>
                  <a:lnTo>
                    <a:pt x="63" y="1175"/>
                  </a:lnTo>
                  <a:lnTo>
                    <a:pt x="64" y="1183"/>
                  </a:lnTo>
                  <a:lnTo>
                    <a:pt x="62" y="1190"/>
                  </a:lnTo>
                  <a:lnTo>
                    <a:pt x="67" y="1193"/>
                  </a:lnTo>
                  <a:lnTo>
                    <a:pt x="71" y="1190"/>
                  </a:lnTo>
                  <a:lnTo>
                    <a:pt x="71" y="1190"/>
                  </a:lnTo>
                  <a:close/>
                  <a:moveTo>
                    <a:pt x="68" y="1152"/>
                  </a:moveTo>
                  <a:lnTo>
                    <a:pt x="71" y="1149"/>
                  </a:lnTo>
                  <a:lnTo>
                    <a:pt x="66" y="1146"/>
                  </a:lnTo>
                  <a:lnTo>
                    <a:pt x="59" y="1144"/>
                  </a:lnTo>
                  <a:lnTo>
                    <a:pt x="57" y="1146"/>
                  </a:lnTo>
                  <a:lnTo>
                    <a:pt x="57" y="1148"/>
                  </a:lnTo>
                  <a:lnTo>
                    <a:pt x="59" y="1149"/>
                  </a:lnTo>
                  <a:lnTo>
                    <a:pt x="60" y="1154"/>
                  </a:lnTo>
                  <a:lnTo>
                    <a:pt x="68" y="1152"/>
                  </a:lnTo>
                  <a:lnTo>
                    <a:pt x="68" y="1152"/>
                  </a:lnTo>
                  <a:close/>
                  <a:moveTo>
                    <a:pt x="57" y="1140"/>
                  </a:moveTo>
                  <a:lnTo>
                    <a:pt x="47" y="1139"/>
                  </a:lnTo>
                  <a:lnTo>
                    <a:pt x="45" y="1142"/>
                  </a:lnTo>
                  <a:lnTo>
                    <a:pt x="56" y="1142"/>
                  </a:lnTo>
                  <a:lnTo>
                    <a:pt x="57" y="1140"/>
                  </a:lnTo>
                  <a:close/>
                  <a:moveTo>
                    <a:pt x="40" y="1136"/>
                  </a:moveTo>
                  <a:lnTo>
                    <a:pt x="35" y="1129"/>
                  </a:lnTo>
                  <a:lnTo>
                    <a:pt x="34" y="1127"/>
                  </a:lnTo>
                  <a:lnTo>
                    <a:pt x="28" y="1131"/>
                  </a:lnTo>
                  <a:lnTo>
                    <a:pt x="29" y="1131"/>
                  </a:lnTo>
                  <a:lnTo>
                    <a:pt x="30" y="1136"/>
                  </a:lnTo>
                  <a:lnTo>
                    <a:pt x="36" y="1137"/>
                  </a:lnTo>
                  <a:lnTo>
                    <a:pt x="38" y="1138"/>
                  </a:lnTo>
                  <a:lnTo>
                    <a:pt x="40" y="1136"/>
                  </a:lnTo>
                  <a:lnTo>
                    <a:pt x="40" y="1136"/>
                  </a:lnTo>
                  <a:close/>
                  <a:moveTo>
                    <a:pt x="8" y="1120"/>
                  </a:moveTo>
                  <a:lnTo>
                    <a:pt x="10" y="1115"/>
                  </a:lnTo>
                  <a:lnTo>
                    <a:pt x="4" y="1115"/>
                  </a:lnTo>
                  <a:lnTo>
                    <a:pt x="1" y="1117"/>
                  </a:lnTo>
                  <a:lnTo>
                    <a:pt x="0" y="1119"/>
                  </a:lnTo>
                  <a:lnTo>
                    <a:pt x="5" y="1123"/>
                  </a:lnTo>
                  <a:lnTo>
                    <a:pt x="8" y="1120"/>
                  </a:lnTo>
                  <a:close/>
                  <a:moveTo>
                    <a:pt x="1548" y="473"/>
                  </a:moveTo>
                  <a:lnTo>
                    <a:pt x="1541" y="473"/>
                  </a:lnTo>
                  <a:lnTo>
                    <a:pt x="1536" y="483"/>
                  </a:lnTo>
                  <a:lnTo>
                    <a:pt x="1499" y="483"/>
                  </a:lnTo>
                  <a:lnTo>
                    <a:pt x="1437" y="483"/>
                  </a:lnTo>
                  <a:lnTo>
                    <a:pt x="1374" y="483"/>
                  </a:lnTo>
                  <a:lnTo>
                    <a:pt x="1319" y="483"/>
                  </a:lnTo>
                  <a:lnTo>
                    <a:pt x="1264" y="483"/>
                  </a:lnTo>
                  <a:lnTo>
                    <a:pt x="1210" y="483"/>
                  </a:lnTo>
                  <a:lnTo>
                    <a:pt x="1154" y="483"/>
                  </a:lnTo>
                  <a:lnTo>
                    <a:pt x="1136" y="483"/>
                  </a:lnTo>
                  <a:lnTo>
                    <a:pt x="1081" y="483"/>
                  </a:lnTo>
                  <a:lnTo>
                    <a:pt x="1030" y="483"/>
                  </a:lnTo>
                  <a:lnTo>
                    <a:pt x="1023" y="501"/>
                  </a:lnTo>
                  <a:lnTo>
                    <a:pt x="1015" y="521"/>
                  </a:lnTo>
                  <a:lnTo>
                    <a:pt x="1005" y="527"/>
                  </a:lnTo>
                  <a:lnTo>
                    <a:pt x="1010" y="505"/>
                  </a:lnTo>
                  <a:lnTo>
                    <a:pt x="988" y="497"/>
                  </a:lnTo>
                  <a:lnTo>
                    <a:pt x="983" y="501"/>
                  </a:lnTo>
                  <a:lnTo>
                    <a:pt x="981" y="513"/>
                  </a:lnTo>
                  <a:lnTo>
                    <a:pt x="974" y="532"/>
                  </a:lnTo>
                  <a:lnTo>
                    <a:pt x="959" y="563"/>
                  </a:lnTo>
                  <a:lnTo>
                    <a:pt x="944" y="585"/>
                  </a:lnTo>
                  <a:lnTo>
                    <a:pt x="929" y="605"/>
                  </a:lnTo>
                  <a:lnTo>
                    <a:pt x="909" y="627"/>
                  </a:lnTo>
                  <a:lnTo>
                    <a:pt x="904" y="644"/>
                  </a:lnTo>
                  <a:lnTo>
                    <a:pt x="894" y="664"/>
                  </a:lnTo>
                  <a:lnTo>
                    <a:pt x="880" y="683"/>
                  </a:lnTo>
                  <a:lnTo>
                    <a:pt x="884" y="697"/>
                  </a:lnTo>
                  <a:lnTo>
                    <a:pt x="876" y="716"/>
                  </a:lnTo>
                  <a:lnTo>
                    <a:pt x="882" y="736"/>
                  </a:lnTo>
                  <a:lnTo>
                    <a:pt x="887" y="744"/>
                  </a:lnTo>
                  <a:lnTo>
                    <a:pt x="884" y="750"/>
                  </a:lnTo>
                  <a:lnTo>
                    <a:pt x="886" y="783"/>
                  </a:lnTo>
                  <a:lnTo>
                    <a:pt x="895" y="808"/>
                  </a:lnTo>
                  <a:lnTo>
                    <a:pt x="891" y="821"/>
                  </a:lnTo>
                  <a:lnTo>
                    <a:pt x="895" y="824"/>
                  </a:lnTo>
                  <a:lnTo>
                    <a:pt x="913" y="827"/>
                  </a:lnTo>
                  <a:lnTo>
                    <a:pt x="917" y="834"/>
                  </a:lnTo>
                  <a:lnTo>
                    <a:pt x="928" y="835"/>
                  </a:lnTo>
                  <a:lnTo>
                    <a:pt x="928" y="841"/>
                  </a:lnTo>
                  <a:lnTo>
                    <a:pt x="936" y="844"/>
                  </a:lnTo>
                  <a:lnTo>
                    <a:pt x="944" y="858"/>
                  </a:lnTo>
                  <a:lnTo>
                    <a:pt x="943" y="870"/>
                  </a:lnTo>
                  <a:lnTo>
                    <a:pt x="966" y="868"/>
                  </a:lnTo>
                  <a:lnTo>
                    <a:pt x="992" y="866"/>
                  </a:lnTo>
                  <a:lnTo>
                    <a:pt x="988" y="870"/>
                  </a:lnTo>
                  <a:lnTo>
                    <a:pt x="1015" y="882"/>
                  </a:lnTo>
                  <a:lnTo>
                    <a:pt x="1055" y="898"/>
                  </a:lnTo>
                  <a:lnTo>
                    <a:pt x="1095" y="898"/>
                  </a:lnTo>
                  <a:lnTo>
                    <a:pt x="1111" y="898"/>
                  </a:lnTo>
                  <a:lnTo>
                    <a:pt x="1114" y="889"/>
                  </a:lnTo>
                  <a:lnTo>
                    <a:pt x="1149" y="889"/>
                  </a:lnTo>
                  <a:lnTo>
                    <a:pt x="1154" y="897"/>
                  </a:lnTo>
                  <a:lnTo>
                    <a:pt x="1161" y="905"/>
                  </a:lnTo>
                  <a:lnTo>
                    <a:pt x="1170" y="915"/>
                  </a:lnTo>
                  <a:lnTo>
                    <a:pt x="1173" y="927"/>
                  </a:lnTo>
                  <a:lnTo>
                    <a:pt x="1175" y="940"/>
                  </a:lnTo>
                  <a:lnTo>
                    <a:pt x="1183" y="948"/>
                  </a:lnTo>
                  <a:lnTo>
                    <a:pt x="1198" y="954"/>
                  </a:lnTo>
                  <a:lnTo>
                    <a:pt x="1216" y="936"/>
                  </a:lnTo>
                  <a:lnTo>
                    <a:pt x="1232" y="936"/>
                  </a:lnTo>
                  <a:lnTo>
                    <a:pt x="1244" y="945"/>
                  </a:lnTo>
                  <a:lnTo>
                    <a:pt x="1250" y="961"/>
                  </a:lnTo>
                  <a:lnTo>
                    <a:pt x="1254" y="975"/>
                  </a:lnTo>
                  <a:lnTo>
                    <a:pt x="1263" y="989"/>
                  </a:lnTo>
                  <a:lnTo>
                    <a:pt x="1263" y="1006"/>
                  </a:lnTo>
                  <a:lnTo>
                    <a:pt x="1267" y="1017"/>
                  </a:lnTo>
                  <a:lnTo>
                    <a:pt x="1281" y="1024"/>
                  </a:lnTo>
                  <a:lnTo>
                    <a:pt x="1295" y="1029"/>
                  </a:lnTo>
                  <a:lnTo>
                    <a:pt x="1302" y="1028"/>
                  </a:lnTo>
                  <a:lnTo>
                    <a:pt x="1300" y="1021"/>
                  </a:lnTo>
                  <a:lnTo>
                    <a:pt x="1301" y="1008"/>
                  </a:lnTo>
                  <a:lnTo>
                    <a:pt x="1305" y="993"/>
                  </a:lnTo>
                  <a:lnTo>
                    <a:pt x="1312" y="981"/>
                  </a:lnTo>
                  <a:lnTo>
                    <a:pt x="1326" y="970"/>
                  </a:lnTo>
                  <a:lnTo>
                    <a:pt x="1349" y="960"/>
                  </a:lnTo>
                  <a:lnTo>
                    <a:pt x="1371" y="942"/>
                  </a:lnTo>
                  <a:lnTo>
                    <a:pt x="1390" y="937"/>
                  </a:lnTo>
                  <a:lnTo>
                    <a:pt x="1403" y="936"/>
                  </a:lnTo>
                  <a:lnTo>
                    <a:pt x="1416" y="940"/>
                  </a:lnTo>
                  <a:lnTo>
                    <a:pt x="1434" y="937"/>
                  </a:lnTo>
                  <a:lnTo>
                    <a:pt x="1446" y="951"/>
                  </a:lnTo>
                  <a:lnTo>
                    <a:pt x="1461" y="951"/>
                  </a:lnTo>
                  <a:lnTo>
                    <a:pt x="1469" y="947"/>
                  </a:lnTo>
                  <a:lnTo>
                    <a:pt x="1476" y="950"/>
                  </a:lnTo>
                  <a:lnTo>
                    <a:pt x="1480" y="947"/>
                  </a:lnTo>
                  <a:lnTo>
                    <a:pt x="1478" y="942"/>
                  </a:lnTo>
                  <a:lnTo>
                    <a:pt x="1480" y="933"/>
                  </a:lnTo>
                  <a:lnTo>
                    <a:pt x="1478" y="926"/>
                  </a:lnTo>
                  <a:lnTo>
                    <a:pt x="1487" y="922"/>
                  </a:lnTo>
                  <a:lnTo>
                    <a:pt x="1503" y="922"/>
                  </a:lnTo>
                  <a:lnTo>
                    <a:pt x="1521" y="923"/>
                  </a:lnTo>
                  <a:lnTo>
                    <a:pt x="1543" y="921"/>
                  </a:lnTo>
                  <a:lnTo>
                    <a:pt x="1554" y="926"/>
                  </a:lnTo>
                  <a:lnTo>
                    <a:pt x="1562" y="937"/>
                  </a:lnTo>
                  <a:lnTo>
                    <a:pt x="1565" y="938"/>
                  </a:lnTo>
                  <a:lnTo>
                    <a:pt x="1588" y="928"/>
                  </a:lnTo>
                  <a:lnTo>
                    <a:pt x="1595" y="932"/>
                  </a:lnTo>
                  <a:lnTo>
                    <a:pt x="1607" y="951"/>
                  </a:lnTo>
                  <a:lnTo>
                    <a:pt x="1609" y="965"/>
                  </a:lnTo>
                  <a:lnTo>
                    <a:pt x="1602" y="980"/>
                  </a:lnTo>
                  <a:lnTo>
                    <a:pt x="1604" y="990"/>
                  </a:lnTo>
                  <a:lnTo>
                    <a:pt x="1609" y="1007"/>
                  </a:lnTo>
                  <a:lnTo>
                    <a:pt x="1617" y="1028"/>
                  </a:lnTo>
                  <a:lnTo>
                    <a:pt x="1623" y="1034"/>
                  </a:lnTo>
                  <a:lnTo>
                    <a:pt x="1625" y="1044"/>
                  </a:lnTo>
                  <a:lnTo>
                    <a:pt x="1635" y="1047"/>
                  </a:lnTo>
                  <a:lnTo>
                    <a:pt x="1641" y="1044"/>
                  </a:lnTo>
                  <a:lnTo>
                    <a:pt x="1649" y="1030"/>
                  </a:lnTo>
                  <a:lnTo>
                    <a:pt x="1651" y="1021"/>
                  </a:lnTo>
                  <a:lnTo>
                    <a:pt x="1655" y="1004"/>
                  </a:lnTo>
                  <a:lnTo>
                    <a:pt x="1650" y="977"/>
                  </a:lnTo>
                  <a:lnTo>
                    <a:pt x="1652" y="966"/>
                  </a:lnTo>
                  <a:lnTo>
                    <a:pt x="1647" y="950"/>
                  </a:lnTo>
                  <a:lnTo>
                    <a:pt x="1644" y="929"/>
                  </a:lnTo>
                  <a:lnTo>
                    <a:pt x="1644" y="913"/>
                  </a:lnTo>
                  <a:lnTo>
                    <a:pt x="1651" y="896"/>
                  </a:lnTo>
                  <a:lnTo>
                    <a:pt x="1664" y="882"/>
                  </a:lnTo>
                  <a:lnTo>
                    <a:pt x="1677" y="871"/>
                  </a:lnTo>
                  <a:lnTo>
                    <a:pt x="1704" y="855"/>
                  </a:lnTo>
                  <a:lnTo>
                    <a:pt x="1708" y="847"/>
                  </a:lnTo>
                  <a:lnTo>
                    <a:pt x="1720" y="838"/>
                  </a:lnTo>
                  <a:lnTo>
                    <a:pt x="1732" y="838"/>
                  </a:lnTo>
                  <a:lnTo>
                    <a:pt x="1747" y="823"/>
                  </a:lnTo>
                  <a:lnTo>
                    <a:pt x="1770" y="816"/>
                  </a:lnTo>
                  <a:lnTo>
                    <a:pt x="1788" y="798"/>
                  </a:lnTo>
                  <a:lnTo>
                    <a:pt x="1790" y="774"/>
                  </a:lnTo>
                  <a:lnTo>
                    <a:pt x="1791" y="766"/>
                  </a:lnTo>
                  <a:lnTo>
                    <a:pt x="1786" y="764"/>
                  </a:lnTo>
                  <a:lnTo>
                    <a:pt x="1791" y="740"/>
                  </a:lnTo>
                  <a:lnTo>
                    <a:pt x="1780" y="733"/>
                  </a:lnTo>
                  <a:lnTo>
                    <a:pt x="1792" y="737"/>
                  </a:lnTo>
                  <a:lnTo>
                    <a:pt x="1792" y="722"/>
                  </a:lnTo>
                  <a:lnTo>
                    <a:pt x="1799" y="711"/>
                  </a:lnTo>
                  <a:lnTo>
                    <a:pt x="1795" y="731"/>
                  </a:lnTo>
                  <a:lnTo>
                    <a:pt x="1803" y="740"/>
                  </a:lnTo>
                  <a:lnTo>
                    <a:pt x="1792" y="757"/>
                  </a:lnTo>
                  <a:lnTo>
                    <a:pt x="1793" y="757"/>
                  </a:lnTo>
                  <a:lnTo>
                    <a:pt x="1810" y="739"/>
                  </a:lnTo>
                  <a:lnTo>
                    <a:pt x="1819" y="729"/>
                  </a:lnTo>
                  <a:lnTo>
                    <a:pt x="1821" y="720"/>
                  </a:lnTo>
                  <a:lnTo>
                    <a:pt x="1818" y="716"/>
                  </a:lnTo>
                  <a:lnTo>
                    <a:pt x="1818" y="703"/>
                  </a:lnTo>
                  <a:lnTo>
                    <a:pt x="1822" y="709"/>
                  </a:lnTo>
                  <a:lnTo>
                    <a:pt x="1826" y="711"/>
                  </a:lnTo>
                  <a:lnTo>
                    <a:pt x="1826" y="716"/>
                  </a:lnTo>
                  <a:lnTo>
                    <a:pt x="1846" y="697"/>
                  </a:lnTo>
                  <a:lnTo>
                    <a:pt x="1855" y="681"/>
                  </a:lnTo>
                  <a:lnTo>
                    <a:pt x="1849" y="680"/>
                  </a:lnTo>
                  <a:lnTo>
                    <a:pt x="1857" y="673"/>
                  </a:lnTo>
                  <a:lnTo>
                    <a:pt x="1856" y="676"/>
                  </a:lnTo>
                  <a:lnTo>
                    <a:pt x="1868" y="676"/>
                  </a:lnTo>
                  <a:lnTo>
                    <a:pt x="1897" y="669"/>
                  </a:lnTo>
                  <a:lnTo>
                    <a:pt x="1893" y="665"/>
                  </a:lnTo>
                  <a:lnTo>
                    <a:pt x="1863" y="669"/>
                  </a:lnTo>
                  <a:lnTo>
                    <a:pt x="1881" y="662"/>
                  </a:lnTo>
                  <a:lnTo>
                    <a:pt x="1893" y="661"/>
                  </a:lnTo>
                  <a:lnTo>
                    <a:pt x="1902" y="660"/>
                  </a:lnTo>
                  <a:lnTo>
                    <a:pt x="1917" y="656"/>
                  </a:lnTo>
                  <a:lnTo>
                    <a:pt x="1926" y="656"/>
                  </a:lnTo>
                  <a:lnTo>
                    <a:pt x="1941" y="653"/>
                  </a:lnTo>
                  <a:lnTo>
                    <a:pt x="1945" y="646"/>
                  </a:lnTo>
                  <a:lnTo>
                    <a:pt x="1940" y="641"/>
                  </a:lnTo>
                  <a:lnTo>
                    <a:pt x="1939" y="649"/>
                  </a:lnTo>
                  <a:lnTo>
                    <a:pt x="1931" y="649"/>
                  </a:lnTo>
                  <a:lnTo>
                    <a:pt x="1930" y="637"/>
                  </a:lnTo>
                  <a:lnTo>
                    <a:pt x="1933" y="625"/>
                  </a:lnTo>
                  <a:lnTo>
                    <a:pt x="1939" y="619"/>
                  </a:lnTo>
                  <a:lnTo>
                    <a:pt x="1953" y="606"/>
                  </a:lnTo>
                  <a:lnTo>
                    <a:pt x="1975" y="599"/>
                  </a:lnTo>
                  <a:lnTo>
                    <a:pt x="1998" y="591"/>
                  </a:lnTo>
                  <a:lnTo>
                    <a:pt x="2021" y="580"/>
                  </a:lnTo>
                  <a:lnTo>
                    <a:pt x="2020" y="572"/>
                  </a:lnTo>
                  <a:lnTo>
                    <a:pt x="2013" y="559"/>
                  </a:lnTo>
                  <a:lnTo>
                    <a:pt x="2023" y="528"/>
                  </a:lnTo>
                  <a:lnTo>
                    <a:pt x="2017" y="521"/>
                  </a:lnTo>
                  <a:lnTo>
                    <a:pt x="2003" y="525"/>
                  </a:lnTo>
                  <a:lnTo>
                    <a:pt x="2000" y="518"/>
                  </a:lnTo>
                  <a:lnTo>
                    <a:pt x="1979" y="536"/>
                  </a:lnTo>
                  <a:lnTo>
                    <a:pt x="1967" y="555"/>
                  </a:lnTo>
                  <a:lnTo>
                    <a:pt x="1957" y="565"/>
                  </a:lnTo>
                  <a:lnTo>
                    <a:pt x="1947" y="569"/>
                  </a:lnTo>
                  <a:lnTo>
                    <a:pt x="1941" y="570"/>
                  </a:lnTo>
                  <a:lnTo>
                    <a:pt x="1937" y="575"/>
                  </a:lnTo>
                  <a:lnTo>
                    <a:pt x="1902" y="575"/>
                  </a:lnTo>
                  <a:lnTo>
                    <a:pt x="1874" y="575"/>
                  </a:lnTo>
                  <a:lnTo>
                    <a:pt x="1864" y="580"/>
                  </a:lnTo>
                  <a:lnTo>
                    <a:pt x="1839" y="596"/>
                  </a:lnTo>
                  <a:lnTo>
                    <a:pt x="1840" y="599"/>
                  </a:lnTo>
                  <a:lnTo>
                    <a:pt x="1837" y="608"/>
                  </a:lnTo>
                  <a:lnTo>
                    <a:pt x="1820" y="615"/>
                  </a:lnTo>
                  <a:lnTo>
                    <a:pt x="1805" y="613"/>
                  </a:lnTo>
                  <a:lnTo>
                    <a:pt x="1790" y="613"/>
                  </a:lnTo>
                  <a:lnTo>
                    <a:pt x="1781" y="615"/>
                  </a:lnTo>
                  <a:lnTo>
                    <a:pt x="1780" y="622"/>
                  </a:lnTo>
                  <a:lnTo>
                    <a:pt x="1780" y="622"/>
                  </a:lnTo>
                  <a:lnTo>
                    <a:pt x="1779" y="625"/>
                  </a:lnTo>
                  <a:lnTo>
                    <a:pt x="1758" y="638"/>
                  </a:lnTo>
                  <a:lnTo>
                    <a:pt x="1741" y="645"/>
                  </a:lnTo>
                  <a:lnTo>
                    <a:pt x="1730" y="648"/>
                  </a:lnTo>
                  <a:lnTo>
                    <a:pt x="1717" y="655"/>
                  </a:lnTo>
                  <a:lnTo>
                    <a:pt x="1702" y="657"/>
                  </a:lnTo>
                  <a:lnTo>
                    <a:pt x="1692" y="656"/>
                  </a:lnTo>
                  <a:lnTo>
                    <a:pt x="1682" y="652"/>
                  </a:lnTo>
                  <a:lnTo>
                    <a:pt x="1692" y="642"/>
                  </a:lnTo>
                  <a:lnTo>
                    <a:pt x="1692" y="642"/>
                  </a:lnTo>
                  <a:lnTo>
                    <a:pt x="1700" y="634"/>
                  </a:lnTo>
                  <a:lnTo>
                    <a:pt x="1713" y="622"/>
                  </a:lnTo>
                  <a:lnTo>
                    <a:pt x="1713" y="622"/>
                  </a:lnTo>
                  <a:lnTo>
                    <a:pt x="1713" y="622"/>
                  </a:lnTo>
                  <a:lnTo>
                    <a:pt x="1716" y="613"/>
                  </a:lnTo>
                  <a:lnTo>
                    <a:pt x="1718" y="599"/>
                  </a:lnTo>
                  <a:lnTo>
                    <a:pt x="1712" y="597"/>
                  </a:lnTo>
                  <a:lnTo>
                    <a:pt x="1696" y="607"/>
                  </a:lnTo>
                  <a:lnTo>
                    <a:pt x="1692" y="607"/>
                  </a:lnTo>
                  <a:lnTo>
                    <a:pt x="1693" y="601"/>
                  </a:lnTo>
                  <a:lnTo>
                    <a:pt x="1707" y="592"/>
                  </a:lnTo>
                  <a:lnTo>
                    <a:pt x="1714" y="582"/>
                  </a:lnTo>
                  <a:lnTo>
                    <a:pt x="1717" y="571"/>
                  </a:lnTo>
                  <a:lnTo>
                    <a:pt x="1706" y="562"/>
                  </a:lnTo>
                  <a:lnTo>
                    <a:pt x="1692" y="557"/>
                  </a:lnTo>
                  <a:lnTo>
                    <a:pt x="1686" y="566"/>
                  </a:lnTo>
                  <a:lnTo>
                    <a:pt x="1681" y="569"/>
                  </a:lnTo>
                  <a:lnTo>
                    <a:pt x="1673" y="580"/>
                  </a:lnTo>
                  <a:lnTo>
                    <a:pt x="1674" y="572"/>
                  </a:lnTo>
                  <a:lnTo>
                    <a:pt x="1664" y="578"/>
                  </a:lnTo>
                  <a:lnTo>
                    <a:pt x="1657" y="585"/>
                  </a:lnTo>
                  <a:lnTo>
                    <a:pt x="1647" y="597"/>
                  </a:lnTo>
                  <a:lnTo>
                    <a:pt x="1642" y="606"/>
                  </a:lnTo>
                  <a:lnTo>
                    <a:pt x="1642" y="621"/>
                  </a:lnTo>
                  <a:lnTo>
                    <a:pt x="1635" y="636"/>
                  </a:lnTo>
                  <a:lnTo>
                    <a:pt x="1623" y="647"/>
                  </a:lnTo>
                  <a:lnTo>
                    <a:pt x="1618" y="650"/>
                  </a:lnTo>
                  <a:lnTo>
                    <a:pt x="1612" y="653"/>
                  </a:lnTo>
                  <a:lnTo>
                    <a:pt x="1606" y="653"/>
                  </a:lnTo>
                  <a:lnTo>
                    <a:pt x="1605" y="651"/>
                  </a:lnTo>
                  <a:lnTo>
                    <a:pt x="1604" y="639"/>
                  </a:lnTo>
                  <a:lnTo>
                    <a:pt x="1607" y="633"/>
                  </a:lnTo>
                  <a:lnTo>
                    <a:pt x="1609" y="627"/>
                  </a:lnTo>
                  <a:lnTo>
                    <a:pt x="1611" y="616"/>
                  </a:lnTo>
                  <a:lnTo>
                    <a:pt x="1621" y="603"/>
                  </a:lnTo>
                  <a:lnTo>
                    <a:pt x="1632" y="587"/>
                  </a:lnTo>
                  <a:lnTo>
                    <a:pt x="1649" y="570"/>
                  </a:lnTo>
                  <a:lnTo>
                    <a:pt x="1646" y="570"/>
                  </a:lnTo>
                  <a:lnTo>
                    <a:pt x="1626" y="585"/>
                  </a:lnTo>
                  <a:lnTo>
                    <a:pt x="1624" y="582"/>
                  </a:lnTo>
                  <a:lnTo>
                    <a:pt x="1635" y="573"/>
                  </a:lnTo>
                  <a:lnTo>
                    <a:pt x="1653" y="558"/>
                  </a:lnTo>
                  <a:lnTo>
                    <a:pt x="1666" y="556"/>
                  </a:lnTo>
                  <a:lnTo>
                    <a:pt x="1683" y="552"/>
                  </a:lnTo>
                  <a:lnTo>
                    <a:pt x="1697" y="554"/>
                  </a:lnTo>
                  <a:lnTo>
                    <a:pt x="1697" y="554"/>
                  </a:lnTo>
                  <a:lnTo>
                    <a:pt x="1715" y="552"/>
                  </a:lnTo>
                  <a:lnTo>
                    <a:pt x="1709" y="542"/>
                  </a:lnTo>
                  <a:lnTo>
                    <a:pt x="1709" y="542"/>
                  </a:lnTo>
                  <a:lnTo>
                    <a:pt x="1705" y="542"/>
                  </a:lnTo>
                  <a:lnTo>
                    <a:pt x="1705" y="542"/>
                  </a:lnTo>
                  <a:lnTo>
                    <a:pt x="1705" y="542"/>
                  </a:lnTo>
                  <a:lnTo>
                    <a:pt x="1700" y="541"/>
                  </a:lnTo>
                  <a:lnTo>
                    <a:pt x="1698" y="535"/>
                  </a:lnTo>
                  <a:lnTo>
                    <a:pt x="1679" y="537"/>
                  </a:lnTo>
                  <a:lnTo>
                    <a:pt x="1661" y="542"/>
                  </a:lnTo>
                  <a:lnTo>
                    <a:pt x="1651" y="533"/>
                  </a:lnTo>
                  <a:lnTo>
                    <a:pt x="1642" y="530"/>
                  </a:lnTo>
                  <a:lnTo>
                    <a:pt x="1653" y="518"/>
                  </a:lnTo>
                  <a:lnTo>
                    <a:pt x="1634" y="526"/>
                  </a:lnTo>
                  <a:lnTo>
                    <a:pt x="1615" y="533"/>
                  </a:lnTo>
                  <a:lnTo>
                    <a:pt x="1598" y="539"/>
                  </a:lnTo>
                  <a:lnTo>
                    <a:pt x="1590" y="531"/>
                  </a:lnTo>
                  <a:lnTo>
                    <a:pt x="1569" y="536"/>
                  </a:lnTo>
                  <a:lnTo>
                    <a:pt x="1571" y="532"/>
                  </a:lnTo>
                  <a:lnTo>
                    <a:pt x="1588" y="523"/>
                  </a:lnTo>
                  <a:lnTo>
                    <a:pt x="1606" y="514"/>
                  </a:lnTo>
                  <a:lnTo>
                    <a:pt x="1628" y="505"/>
                  </a:lnTo>
                  <a:lnTo>
                    <a:pt x="1628" y="505"/>
                  </a:lnTo>
                  <a:lnTo>
                    <a:pt x="1628" y="505"/>
                  </a:lnTo>
                  <a:lnTo>
                    <a:pt x="1608" y="500"/>
                  </a:lnTo>
                  <a:lnTo>
                    <a:pt x="1592" y="502"/>
                  </a:lnTo>
                  <a:lnTo>
                    <a:pt x="1578" y="496"/>
                  </a:lnTo>
                  <a:lnTo>
                    <a:pt x="1560" y="492"/>
                  </a:lnTo>
                  <a:lnTo>
                    <a:pt x="1549" y="490"/>
                  </a:lnTo>
                  <a:lnTo>
                    <a:pt x="1545" y="486"/>
                  </a:lnTo>
                  <a:lnTo>
                    <a:pt x="1548" y="473"/>
                  </a:lnTo>
                  <a:lnTo>
                    <a:pt x="1548" y="473"/>
                  </a:lnTo>
                  <a:close/>
                  <a:moveTo>
                    <a:pt x="649" y="299"/>
                  </a:moveTo>
                  <a:lnTo>
                    <a:pt x="675" y="289"/>
                  </a:lnTo>
                  <a:lnTo>
                    <a:pt x="675" y="281"/>
                  </a:lnTo>
                  <a:lnTo>
                    <a:pt x="665" y="280"/>
                  </a:lnTo>
                  <a:lnTo>
                    <a:pt x="652" y="283"/>
                  </a:lnTo>
                  <a:lnTo>
                    <a:pt x="628" y="291"/>
                  </a:lnTo>
                  <a:lnTo>
                    <a:pt x="621" y="302"/>
                  </a:lnTo>
                  <a:lnTo>
                    <a:pt x="622" y="307"/>
                  </a:lnTo>
                  <a:lnTo>
                    <a:pt x="649" y="299"/>
                  </a:lnTo>
                  <a:close/>
                  <a:moveTo>
                    <a:pt x="505" y="237"/>
                  </a:moveTo>
                  <a:lnTo>
                    <a:pt x="513" y="229"/>
                  </a:lnTo>
                  <a:lnTo>
                    <a:pt x="502" y="227"/>
                  </a:lnTo>
                  <a:lnTo>
                    <a:pt x="481" y="231"/>
                  </a:lnTo>
                  <a:lnTo>
                    <a:pt x="484" y="236"/>
                  </a:lnTo>
                  <a:lnTo>
                    <a:pt x="490" y="241"/>
                  </a:lnTo>
                  <a:lnTo>
                    <a:pt x="505" y="237"/>
                  </a:lnTo>
                  <a:lnTo>
                    <a:pt x="505" y="237"/>
                  </a:lnTo>
                  <a:close/>
                  <a:moveTo>
                    <a:pt x="509" y="154"/>
                  </a:moveTo>
                  <a:lnTo>
                    <a:pt x="497" y="162"/>
                  </a:lnTo>
                  <a:lnTo>
                    <a:pt x="499" y="164"/>
                  </a:lnTo>
                  <a:lnTo>
                    <a:pt x="514" y="162"/>
                  </a:lnTo>
                  <a:lnTo>
                    <a:pt x="516" y="167"/>
                  </a:lnTo>
                  <a:lnTo>
                    <a:pt x="522" y="171"/>
                  </a:lnTo>
                  <a:lnTo>
                    <a:pt x="540" y="167"/>
                  </a:lnTo>
                  <a:lnTo>
                    <a:pt x="545" y="164"/>
                  </a:lnTo>
                  <a:lnTo>
                    <a:pt x="533" y="162"/>
                  </a:lnTo>
                  <a:lnTo>
                    <a:pt x="526" y="156"/>
                  </a:lnTo>
                  <a:lnTo>
                    <a:pt x="514" y="158"/>
                  </a:lnTo>
                  <a:lnTo>
                    <a:pt x="509" y="154"/>
                  </a:lnTo>
                  <a:lnTo>
                    <a:pt x="509" y="154"/>
                  </a:lnTo>
                  <a:close/>
                  <a:moveTo>
                    <a:pt x="975" y="4"/>
                  </a:moveTo>
                  <a:lnTo>
                    <a:pt x="959" y="0"/>
                  </a:lnTo>
                  <a:lnTo>
                    <a:pt x="921" y="10"/>
                  </a:lnTo>
                  <a:lnTo>
                    <a:pt x="909" y="9"/>
                  </a:lnTo>
                  <a:lnTo>
                    <a:pt x="868" y="18"/>
                  </a:lnTo>
                  <a:lnTo>
                    <a:pt x="850" y="20"/>
                  </a:lnTo>
                  <a:lnTo>
                    <a:pt x="820" y="29"/>
                  </a:lnTo>
                  <a:lnTo>
                    <a:pt x="803" y="39"/>
                  </a:lnTo>
                  <a:lnTo>
                    <a:pt x="771" y="49"/>
                  </a:lnTo>
                  <a:lnTo>
                    <a:pt x="742" y="49"/>
                  </a:lnTo>
                  <a:lnTo>
                    <a:pt x="719" y="60"/>
                  </a:lnTo>
                  <a:lnTo>
                    <a:pt x="731" y="66"/>
                  </a:lnTo>
                  <a:lnTo>
                    <a:pt x="734" y="75"/>
                  </a:lnTo>
                  <a:lnTo>
                    <a:pt x="731" y="85"/>
                  </a:lnTo>
                  <a:lnTo>
                    <a:pt x="739" y="92"/>
                  </a:lnTo>
                  <a:lnTo>
                    <a:pt x="734" y="106"/>
                  </a:lnTo>
                  <a:lnTo>
                    <a:pt x="700" y="106"/>
                  </a:lnTo>
                  <a:lnTo>
                    <a:pt x="716" y="96"/>
                  </a:lnTo>
                  <a:lnTo>
                    <a:pt x="704" y="96"/>
                  </a:lnTo>
                  <a:lnTo>
                    <a:pt x="654" y="106"/>
                  </a:lnTo>
                  <a:lnTo>
                    <a:pt x="621" y="115"/>
                  </a:lnTo>
                  <a:lnTo>
                    <a:pt x="624" y="127"/>
                  </a:lnTo>
                  <a:lnTo>
                    <a:pt x="620" y="135"/>
                  </a:lnTo>
                  <a:lnTo>
                    <a:pt x="636" y="140"/>
                  </a:lnTo>
                  <a:lnTo>
                    <a:pt x="663" y="137"/>
                  </a:lnTo>
                  <a:lnTo>
                    <a:pt x="669" y="143"/>
                  </a:lnTo>
                  <a:lnTo>
                    <a:pt x="680" y="137"/>
                  </a:lnTo>
                  <a:lnTo>
                    <a:pt x="703" y="134"/>
                  </a:lnTo>
                  <a:lnTo>
                    <a:pt x="713" y="134"/>
                  </a:lnTo>
                  <a:lnTo>
                    <a:pt x="691" y="141"/>
                  </a:lnTo>
                  <a:lnTo>
                    <a:pt x="695" y="145"/>
                  </a:lnTo>
                  <a:lnTo>
                    <a:pt x="686" y="154"/>
                  </a:lnTo>
                  <a:lnTo>
                    <a:pt x="665" y="162"/>
                  </a:lnTo>
                  <a:lnTo>
                    <a:pt x="656" y="160"/>
                  </a:lnTo>
                  <a:lnTo>
                    <a:pt x="630" y="169"/>
                  </a:lnTo>
                  <a:lnTo>
                    <a:pt x="622" y="166"/>
                  </a:lnTo>
                  <a:lnTo>
                    <a:pt x="607" y="167"/>
                  </a:lnTo>
                  <a:lnTo>
                    <a:pt x="588" y="178"/>
                  </a:lnTo>
                  <a:lnTo>
                    <a:pt x="559" y="190"/>
                  </a:lnTo>
                  <a:lnTo>
                    <a:pt x="537" y="203"/>
                  </a:lnTo>
                  <a:lnTo>
                    <a:pt x="538" y="212"/>
                  </a:lnTo>
                  <a:lnTo>
                    <a:pt x="523" y="224"/>
                  </a:lnTo>
                  <a:lnTo>
                    <a:pt x="529" y="230"/>
                  </a:lnTo>
                  <a:lnTo>
                    <a:pt x="531" y="240"/>
                  </a:lnTo>
                  <a:lnTo>
                    <a:pt x="558" y="235"/>
                  </a:lnTo>
                  <a:lnTo>
                    <a:pt x="559" y="244"/>
                  </a:lnTo>
                  <a:lnTo>
                    <a:pt x="547" y="251"/>
                  </a:lnTo>
                  <a:lnTo>
                    <a:pt x="534" y="264"/>
                  </a:lnTo>
                  <a:lnTo>
                    <a:pt x="544" y="264"/>
                  </a:lnTo>
                  <a:lnTo>
                    <a:pt x="571" y="256"/>
                  </a:lnTo>
                  <a:lnTo>
                    <a:pt x="565" y="266"/>
                  </a:lnTo>
                  <a:lnTo>
                    <a:pt x="579" y="259"/>
                  </a:lnTo>
                  <a:lnTo>
                    <a:pt x="577" y="270"/>
                  </a:lnTo>
                  <a:lnTo>
                    <a:pt x="594" y="261"/>
                  </a:lnTo>
                  <a:lnTo>
                    <a:pt x="596" y="266"/>
                  </a:lnTo>
                  <a:lnTo>
                    <a:pt x="623" y="259"/>
                  </a:lnTo>
                  <a:lnTo>
                    <a:pt x="600" y="272"/>
                  </a:lnTo>
                  <a:lnTo>
                    <a:pt x="579" y="289"/>
                  </a:lnTo>
                  <a:lnTo>
                    <a:pt x="557" y="296"/>
                  </a:lnTo>
                  <a:lnTo>
                    <a:pt x="549" y="301"/>
                  </a:lnTo>
                  <a:lnTo>
                    <a:pt x="510" y="315"/>
                  </a:lnTo>
                  <a:lnTo>
                    <a:pt x="492" y="323"/>
                  </a:lnTo>
                  <a:lnTo>
                    <a:pt x="467" y="326"/>
                  </a:lnTo>
                  <a:lnTo>
                    <a:pt x="436" y="338"/>
                  </a:lnTo>
                  <a:lnTo>
                    <a:pt x="411" y="345"/>
                  </a:lnTo>
                  <a:lnTo>
                    <a:pt x="382" y="356"/>
                  </a:lnTo>
                  <a:lnTo>
                    <a:pt x="380" y="359"/>
                  </a:lnTo>
                  <a:lnTo>
                    <a:pt x="417" y="353"/>
                  </a:lnTo>
                  <a:lnTo>
                    <a:pt x="439" y="345"/>
                  </a:lnTo>
                  <a:lnTo>
                    <a:pt x="466" y="338"/>
                  </a:lnTo>
                  <a:lnTo>
                    <a:pt x="488" y="331"/>
                  </a:lnTo>
                  <a:lnTo>
                    <a:pt x="498" y="333"/>
                  </a:lnTo>
                  <a:lnTo>
                    <a:pt x="529" y="324"/>
                  </a:lnTo>
                  <a:lnTo>
                    <a:pt x="546" y="313"/>
                  </a:lnTo>
                  <a:lnTo>
                    <a:pt x="585" y="302"/>
                  </a:lnTo>
                  <a:lnTo>
                    <a:pt x="599" y="292"/>
                  </a:lnTo>
                  <a:lnTo>
                    <a:pt x="624" y="285"/>
                  </a:lnTo>
                  <a:lnTo>
                    <a:pt x="652" y="275"/>
                  </a:lnTo>
                  <a:lnTo>
                    <a:pt x="686" y="261"/>
                  </a:lnTo>
                  <a:lnTo>
                    <a:pt x="685" y="249"/>
                  </a:lnTo>
                  <a:lnTo>
                    <a:pt x="726" y="234"/>
                  </a:lnTo>
                  <a:lnTo>
                    <a:pt x="754" y="219"/>
                  </a:lnTo>
                  <a:lnTo>
                    <a:pt x="789" y="207"/>
                  </a:lnTo>
                  <a:lnTo>
                    <a:pt x="787" y="213"/>
                  </a:lnTo>
                  <a:lnTo>
                    <a:pt x="762" y="219"/>
                  </a:lnTo>
                  <a:lnTo>
                    <a:pt x="731" y="241"/>
                  </a:lnTo>
                  <a:lnTo>
                    <a:pt x="719" y="254"/>
                  </a:lnTo>
                  <a:lnTo>
                    <a:pt x="743" y="249"/>
                  </a:lnTo>
                  <a:lnTo>
                    <a:pt x="765" y="242"/>
                  </a:lnTo>
                  <a:lnTo>
                    <a:pt x="790" y="237"/>
                  </a:lnTo>
                  <a:lnTo>
                    <a:pt x="801" y="236"/>
                  </a:lnTo>
                  <a:lnTo>
                    <a:pt x="814" y="220"/>
                  </a:lnTo>
                  <a:lnTo>
                    <a:pt x="837" y="216"/>
                  </a:lnTo>
                  <a:lnTo>
                    <a:pt x="847" y="225"/>
                  </a:lnTo>
                  <a:lnTo>
                    <a:pt x="869" y="235"/>
                  </a:lnTo>
                  <a:lnTo>
                    <a:pt x="894" y="233"/>
                  </a:lnTo>
                  <a:lnTo>
                    <a:pt x="916" y="241"/>
                  </a:lnTo>
                  <a:lnTo>
                    <a:pt x="928" y="246"/>
                  </a:lnTo>
                  <a:lnTo>
                    <a:pt x="940" y="268"/>
                  </a:lnTo>
                  <a:lnTo>
                    <a:pt x="954" y="275"/>
                  </a:lnTo>
                  <a:lnTo>
                    <a:pt x="980" y="275"/>
                  </a:lnTo>
                  <a:lnTo>
                    <a:pt x="996" y="276"/>
                  </a:lnTo>
                  <a:lnTo>
                    <a:pt x="986" y="297"/>
                  </a:lnTo>
                  <a:lnTo>
                    <a:pt x="991" y="316"/>
                  </a:lnTo>
                  <a:lnTo>
                    <a:pt x="979" y="335"/>
                  </a:lnTo>
                  <a:lnTo>
                    <a:pt x="988" y="342"/>
                  </a:lnTo>
                  <a:lnTo>
                    <a:pt x="990" y="350"/>
                  </a:lnTo>
                  <a:lnTo>
                    <a:pt x="990" y="350"/>
                  </a:lnTo>
                  <a:lnTo>
                    <a:pt x="1010" y="339"/>
                  </a:lnTo>
                  <a:lnTo>
                    <a:pt x="1021" y="326"/>
                  </a:lnTo>
                  <a:lnTo>
                    <a:pt x="1004" y="311"/>
                  </a:lnTo>
                  <a:lnTo>
                    <a:pt x="1010" y="286"/>
                  </a:lnTo>
                  <a:lnTo>
                    <a:pt x="1014" y="270"/>
                  </a:lnTo>
                  <a:lnTo>
                    <a:pt x="1007" y="261"/>
                  </a:lnTo>
                  <a:lnTo>
                    <a:pt x="1005" y="251"/>
                  </a:lnTo>
                  <a:lnTo>
                    <a:pt x="1007" y="240"/>
                  </a:lnTo>
                  <a:lnTo>
                    <a:pt x="983" y="247"/>
                  </a:lnTo>
                  <a:lnTo>
                    <a:pt x="955" y="260"/>
                  </a:lnTo>
                  <a:lnTo>
                    <a:pt x="954" y="245"/>
                  </a:lnTo>
                  <a:lnTo>
                    <a:pt x="951" y="235"/>
                  </a:lnTo>
                  <a:lnTo>
                    <a:pt x="942" y="229"/>
                  </a:lnTo>
                  <a:lnTo>
                    <a:pt x="926" y="229"/>
                  </a:lnTo>
                  <a:lnTo>
                    <a:pt x="1058" y="107"/>
                  </a:lnTo>
                  <a:lnTo>
                    <a:pt x="1149" y="33"/>
                  </a:lnTo>
                  <a:lnTo>
                    <a:pt x="1149" y="33"/>
                  </a:lnTo>
                  <a:lnTo>
                    <a:pt x="1149" y="33"/>
                  </a:lnTo>
                  <a:lnTo>
                    <a:pt x="1136" y="30"/>
                  </a:lnTo>
                  <a:lnTo>
                    <a:pt x="1120" y="23"/>
                  </a:lnTo>
                  <a:lnTo>
                    <a:pt x="1096" y="27"/>
                  </a:lnTo>
                  <a:lnTo>
                    <a:pt x="1087" y="24"/>
                  </a:lnTo>
                  <a:lnTo>
                    <a:pt x="1061" y="22"/>
                  </a:lnTo>
                  <a:lnTo>
                    <a:pt x="1038" y="16"/>
                  </a:lnTo>
                  <a:lnTo>
                    <a:pt x="1020" y="18"/>
                  </a:lnTo>
                  <a:lnTo>
                    <a:pt x="1002" y="15"/>
                  </a:lnTo>
                  <a:lnTo>
                    <a:pt x="1009" y="10"/>
                  </a:lnTo>
                  <a:lnTo>
                    <a:pt x="986" y="9"/>
                  </a:lnTo>
                  <a:lnTo>
                    <a:pt x="973" y="13"/>
                  </a:lnTo>
                  <a:lnTo>
                    <a:pt x="975" y="4"/>
                  </a:lnTo>
                  <a:lnTo>
                    <a:pt x="975" y="4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9" name="Uzbekistan">
              <a:extLst>
                <a:ext uri="{FF2B5EF4-FFF2-40B4-BE49-F238E27FC236}">
                  <a16:creationId xmlns:a16="http://schemas.microsoft.com/office/drawing/2014/main" id="{F67AEB67-A594-46E9-92ED-4282353F2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66831" y="2346099"/>
              <a:ext cx="561975" cy="312738"/>
            </a:xfrm>
            <a:custGeom>
              <a:avLst/>
              <a:gdLst>
                <a:gd name="T0" fmla="*/ 303 w 354"/>
                <a:gd name="T1" fmla="*/ 76 h 197"/>
                <a:gd name="T2" fmla="*/ 294 w 354"/>
                <a:gd name="T3" fmla="*/ 80 h 197"/>
                <a:gd name="T4" fmla="*/ 274 w 354"/>
                <a:gd name="T5" fmla="*/ 96 h 197"/>
                <a:gd name="T6" fmla="*/ 270 w 354"/>
                <a:gd name="T7" fmla="*/ 113 h 197"/>
                <a:gd name="T8" fmla="*/ 263 w 354"/>
                <a:gd name="T9" fmla="*/ 113 h 197"/>
                <a:gd name="T10" fmla="*/ 255 w 354"/>
                <a:gd name="T11" fmla="*/ 102 h 197"/>
                <a:gd name="T12" fmla="*/ 230 w 354"/>
                <a:gd name="T13" fmla="*/ 102 h 197"/>
                <a:gd name="T14" fmla="*/ 220 w 354"/>
                <a:gd name="T15" fmla="*/ 83 h 197"/>
                <a:gd name="T16" fmla="*/ 211 w 354"/>
                <a:gd name="T17" fmla="*/ 82 h 197"/>
                <a:gd name="T18" fmla="*/ 205 w 354"/>
                <a:gd name="T19" fmla="*/ 59 h 197"/>
                <a:gd name="T20" fmla="*/ 177 w 354"/>
                <a:gd name="T21" fmla="*/ 42 h 197"/>
                <a:gd name="T22" fmla="*/ 145 w 354"/>
                <a:gd name="T23" fmla="*/ 44 h 197"/>
                <a:gd name="T24" fmla="*/ 124 w 354"/>
                <a:gd name="T25" fmla="*/ 48 h 197"/>
                <a:gd name="T26" fmla="*/ 100 w 354"/>
                <a:gd name="T27" fmla="*/ 27 h 197"/>
                <a:gd name="T28" fmla="*/ 82 w 354"/>
                <a:gd name="T29" fmla="*/ 19 h 197"/>
                <a:gd name="T30" fmla="*/ 48 w 354"/>
                <a:gd name="T31" fmla="*/ 2 h 197"/>
                <a:gd name="T32" fmla="*/ 44 w 354"/>
                <a:gd name="T33" fmla="*/ 0 h 197"/>
                <a:gd name="T34" fmla="*/ 0 w 354"/>
                <a:gd name="T35" fmla="*/ 13 h 197"/>
                <a:gd name="T36" fmla="*/ 22 w 354"/>
                <a:gd name="T37" fmla="*/ 98 h 197"/>
                <a:gd name="T38" fmla="*/ 44 w 354"/>
                <a:gd name="T39" fmla="*/ 98 h 197"/>
                <a:gd name="T40" fmla="*/ 38 w 354"/>
                <a:gd name="T41" fmla="*/ 87 h 197"/>
                <a:gd name="T42" fmla="*/ 52 w 354"/>
                <a:gd name="T43" fmla="*/ 79 h 197"/>
                <a:gd name="T44" fmla="*/ 65 w 354"/>
                <a:gd name="T45" fmla="*/ 65 h 197"/>
                <a:gd name="T46" fmla="*/ 94 w 354"/>
                <a:gd name="T47" fmla="*/ 78 h 197"/>
                <a:gd name="T48" fmla="*/ 101 w 354"/>
                <a:gd name="T49" fmla="*/ 95 h 197"/>
                <a:gd name="T50" fmla="*/ 110 w 354"/>
                <a:gd name="T51" fmla="*/ 100 h 197"/>
                <a:gd name="T52" fmla="*/ 130 w 354"/>
                <a:gd name="T53" fmla="*/ 99 h 197"/>
                <a:gd name="T54" fmla="*/ 138 w 354"/>
                <a:gd name="T55" fmla="*/ 104 h 197"/>
                <a:gd name="T56" fmla="*/ 154 w 354"/>
                <a:gd name="T57" fmla="*/ 128 h 197"/>
                <a:gd name="T58" fmla="*/ 180 w 354"/>
                <a:gd name="T59" fmla="*/ 144 h 197"/>
                <a:gd name="T60" fmla="*/ 196 w 354"/>
                <a:gd name="T61" fmla="*/ 155 h 197"/>
                <a:gd name="T62" fmla="*/ 218 w 354"/>
                <a:gd name="T63" fmla="*/ 167 h 197"/>
                <a:gd name="T64" fmla="*/ 247 w 354"/>
                <a:gd name="T65" fmla="*/ 177 h 197"/>
                <a:gd name="T66" fmla="*/ 250 w 354"/>
                <a:gd name="T67" fmla="*/ 192 h 197"/>
                <a:gd name="T68" fmla="*/ 261 w 354"/>
                <a:gd name="T69" fmla="*/ 192 h 197"/>
                <a:gd name="T70" fmla="*/ 277 w 354"/>
                <a:gd name="T71" fmla="*/ 197 h 197"/>
                <a:gd name="T72" fmla="*/ 282 w 354"/>
                <a:gd name="T73" fmla="*/ 173 h 197"/>
                <a:gd name="T74" fmla="*/ 273 w 354"/>
                <a:gd name="T75" fmla="*/ 155 h 197"/>
                <a:gd name="T76" fmla="*/ 257 w 354"/>
                <a:gd name="T77" fmla="*/ 149 h 197"/>
                <a:gd name="T78" fmla="*/ 259 w 354"/>
                <a:gd name="T79" fmla="*/ 139 h 197"/>
                <a:gd name="T80" fmla="*/ 276 w 354"/>
                <a:gd name="T81" fmla="*/ 140 h 197"/>
                <a:gd name="T82" fmla="*/ 282 w 354"/>
                <a:gd name="T83" fmla="*/ 127 h 197"/>
                <a:gd name="T84" fmla="*/ 284 w 354"/>
                <a:gd name="T85" fmla="*/ 112 h 197"/>
                <a:gd name="T86" fmla="*/ 308 w 354"/>
                <a:gd name="T87" fmla="*/ 107 h 197"/>
                <a:gd name="T88" fmla="*/ 307 w 354"/>
                <a:gd name="T89" fmla="*/ 117 h 197"/>
                <a:gd name="T90" fmla="*/ 312 w 354"/>
                <a:gd name="T91" fmla="*/ 124 h 197"/>
                <a:gd name="T92" fmla="*/ 319 w 354"/>
                <a:gd name="T93" fmla="*/ 123 h 197"/>
                <a:gd name="T94" fmla="*/ 335 w 354"/>
                <a:gd name="T95" fmla="*/ 125 h 197"/>
                <a:gd name="T96" fmla="*/ 354 w 354"/>
                <a:gd name="T97" fmla="*/ 108 h 197"/>
                <a:gd name="T98" fmla="*/ 327 w 354"/>
                <a:gd name="T99" fmla="*/ 96 h 197"/>
                <a:gd name="T100" fmla="*/ 315 w 354"/>
                <a:gd name="T101" fmla="*/ 102 h 197"/>
                <a:gd name="T102" fmla="*/ 298 w 354"/>
                <a:gd name="T103" fmla="*/ 93 h 197"/>
                <a:gd name="T104" fmla="*/ 310 w 354"/>
                <a:gd name="T105" fmla="*/ 79 h 197"/>
                <a:gd name="T106" fmla="*/ 303 w 354"/>
                <a:gd name="T107" fmla="*/ 76 h 197"/>
                <a:gd name="T108" fmla="*/ 303 w 354"/>
                <a:gd name="T109" fmla="*/ 7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54" h="197">
                  <a:moveTo>
                    <a:pt x="303" y="76"/>
                  </a:moveTo>
                  <a:lnTo>
                    <a:pt x="294" y="80"/>
                  </a:lnTo>
                  <a:lnTo>
                    <a:pt x="274" y="96"/>
                  </a:lnTo>
                  <a:lnTo>
                    <a:pt x="270" y="113"/>
                  </a:lnTo>
                  <a:lnTo>
                    <a:pt x="263" y="113"/>
                  </a:lnTo>
                  <a:lnTo>
                    <a:pt x="255" y="102"/>
                  </a:lnTo>
                  <a:lnTo>
                    <a:pt x="230" y="102"/>
                  </a:lnTo>
                  <a:lnTo>
                    <a:pt x="220" y="83"/>
                  </a:lnTo>
                  <a:lnTo>
                    <a:pt x="211" y="82"/>
                  </a:lnTo>
                  <a:lnTo>
                    <a:pt x="205" y="59"/>
                  </a:lnTo>
                  <a:lnTo>
                    <a:pt x="177" y="42"/>
                  </a:lnTo>
                  <a:lnTo>
                    <a:pt x="145" y="44"/>
                  </a:lnTo>
                  <a:lnTo>
                    <a:pt x="124" y="48"/>
                  </a:lnTo>
                  <a:lnTo>
                    <a:pt x="100" y="27"/>
                  </a:lnTo>
                  <a:lnTo>
                    <a:pt x="82" y="19"/>
                  </a:lnTo>
                  <a:lnTo>
                    <a:pt x="48" y="2"/>
                  </a:lnTo>
                  <a:lnTo>
                    <a:pt x="44" y="0"/>
                  </a:lnTo>
                  <a:lnTo>
                    <a:pt x="0" y="13"/>
                  </a:lnTo>
                  <a:lnTo>
                    <a:pt x="22" y="98"/>
                  </a:lnTo>
                  <a:lnTo>
                    <a:pt x="44" y="98"/>
                  </a:lnTo>
                  <a:lnTo>
                    <a:pt x="38" y="87"/>
                  </a:lnTo>
                  <a:lnTo>
                    <a:pt x="52" y="79"/>
                  </a:lnTo>
                  <a:lnTo>
                    <a:pt x="65" y="65"/>
                  </a:lnTo>
                  <a:lnTo>
                    <a:pt x="94" y="78"/>
                  </a:lnTo>
                  <a:lnTo>
                    <a:pt x="101" y="95"/>
                  </a:lnTo>
                  <a:lnTo>
                    <a:pt x="110" y="100"/>
                  </a:lnTo>
                  <a:lnTo>
                    <a:pt x="130" y="99"/>
                  </a:lnTo>
                  <a:lnTo>
                    <a:pt x="138" y="104"/>
                  </a:lnTo>
                  <a:lnTo>
                    <a:pt x="154" y="128"/>
                  </a:lnTo>
                  <a:lnTo>
                    <a:pt x="180" y="144"/>
                  </a:lnTo>
                  <a:lnTo>
                    <a:pt x="196" y="155"/>
                  </a:lnTo>
                  <a:lnTo>
                    <a:pt x="218" y="167"/>
                  </a:lnTo>
                  <a:lnTo>
                    <a:pt x="247" y="177"/>
                  </a:lnTo>
                  <a:lnTo>
                    <a:pt x="250" y="192"/>
                  </a:lnTo>
                  <a:lnTo>
                    <a:pt x="261" y="192"/>
                  </a:lnTo>
                  <a:lnTo>
                    <a:pt x="277" y="197"/>
                  </a:lnTo>
                  <a:lnTo>
                    <a:pt x="282" y="173"/>
                  </a:lnTo>
                  <a:lnTo>
                    <a:pt x="273" y="155"/>
                  </a:lnTo>
                  <a:lnTo>
                    <a:pt x="257" y="149"/>
                  </a:lnTo>
                  <a:lnTo>
                    <a:pt x="259" y="139"/>
                  </a:lnTo>
                  <a:lnTo>
                    <a:pt x="276" y="140"/>
                  </a:lnTo>
                  <a:lnTo>
                    <a:pt x="282" y="127"/>
                  </a:lnTo>
                  <a:lnTo>
                    <a:pt x="284" y="112"/>
                  </a:lnTo>
                  <a:lnTo>
                    <a:pt x="308" y="107"/>
                  </a:lnTo>
                  <a:lnTo>
                    <a:pt x="307" y="117"/>
                  </a:lnTo>
                  <a:lnTo>
                    <a:pt x="312" y="124"/>
                  </a:lnTo>
                  <a:lnTo>
                    <a:pt x="319" y="123"/>
                  </a:lnTo>
                  <a:lnTo>
                    <a:pt x="335" y="125"/>
                  </a:lnTo>
                  <a:lnTo>
                    <a:pt x="354" y="108"/>
                  </a:lnTo>
                  <a:lnTo>
                    <a:pt x="327" y="96"/>
                  </a:lnTo>
                  <a:lnTo>
                    <a:pt x="315" y="102"/>
                  </a:lnTo>
                  <a:lnTo>
                    <a:pt x="298" y="93"/>
                  </a:lnTo>
                  <a:lnTo>
                    <a:pt x="310" y="79"/>
                  </a:lnTo>
                  <a:lnTo>
                    <a:pt x="303" y="76"/>
                  </a:lnTo>
                  <a:lnTo>
                    <a:pt x="303" y="76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0" name="Venezuela">
              <a:extLst>
                <a:ext uri="{FF2B5EF4-FFF2-40B4-BE49-F238E27FC236}">
                  <a16:creationId xmlns:a16="http://schemas.microsoft.com/office/drawing/2014/main" id="{7072F7F3-C1FF-4E20-ADBF-A5CEF96BF4C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1556" y="3603399"/>
              <a:ext cx="449262" cy="431800"/>
            </a:xfrm>
            <a:custGeom>
              <a:avLst/>
              <a:gdLst>
                <a:gd name="T0" fmla="*/ 275 w 283"/>
                <a:gd name="T1" fmla="*/ 85 h 272"/>
                <a:gd name="T2" fmla="*/ 262 w 283"/>
                <a:gd name="T3" fmla="*/ 66 h 272"/>
                <a:gd name="T4" fmla="*/ 230 w 283"/>
                <a:gd name="T5" fmla="*/ 53 h 272"/>
                <a:gd name="T6" fmla="*/ 241 w 283"/>
                <a:gd name="T7" fmla="*/ 34 h 272"/>
                <a:gd name="T8" fmla="*/ 190 w 283"/>
                <a:gd name="T9" fmla="*/ 36 h 272"/>
                <a:gd name="T10" fmla="*/ 178 w 283"/>
                <a:gd name="T11" fmla="*/ 49 h 272"/>
                <a:gd name="T12" fmla="*/ 151 w 283"/>
                <a:gd name="T13" fmla="*/ 36 h 272"/>
                <a:gd name="T14" fmla="*/ 110 w 283"/>
                <a:gd name="T15" fmla="*/ 38 h 272"/>
                <a:gd name="T16" fmla="*/ 96 w 283"/>
                <a:gd name="T17" fmla="*/ 18 h 272"/>
                <a:gd name="T18" fmla="*/ 75 w 283"/>
                <a:gd name="T19" fmla="*/ 0 h 272"/>
                <a:gd name="T20" fmla="*/ 69 w 283"/>
                <a:gd name="T21" fmla="*/ 19 h 272"/>
                <a:gd name="T22" fmla="*/ 42 w 283"/>
                <a:gd name="T23" fmla="*/ 47 h 272"/>
                <a:gd name="T24" fmla="*/ 43 w 283"/>
                <a:gd name="T25" fmla="*/ 72 h 272"/>
                <a:gd name="T26" fmla="*/ 27 w 283"/>
                <a:gd name="T27" fmla="*/ 55 h 272"/>
                <a:gd name="T28" fmla="*/ 39 w 283"/>
                <a:gd name="T29" fmla="*/ 29 h 272"/>
                <a:gd name="T30" fmla="*/ 44 w 283"/>
                <a:gd name="T31" fmla="*/ 15 h 272"/>
                <a:gd name="T32" fmla="*/ 31 w 283"/>
                <a:gd name="T33" fmla="*/ 13 h 272"/>
                <a:gd name="T34" fmla="*/ 17 w 283"/>
                <a:gd name="T35" fmla="*/ 32 h 272"/>
                <a:gd name="T36" fmla="*/ 7 w 283"/>
                <a:gd name="T37" fmla="*/ 58 h 272"/>
                <a:gd name="T38" fmla="*/ 12 w 283"/>
                <a:gd name="T39" fmla="*/ 74 h 272"/>
                <a:gd name="T40" fmla="*/ 18 w 283"/>
                <a:gd name="T41" fmla="*/ 89 h 272"/>
                <a:gd name="T42" fmla="*/ 16 w 283"/>
                <a:gd name="T43" fmla="*/ 107 h 272"/>
                <a:gd name="T44" fmla="*/ 22 w 283"/>
                <a:gd name="T45" fmla="*/ 115 h 272"/>
                <a:gd name="T46" fmla="*/ 54 w 283"/>
                <a:gd name="T47" fmla="*/ 120 h 272"/>
                <a:gd name="T48" fmla="*/ 80 w 283"/>
                <a:gd name="T49" fmla="*/ 145 h 272"/>
                <a:gd name="T50" fmla="*/ 103 w 283"/>
                <a:gd name="T51" fmla="*/ 143 h 272"/>
                <a:gd name="T52" fmla="*/ 123 w 283"/>
                <a:gd name="T53" fmla="*/ 145 h 272"/>
                <a:gd name="T54" fmla="*/ 113 w 283"/>
                <a:gd name="T55" fmla="*/ 165 h 272"/>
                <a:gd name="T56" fmla="*/ 115 w 283"/>
                <a:gd name="T57" fmla="*/ 198 h 272"/>
                <a:gd name="T58" fmla="*/ 122 w 283"/>
                <a:gd name="T59" fmla="*/ 210 h 272"/>
                <a:gd name="T60" fmla="*/ 118 w 283"/>
                <a:gd name="T61" fmla="*/ 227 h 272"/>
                <a:gd name="T62" fmla="*/ 130 w 283"/>
                <a:gd name="T63" fmla="*/ 259 h 272"/>
                <a:gd name="T64" fmla="*/ 157 w 283"/>
                <a:gd name="T65" fmla="*/ 270 h 272"/>
                <a:gd name="T66" fmla="*/ 177 w 283"/>
                <a:gd name="T67" fmla="*/ 258 h 272"/>
                <a:gd name="T68" fmla="*/ 188 w 283"/>
                <a:gd name="T69" fmla="*/ 244 h 272"/>
                <a:gd name="T70" fmla="*/ 203 w 283"/>
                <a:gd name="T71" fmla="*/ 231 h 272"/>
                <a:gd name="T72" fmla="*/ 182 w 283"/>
                <a:gd name="T73" fmla="*/ 215 h 272"/>
                <a:gd name="T74" fmla="*/ 174 w 283"/>
                <a:gd name="T75" fmla="*/ 193 h 272"/>
                <a:gd name="T76" fmla="*/ 194 w 283"/>
                <a:gd name="T77" fmla="*/ 193 h 272"/>
                <a:gd name="T78" fmla="*/ 216 w 283"/>
                <a:gd name="T79" fmla="*/ 194 h 272"/>
                <a:gd name="T80" fmla="*/ 255 w 283"/>
                <a:gd name="T81" fmla="*/ 181 h 272"/>
                <a:gd name="T82" fmla="*/ 261 w 283"/>
                <a:gd name="T83" fmla="*/ 165 h 272"/>
                <a:gd name="T84" fmla="*/ 252 w 283"/>
                <a:gd name="T85" fmla="*/ 141 h 272"/>
                <a:gd name="T86" fmla="*/ 266 w 283"/>
                <a:gd name="T87" fmla="*/ 126 h 272"/>
                <a:gd name="T88" fmla="*/ 264 w 283"/>
                <a:gd name="T89" fmla="*/ 113 h 272"/>
                <a:gd name="T90" fmla="*/ 283 w 283"/>
                <a:gd name="T91" fmla="*/ 9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83" h="272">
                  <a:moveTo>
                    <a:pt x="283" y="90"/>
                  </a:moveTo>
                  <a:lnTo>
                    <a:pt x="275" y="85"/>
                  </a:lnTo>
                  <a:lnTo>
                    <a:pt x="265" y="85"/>
                  </a:lnTo>
                  <a:lnTo>
                    <a:pt x="262" y="66"/>
                  </a:lnTo>
                  <a:lnTo>
                    <a:pt x="246" y="54"/>
                  </a:lnTo>
                  <a:lnTo>
                    <a:pt x="230" y="53"/>
                  </a:lnTo>
                  <a:lnTo>
                    <a:pt x="224" y="42"/>
                  </a:lnTo>
                  <a:lnTo>
                    <a:pt x="241" y="34"/>
                  </a:lnTo>
                  <a:lnTo>
                    <a:pt x="216" y="34"/>
                  </a:lnTo>
                  <a:lnTo>
                    <a:pt x="190" y="36"/>
                  </a:lnTo>
                  <a:lnTo>
                    <a:pt x="190" y="42"/>
                  </a:lnTo>
                  <a:lnTo>
                    <a:pt x="178" y="49"/>
                  </a:lnTo>
                  <a:lnTo>
                    <a:pt x="162" y="47"/>
                  </a:lnTo>
                  <a:lnTo>
                    <a:pt x="151" y="36"/>
                  </a:lnTo>
                  <a:lnTo>
                    <a:pt x="128" y="38"/>
                  </a:lnTo>
                  <a:lnTo>
                    <a:pt x="110" y="38"/>
                  </a:lnTo>
                  <a:lnTo>
                    <a:pt x="109" y="31"/>
                  </a:lnTo>
                  <a:lnTo>
                    <a:pt x="96" y="18"/>
                  </a:lnTo>
                  <a:lnTo>
                    <a:pt x="82" y="17"/>
                  </a:lnTo>
                  <a:lnTo>
                    <a:pt x="75" y="0"/>
                  </a:lnTo>
                  <a:lnTo>
                    <a:pt x="67" y="7"/>
                  </a:lnTo>
                  <a:lnTo>
                    <a:pt x="69" y="19"/>
                  </a:lnTo>
                  <a:lnTo>
                    <a:pt x="42" y="29"/>
                  </a:lnTo>
                  <a:lnTo>
                    <a:pt x="42" y="47"/>
                  </a:lnTo>
                  <a:lnTo>
                    <a:pt x="49" y="55"/>
                  </a:lnTo>
                  <a:lnTo>
                    <a:pt x="43" y="72"/>
                  </a:lnTo>
                  <a:lnTo>
                    <a:pt x="34" y="74"/>
                  </a:lnTo>
                  <a:lnTo>
                    <a:pt x="27" y="55"/>
                  </a:lnTo>
                  <a:lnTo>
                    <a:pt x="37" y="41"/>
                  </a:lnTo>
                  <a:lnTo>
                    <a:pt x="39" y="29"/>
                  </a:lnTo>
                  <a:lnTo>
                    <a:pt x="32" y="18"/>
                  </a:lnTo>
                  <a:lnTo>
                    <a:pt x="44" y="15"/>
                  </a:lnTo>
                  <a:lnTo>
                    <a:pt x="45" y="9"/>
                  </a:lnTo>
                  <a:lnTo>
                    <a:pt x="31" y="13"/>
                  </a:lnTo>
                  <a:lnTo>
                    <a:pt x="26" y="25"/>
                  </a:lnTo>
                  <a:lnTo>
                    <a:pt x="17" y="32"/>
                  </a:lnTo>
                  <a:lnTo>
                    <a:pt x="11" y="41"/>
                  </a:lnTo>
                  <a:lnTo>
                    <a:pt x="7" y="58"/>
                  </a:lnTo>
                  <a:lnTo>
                    <a:pt x="0" y="72"/>
                  </a:lnTo>
                  <a:lnTo>
                    <a:pt x="12" y="74"/>
                  </a:lnTo>
                  <a:lnTo>
                    <a:pt x="13" y="84"/>
                  </a:lnTo>
                  <a:lnTo>
                    <a:pt x="18" y="89"/>
                  </a:lnTo>
                  <a:lnTo>
                    <a:pt x="19" y="99"/>
                  </a:lnTo>
                  <a:lnTo>
                    <a:pt x="16" y="107"/>
                  </a:lnTo>
                  <a:lnTo>
                    <a:pt x="17" y="113"/>
                  </a:lnTo>
                  <a:lnTo>
                    <a:pt x="22" y="115"/>
                  </a:lnTo>
                  <a:lnTo>
                    <a:pt x="27" y="123"/>
                  </a:lnTo>
                  <a:lnTo>
                    <a:pt x="54" y="120"/>
                  </a:lnTo>
                  <a:lnTo>
                    <a:pt x="66" y="124"/>
                  </a:lnTo>
                  <a:lnTo>
                    <a:pt x="80" y="145"/>
                  </a:lnTo>
                  <a:lnTo>
                    <a:pt x="88" y="142"/>
                  </a:lnTo>
                  <a:lnTo>
                    <a:pt x="103" y="143"/>
                  </a:lnTo>
                  <a:lnTo>
                    <a:pt x="115" y="140"/>
                  </a:lnTo>
                  <a:lnTo>
                    <a:pt x="123" y="145"/>
                  </a:lnTo>
                  <a:lnTo>
                    <a:pt x="118" y="157"/>
                  </a:lnTo>
                  <a:lnTo>
                    <a:pt x="113" y="165"/>
                  </a:lnTo>
                  <a:lnTo>
                    <a:pt x="111" y="182"/>
                  </a:lnTo>
                  <a:lnTo>
                    <a:pt x="115" y="198"/>
                  </a:lnTo>
                  <a:lnTo>
                    <a:pt x="121" y="204"/>
                  </a:lnTo>
                  <a:lnTo>
                    <a:pt x="122" y="210"/>
                  </a:lnTo>
                  <a:lnTo>
                    <a:pt x="111" y="222"/>
                  </a:lnTo>
                  <a:lnTo>
                    <a:pt x="118" y="227"/>
                  </a:lnTo>
                  <a:lnTo>
                    <a:pt x="124" y="235"/>
                  </a:lnTo>
                  <a:lnTo>
                    <a:pt x="130" y="259"/>
                  </a:lnTo>
                  <a:lnTo>
                    <a:pt x="141" y="272"/>
                  </a:lnTo>
                  <a:lnTo>
                    <a:pt x="157" y="270"/>
                  </a:lnTo>
                  <a:lnTo>
                    <a:pt x="162" y="263"/>
                  </a:lnTo>
                  <a:lnTo>
                    <a:pt x="177" y="258"/>
                  </a:lnTo>
                  <a:lnTo>
                    <a:pt x="186" y="254"/>
                  </a:lnTo>
                  <a:lnTo>
                    <a:pt x="188" y="244"/>
                  </a:lnTo>
                  <a:lnTo>
                    <a:pt x="204" y="237"/>
                  </a:lnTo>
                  <a:lnTo>
                    <a:pt x="203" y="231"/>
                  </a:lnTo>
                  <a:lnTo>
                    <a:pt x="184" y="230"/>
                  </a:lnTo>
                  <a:lnTo>
                    <a:pt x="182" y="215"/>
                  </a:lnTo>
                  <a:lnTo>
                    <a:pt x="183" y="199"/>
                  </a:lnTo>
                  <a:lnTo>
                    <a:pt x="174" y="193"/>
                  </a:lnTo>
                  <a:lnTo>
                    <a:pt x="178" y="190"/>
                  </a:lnTo>
                  <a:lnTo>
                    <a:pt x="194" y="193"/>
                  </a:lnTo>
                  <a:lnTo>
                    <a:pt x="210" y="200"/>
                  </a:lnTo>
                  <a:lnTo>
                    <a:pt x="216" y="194"/>
                  </a:lnTo>
                  <a:lnTo>
                    <a:pt x="231" y="190"/>
                  </a:lnTo>
                  <a:lnTo>
                    <a:pt x="255" y="181"/>
                  </a:lnTo>
                  <a:lnTo>
                    <a:pt x="263" y="173"/>
                  </a:lnTo>
                  <a:lnTo>
                    <a:pt x="261" y="165"/>
                  </a:lnTo>
                  <a:lnTo>
                    <a:pt x="247" y="147"/>
                  </a:lnTo>
                  <a:lnTo>
                    <a:pt x="252" y="141"/>
                  </a:lnTo>
                  <a:lnTo>
                    <a:pt x="252" y="130"/>
                  </a:lnTo>
                  <a:lnTo>
                    <a:pt x="266" y="126"/>
                  </a:lnTo>
                  <a:lnTo>
                    <a:pt x="271" y="121"/>
                  </a:lnTo>
                  <a:lnTo>
                    <a:pt x="264" y="113"/>
                  </a:lnTo>
                  <a:lnTo>
                    <a:pt x="266" y="104"/>
                  </a:lnTo>
                  <a:lnTo>
                    <a:pt x="283" y="90"/>
                  </a:lnTo>
                  <a:lnTo>
                    <a:pt x="283" y="9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1" name="Vietnam">
              <a:extLst>
                <a:ext uri="{FF2B5EF4-FFF2-40B4-BE49-F238E27FC236}">
                  <a16:creationId xmlns:a16="http://schemas.microsoft.com/office/drawing/2014/main" id="{E2C824F6-5ABB-4D29-8BFC-FD33F8BD7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4181" y="3181124"/>
              <a:ext cx="288925" cy="557212"/>
            </a:xfrm>
            <a:custGeom>
              <a:avLst/>
              <a:gdLst>
                <a:gd name="T0" fmla="*/ 125 w 182"/>
                <a:gd name="T1" fmla="*/ 43 h 351"/>
                <a:gd name="T2" fmla="*/ 103 w 182"/>
                <a:gd name="T3" fmla="*/ 37 h 351"/>
                <a:gd name="T4" fmla="*/ 92 w 182"/>
                <a:gd name="T5" fmla="*/ 27 h 351"/>
                <a:gd name="T6" fmla="*/ 93 w 182"/>
                <a:gd name="T7" fmla="*/ 13 h 351"/>
                <a:gd name="T8" fmla="*/ 73 w 182"/>
                <a:gd name="T9" fmla="*/ 9 h 351"/>
                <a:gd name="T10" fmla="*/ 62 w 182"/>
                <a:gd name="T11" fmla="*/ 0 h 351"/>
                <a:gd name="T12" fmla="*/ 46 w 182"/>
                <a:gd name="T13" fmla="*/ 13 h 351"/>
                <a:gd name="T14" fmla="*/ 27 w 182"/>
                <a:gd name="T15" fmla="*/ 16 h 351"/>
                <a:gd name="T16" fmla="*/ 11 w 182"/>
                <a:gd name="T17" fmla="*/ 16 h 351"/>
                <a:gd name="T18" fmla="*/ 0 w 182"/>
                <a:gd name="T19" fmla="*/ 21 h 351"/>
                <a:gd name="T20" fmla="*/ 15 w 182"/>
                <a:gd name="T21" fmla="*/ 40 h 351"/>
                <a:gd name="T22" fmla="*/ 28 w 182"/>
                <a:gd name="T23" fmla="*/ 61 h 351"/>
                <a:gd name="T24" fmla="*/ 54 w 182"/>
                <a:gd name="T25" fmla="*/ 61 h 351"/>
                <a:gd name="T26" fmla="*/ 65 w 182"/>
                <a:gd name="T27" fmla="*/ 82 h 351"/>
                <a:gd name="T28" fmla="*/ 53 w 182"/>
                <a:gd name="T29" fmla="*/ 88 h 351"/>
                <a:gd name="T30" fmla="*/ 48 w 182"/>
                <a:gd name="T31" fmla="*/ 97 h 351"/>
                <a:gd name="T32" fmla="*/ 75 w 182"/>
                <a:gd name="T33" fmla="*/ 112 h 351"/>
                <a:gd name="T34" fmla="*/ 97 w 182"/>
                <a:gd name="T35" fmla="*/ 140 h 351"/>
                <a:gd name="T36" fmla="*/ 112 w 182"/>
                <a:gd name="T37" fmla="*/ 160 h 351"/>
                <a:gd name="T38" fmla="*/ 130 w 182"/>
                <a:gd name="T39" fmla="*/ 177 h 351"/>
                <a:gd name="T40" fmla="*/ 138 w 182"/>
                <a:gd name="T41" fmla="*/ 194 h 351"/>
                <a:gd name="T42" fmla="*/ 137 w 182"/>
                <a:gd name="T43" fmla="*/ 217 h 351"/>
                <a:gd name="T44" fmla="*/ 143 w 182"/>
                <a:gd name="T45" fmla="*/ 233 h 351"/>
                <a:gd name="T46" fmla="*/ 144 w 182"/>
                <a:gd name="T47" fmla="*/ 262 h 351"/>
                <a:gd name="T48" fmla="*/ 111 w 182"/>
                <a:gd name="T49" fmla="*/ 280 h 351"/>
                <a:gd name="T50" fmla="*/ 121 w 182"/>
                <a:gd name="T51" fmla="*/ 295 h 351"/>
                <a:gd name="T52" fmla="*/ 99 w 182"/>
                <a:gd name="T53" fmla="*/ 297 h 351"/>
                <a:gd name="T54" fmla="*/ 82 w 182"/>
                <a:gd name="T55" fmla="*/ 306 h 351"/>
                <a:gd name="T56" fmla="*/ 98 w 182"/>
                <a:gd name="T57" fmla="*/ 319 h 351"/>
                <a:gd name="T58" fmla="*/ 94 w 182"/>
                <a:gd name="T59" fmla="*/ 336 h 351"/>
                <a:gd name="T60" fmla="*/ 102 w 182"/>
                <a:gd name="T61" fmla="*/ 351 h 351"/>
                <a:gd name="T62" fmla="*/ 127 w 182"/>
                <a:gd name="T63" fmla="*/ 328 h 351"/>
                <a:gd name="T64" fmla="*/ 142 w 182"/>
                <a:gd name="T65" fmla="*/ 309 h 351"/>
                <a:gd name="T66" fmla="*/ 166 w 182"/>
                <a:gd name="T67" fmla="*/ 293 h 351"/>
                <a:gd name="T68" fmla="*/ 182 w 182"/>
                <a:gd name="T69" fmla="*/ 278 h 351"/>
                <a:gd name="T70" fmla="*/ 180 w 182"/>
                <a:gd name="T71" fmla="*/ 236 h 351"/>
                <a:gd name="T72" fmla="*/ 165 w 182"/>
                <a:gd name="T73" fmla="*/ 192 h 351"/>
                <a:gd name="T74" fmla="*/ 150 w 182"/>
                <a:gd name="T75" fmla="*/ 173 h 351"/>
                <a:gd name="T76" fmla="*/ 128 w 182"/>
                <a:gd name="T77" fmla="*/ 158 h 351"/>
                <a:gd name="T78" fmla="*/ 105 w 182"/>
                <a:gd name="T79" fmla="*/ 127 h 351"/>
                <a:gd name="T80" fmla="*/ 85 w 182"/>
                <a:gd name="T81" fmla="*/ 102 h 351"/>
                <a:gd name="T82" fmla="*/ 87 w 182"/>
                <a:gd name="T83" fmla="*/ 86 h 351"/>
                <a:gd name="T84" fmla="*/ 100 w 182"/>
                <a:gd name="T85" fmla="*/ 63 h 351"/>
                <a:gd name="T86" fmla="*/ 125 w 182"/>
                <a:gd name="T87" fmla="*/ 43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2" h="351">
                  <a:moveTo>
                    <a:pt x="125" y="43"/>
                  </a:moveTo>
                  <a:lnTo>
                    <a:pt x="103" y="37"/>
                  </a:lnTo>
                  <a:lnTo>
                    <a:pt x="92" y="27"/>
                  </a:lnTo>
                  <a:lnTo>
                    <a:pt x="93" y="13"/>
                  </a:lnTo>
                  <a:lnTo>
                    <a:pt x="73" y="9"/>
                  </a:lnTo>
                  <a:lnTo>
                    <a:pt x="62" y="0"/>
                  </a:lnTo>
                  <a:lnTo>
                    <a:pt x="46" y="13"/>
                  </a:lnTo>
                  <a:lnTo>
                    <a:pt x="27" y="16"/>
                  </a:lnTo>
                  <a:lnTo>
                    <a:pt x="11" y="16"/>
                  </a:lnTo>
                  <a:lnTo>
                    <a:pt x="0" y="21"/>
                  </a:lnTo>
                  <a:lnTo>
                    <a:pt x="15" y="40"/>
                  </a:lnTo>
                  <a:lnTo>
                    <a:pt x="28" y="61"/>
                  </a:lnTo>
                  <a:lnTo>
                    <a:pt x="54" y="61"/>
                  </a:lnTo>
                  <a:lnTo>
                    <a:pt x="65" y="82"/>
                  </a:lnTo>
                  <a:lnTo>
                    <a:pt x="53" y="88"/>
                  </a:lnTo>
                  <a:lnTo>
                    <a:pt x="48" y="97"/>
                  </a:lnTo>
                  <a:lnTo>
                    <a:pt x="75" y="112"/>
                  </a:lnTo>
                  <a:lnTo>
                    <a:pt x="97" y="140"/>
                  </a:lnTo>
                  <a:lnTo>
                    <a:pt x="112" y="160"/>
                  </a:lnTo>
                  <a:lnTo>
                    <a:pt x="130" y="177"/>
                  </a:lnTo>
                  <a:lnTo>
                    <a:pt x="138" y="194"/>
                  </a:lnTo>
                  <a:lnTo>
                    <a:pt x="137" y="217"/>
                  </a:lnTo>
                  <a:lnTo>
                    <a:pt x="143" y="233"/>
                  </a:lnTo>
                  <a:lnTo>
                    <a:pt x="144" y="262"/>
                  </a:lnTo>
                  <a:lnTo>
                    <a:pt x="111" y="280"/>
                  </a:lnTo>
                  <a:lnTo>
                    <a:pt x="121" y="295"/>
                  </a:lnTo>
                  <a:lnTo>
                    <a:pt x="99" y="297"/>
                  </a:lnTo>
                  <a:lnTo>
                    <a:pt x="82" y="306"/>
                  </a:lnTo>
                  <a:lnTo>
                    <a:pt x="98" y="319"/>
                  </a:lnTo>
                  <a:lnTo>
                    <a:pt x="94" y="336"/>
                  </a:lnTo>
                  <a:lnTo>
                    <a:pt x="102" y="351"/>
                  </a:lnTo>
                  <a:lnTo>
                    <a:pt x="127" y="328"/>
                  </a:lnTo>
                  <a:lnTo>
                    <a:pt x="142" y="309"/>
                  </a:lnTo>
                  <a:lnTo>
                    <a:pt x="166" y="293"/>
                  </a:lnTo>
                  <a:lnTo>
                    <a:pt x="182" y="278"/>
                  </a:lnTo>
                  <a:lnTo>
                    <a:pt x="180" y="236"/>
                  </a:lnTo>
                  <a:lnTo>
                    <a:pt x="165" y="192"/>
                  </a:lnTo>
                  <a:lnTo>
                    <a:pt x="150" y="173"/>
                  </a:lnTo>
                  <a:lnTo>
                    <a:pt x="128" y="158"/>
                  </a:lnTo>
                  <a:lnTo>
                    <a:pt x="105" y="127"/>
                  </a:lnTo>
                  <a:lnTo>
                    <a:pt x="85" y="102"/>
                  </a:lnTo>
                  <a:lnTo>
                    <a:pt x="87" y="86"/>
                  </a:lnTo>
                  <a:lnTo>
                    <a:pt x="100" y="63"/>
                  </a:lnTo>
                  <a:lnTo>
                    <a:pt x="125" y="43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2" name="Vanuatu">
              <a:extLst>
                <a:ext uri="{FF2B5EF4-FFF2-40B4-BE49-F238E27FC236}">
                  <a16:creationId xmlns:a16="http://schemas.microsoft.com/office/drawing/2014/main" id="{72E7896E-4948-40B7-92DD-18F46699A5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91119" y="4614637"/>
              <a:ext cx="28575" cy="73025"/>
            </a:xfrm>
            <a:custGeom>
              <a:avLst/>
              <a:gdLst>
                <a:gd name="T0" fmla="*/ 18 w 18"/>
                <a:gd name="T1" fmla="*/ 44 h 46"/>
                <a:gd name="T2" fmla="*/ 9 w 18"/>
                <a:gd name="T3" fmla="*/ 30 h 46"/>
                <a:gd name="T4" fmla="*/ 6 w 18"/>
                <a:gd name="T5" fmla="*/ 36 h 46"/>
                <a:gd name="T6" fmla="*/ 11 w 18"/>
                <a:gd name="T7" fmla="*/ 46 h 46"/>
                <a:gd name="T8" fmla="*/ 18 w 18"/>
                <a:gd name="T9" fmla="*/ 44 h 46"/>
                <a:gd name="T10" fmla="*/ 18 w 18"/>
                <a:gd name="T11" fmla="*/ 44 h 46"/>
                <a:gd name="T12" fmla="*/ 11 w 18"/>
                <a:gd name="T13" fmla="*/ 7 h 46"/>
                <a:gd name="T14" fmla="*/ 2 w 18"/>
                <a:gd name="T15" fmla="*/ 0 h 46"/>
                <a:gd name="T16" fmla="*/ 0 w 18"/>
                <a:gd name="T17" fmla="*/ 17 h 46"/>
                <a:gd name="T18" fmla="*/ 1 w 18"/>
                <a:gd name="T19" fmla="*/ 25 h 46"/>
                <a:gd name="T20" fmla="*/ 5 w 18"/>
                <a:gd name="T21" fmla="*/ 23 h 46"/>
                <a:gd name="T22" fmla="*/ 11 w 18"/>
                <a:gd name="T23" fmla="*/ 26 h 46"/>
                <a:gd name="T24" fmla="*/ 11 w 18"/>
                <a:gd name="T25" fmla="*/ 7 h 46"/>
                <a:gd name="T26" fmla="*/ 11 w 18"/>
                <a:gd name="T27" fmla="*/ 7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" h="46">
                  <a:moveTo>
                    <a:pt x="18" y="44"/>
                  </a:moveTo>
                  <a:lnTo>
                    <a:pt x="9" y="30"/>
                  </a:lnTo>
                  <a:lnTo>
                    <a:pt x="6" y="36"/>
                  </a:lnTo>
                  <a:lnTo>
                    <a:pt x="11" y="46"/>
                  </a:lnTo>
                  <a:lnTo>
                    <a:pt x="18" y="44"/>
                  </a:lnTo>
                  <a:lnTo>
                    <a:pt x="18" y="44"/>
                  </a:lnTo>
                  <a:close/>
                  <a:moveTo>
                    <a:pt x="11" y="7"/>
                  </a:moveTo>
                  <a:lnTo>
                    <a:pt x="2" y="0"/>
                  </a:lnTo>
                  <a:lnTo>
                    <a:pt x="0" y="17"/>
                  </a:lnTo>
                  <a:lnTo>
                    <a:pt x="1" y="25"/>
                  </a:lnTo>
                  <a:lnTo>
                    <a:pt x="5" y="23"/>
                  </a:lnTo>
                  <a:lnTo>
                    <a:pt x="11" y="26"/>
                  </a:lnTo>
                  <a:lnTo>
                    <a:pt x="11" y="7"/>
                  </a:lnTo>
                  <a:lnTo>
                    <a:pt x="11" y="7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3" name="Yemen">
              <a:extLst>
                <a:ext uri="{FF2B5EF4-FFF2-40B4-BE49-F238E27FC236}">
                  <a16:creationId xmlns:a16="http://schemas.microsoft.com/office/drawing/2014/main" id="{F2B0E537-2F07-4EE8-8067-C607D6E93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1719" y="3344637"/>
              <a:ext cx="341312" cy="242888"/>
            </a:xfrm>
            <a:custGeom>
              <a:avLst/>
              <a:gdLst>
                <a:gd name="T0" fmla="*/ 215 w 215"/>
                <a:gd name="T1" fmla="*/ 56 h 153"/>
                <a:gd name="T2" fmla="*/ 208 w 215"/>
                <a:gd name="T3" fmla="*/ 40 h 153"/>
                <a:gd name="T4" fmla="*/ 188 w 215"/>
                <a:gd name="T5" fmla="*/ 0 h 153"/>
                <a:gd name="T6" fmla="*/ 129 w 215"/>
                <a:gd name="T7" fmla="*/ 10 h 153"/>
                <a:gd name="T8" fmla="*/ 111 w 215"/>
                <a:gd name="T9" fmla="*/ 20 h 153"/>
                <a:gd name="T10" fmla="*/ 98 w 215"/>
                <a:gd name="T11" fmla="*/ 45 h 153"/>
                <a:gd name="T12" fmla="*/ 88 w 215"/>
                <a:gd name="T13" fmla="*/ 49 h 153"/>
                <a:gd name="T14" fmla="*/ 83 w 215"/>
                <a:gd name="T15" fmla="*/ 41 h 153"/>
                <a:gd name="T16" fmla="*/ 74 w 215"/>
                <a:gd name="T17" fmla="*/ 42 h 153"/>
                <a:gd name="T18" fmla="*/ 55 w 215"/>
                <a:gd name="T19" fmla="*/ 41 h 153"/>
                <a:gd name="T20" fmla="*/ 51 w 215"/>
                <a:gd name="T21" fmla="*/ 38 h 153"/>
                <a:gd name="T22" fmla="*/ 27 w 215"/>
                <a:gd name="T23" fmla="*/ 39 h 153"/>
                <a:gd name="T24" fmla="*/ 21 w 215"/>
                <a:gd name="T25" fmla="*/ 41 h 153"/>
                <a:gd name="T26" fmla="*/ 12 w 215"/>
                <a:gd name="T27" fmla="*/ 34 h 153"/>
                <a:gd name="T28" fmla="*/ 8 w 215"/>
                <a:gd name="T29" fmla="*/ 46 h 153"/>
                <a:gd name="T30" fmla="*/ 10 w 215"/>
                <a:gd name="T31" fmla="*/ 55 h 153"/>
                <a:gd name="T32" fmla="*/ 1 w 215"/>
                <a:gd name="T33" fmla="*/ 64 h 153"/>
                <a:gd name="T34" fmla="*/ 3 w 215"/>
                <a:gd name="T35" fmla="*/ 74 h 153"/>
                <a:gd name="T36" fmla="*/ 0 w 215"/>
                <a:gd name="T37" fmla="*/ 79 h 153"/>
                <a:gd name="T38" fmla="*/ 3 w 215"/>
                <a:gd name="T39" fmla="*/ 89 h 153"/>
                <a:gd name="T40" fmla="*/ 0 w 215"/>
                <a:gd name="T41" fmla="*/ 91 h 153"/>
                <a:gd name="T42" fmla="*/ 6 w 215"/>
                <a:gd name="T43" fmla="*/ 100 h 153"/>
                <a:gd name="T44" fmla="*/ 11 w 215"/>
                <a:gd name="T45" fmla="*/ 118 h 153"/>
                <a:gd name="T46" fmla="*/ 14 w 215"/>
                <a:gd name="T47" fmla="*/ 125 h 153"/>
                <a:gd name="T48" fmla="*/ 14 w 215"/>
                <a:gd name="T49" fmla="*/ 138 h 153"/>
                <a:gd name="T50" fmla="*/ 20 w 215"/>
                <a:gd name="T51" fmla="*/ 152 h 153"/>
                <a:gd name="T52" fmla="*/ 35 w 215"/>
                <a:gd name="T53" fmla="*/ 153 h 153"/>
                <a:gd name="T54" fmla="*/ 42 w 215"/>
                <a:gd name="T55" fmla="*/ 150 h 153"/>
                <a:gd name="T56" fmla="*/ 52 w 215"/>
                <a:gd name="T57" fmla="*/ 151 h 153"/>
                <a:gd name="T58" fmla="*/ 55 w 215"/>
                <a:gd name="T59" fmla="*/ 144 h 153"/>
                <a:gd name="T60" fmla="*/ 60 w 215"/>
                <a:gd name="T61" fmla="*/ 142 h 153"/>
                <a:gd name="T62" fmla="*/ 64 w 215"/>
                <a:gd name="T63" fmla="*/ 136 h 153"/>
                <a:gd name="T64" fmla="*/ 70 w 215"/>
                <a:gd name="T65" fmla="*/ 135 h 153"/>
                <a:gd name="T66" fmla="*/ 87 w 215"/>
                <a:gd name="T67" fmla="*/ 134 h 153"/>
                <a:gd name="T68" fmla="*/ 100 w 215"/>
                <a:gd name="T69" fmla="*/ 129 h 153"/>
                <a:gd name="T70" fmla="*/ 112 w 215"/>
                <a:gd name="T71" fmla="*/ 119 h 153"/>
                <a:gd name="T72" fmla="*/ 118 w 215"/>
                <a:gd name="T73" fmla="*/ 121 h 153"/>
                <a:gd name="T74" fmla="*/ 127 w 215"/>
                <a:gd name="T75" fmla="*/ 119 h 153"/>
                <a:gd name="T76" fmla="*/ 144 w 215"/>
                <a:gd name="T77" fmla="*/ 102 h 153"/>
                <a:gd name="T78" fmla="*/ 178 w 215"/>
                <a:gd name="T79" fmla="*/ 91 h 153"/>
                <a:gd name="T80" fmla="*/ 197 w 215"/>
                <a:gd name="T81" fmla="*/ 82 h 153"/>
                <a:gd name="T82" fmla="*/ 197 w 215"/>
                <a:gd name="T83" fmla="*/ 73 h 153"/>
                <a:gd name="T84" fmla="*/ 200 w 215"/>
                <a:gd name="T85" fmla="*/ 63 h 153"/>
                <a:gd name="T86" fmla="*/ 215 w 215"/>
                <a:gd name="T87" fmla="*/ 56 h 153"/>
                <a:gd name="T88" fmla="*/ 215 w 215"/>
                <a:gd name="T89" fmla="*/ 5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15" h="153">
                  <a:moveTo>
                    <a:pt x="215" y="56"/>
                  </a:moveTo>
                  <a:lnTo>
                    <a:pt x="208" y="40"/>
                  </a:lnTo>
                  <a:lnTo>
                    <a:pt x="188" y="0"/>
                  </a:lnTo>
                  <a:lnTo>
                    <a:pt x="129" y="10"/>
                  </a:lnTo>
                  <a:lnTo>
                    <a:pt x="111" y="20"/>
                  </a:lnTo>
                  <a:lnTo>
                    <a:pt x="98" y="45"/>
                  </a:lnTo>
                  <a:lnTo>
                    <a:pt x="88" y="49"/>
                  </a:lnTo>
                  <a:lnTo>
                    <a:pt x="83" y="41"/>
                  </a:lnTo>
                  <a:lnTo>
                    <a:pt x="74" y="42"/>
                  </a:lnTo>
                  <a:lnTo>
                    <a:pt x="55" y="41"/>
                  </a:lnTo>
                  <a:lnTo>
                    <a:pt x="51" y="38"/>
                  </a:lnTo>
                  <a:lnTo>
                    <a:pt x="27" y="39"/>
                  </a:lnTo>
                  <a:lnTo>
                    <a:pt x="21" y="41"/>
                  </a:lnTo>
                  <a:lnTo>
                    <a:pt x="12" y="34"/>
                  </a:lnTo>
                  <a:lnTo>
                    <a:pt x="8" y="46"/>
                  </a:lnTo>
                  <a:lnTo>
                    <a:pt x="10" y="55"/>
                  </a:lnTo>
                  <a:lnTo>
                    <a:pt x="1" y="64"/>
                  </a:lnTo>
                  <a:lnTo>
                    <a:pt x="3" y="74"/>
                  </a:lnTo>
                  <a:lnTo>
                    <a:pt x="0" y="79"/>
                  </a:lnTo>
                  <a:lnTo>
                    <a:pt x="3" y="89"/>
                  </a:lnTo>
                  <a:lnTo>
                    <a:pt x="0" y="91"/>
                  </a:lnTo>
                  <a:lnTo>
                    <a:pt x="6" y="100"/>
                  </a:lnTo>
                  <a:lnTo>
                    <a:pt x="11" y="118"/>
                  </a:lnTo>
                  <a:lnTo>
                    <a:pt x="14" y="125"/>
                  </a:lnTo>
                  <a:lnTo>
                    <a:pt x="14" y="138"/>
                  </a:lnTo>
                  <a:lnTo>
                    <a:pt x="20" y="152"/>
                  </a:lnTo>
                  <a:lnTo>
                    <a:pt x="35" y="153"/>
                  </a:lnTo>
                  <a:lnTo>
                    <a:pt x="42" y="150"/>
                  </a:lnTo>
                  <a:lnTo>
                    <a:pt x="52" y="151"/>
                  </a:lnTo>
                  <a:lnTo>
                    <a:pt x="55" y="144"/>
                  </a:lnTo>
                  <a:lnTo>
                    <a:pt x="60" y="142"/>
                  </a:lnTo>
                  <a:lnTo>
                    <a:pt x="64" y="136"/>
                  </a:lnTo>
                  <a:lnTo>
                    <a:pt x="70" y="135"/>
                  </a:lnTo>
                  <a:lnTo>
                    <a:pt x="87" y="134"/>
                  </a:lnTo>
                  <a:lnTo>
                    <a:pt x="100" y="129"/>
                  </a:lnTo>
                  <a:lnTo>
                    <a:pt x="112" y="119"/>
                  </a:lnTo>
                  <a:lnTo>
                    <a:pt x="118" y="121"/>
                  </a:lnTo>
                  <a:lnTo>
                    <a:pt x="127" y="119"/>
                  </a:lnTo>
                  <a:lnTo>
                    <a:pt x="144" y="102"/>
                  </a:lnTo>
                  <a:lnTo>
                    <a:pt x="178" y="91"/>
                  </a:lnTo>
                  <a:lnTo>
                    <a:pt x="197" y="82"/>
                  </a:lnTo>
                  <a:lnTo>
                    <a:pt x="197" y="73"/>
                  </a:lnTo>
                  <a:lnTo>
                    <a:pt x="200" y="63"/>
                  </a:lnTo>
                  <a:lnTo>
                    <a:pt x="215" y="56"/>
                  </a:lnTo>
                  <a:lnTo>
                    <a:pt x="215" y="56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4" name="South Africa">
              <a:extLst>
                <a:ext uri="{FF2B5EF4-FFF2-40B4-BE49-F238E27FC236}">
                  <a16:creationId xmlns:a16="http://schemas.microsoft.com/office/drawing/2014/main" id="{2E86E396-9A23-481E-8C0C-B363097577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0656" y="4895624"/>
              <a:ext cx="534987" cy="481013"/>
            </a:xfrm>
            <a:custGeom>
              <a:avLst/>
              <a:gdLst>
                <a:gd name="T0" fmla="*/ 299 w 337"/>
                <a:gd name="T1" fmla="*/ 1 h 303"/>
                <a:gd name="T2" fmla="*/ 282 w 337"/>
                <a:gd name="T3" fmla="*/ 0 h 303"/>
                <a:gd name="T4" fmla="*/ 244 w 337"/>
                <a:gd name="T5" fmla="*/ 18 h 303"/>
                <a:gd name="T6" fmla="*/ 217 w 337"/>
                <a:gd name="T7" fmla="*/ 51 h 303"/>
                <a:gd name="T8" fmla="*/ 200 w 337"/>
                <a:gd name="T9" fmla="*/ 62 h 303"/>
                <a:gd name="T10" fmla="*/ 193 w 337"/>
                <a:gd name="T11" fmla="*/ 80 h 303"/>
                <a:gd name="T12" fmla="*/ 163 w 337"/>
                <a:gd name="T13" fmla="*/ 85 h 303"/>
                <a:gd name="T14" fmla="*/ 145 w 337"/>
                <a:gd name="T15" fmla="*/ 76 h 303"/>
                <a:gd name="T16" fmla="*/ 130 w 337"/>
                <a:gd name="T17" fmla="*/ 92 h 303"/>
                <a:gd name="T18" fmla="*/ 109 w 337"/>
                <a:gd name="T19" fmla="*/ 110 h 303"/>
                <a:gd name="T20" fmla="*/ 90 w 337"/>
                <a:gd name="T21" fmla="*/ 104 h 303"/>
                <a:gd name="T22" fmla="*/ 81 w 337"/>
                <a:gd name="T23" fmla="*/ 67 h 303"/>
                <a:gd name="T24" fmla="*/ 72 w 337"/>
                <a:gd name="T25" fmla="*/ 151 h 303"/>
                <a:gd name="T26" fmla="*/ 42 w 337"/>
                <a:gd name="T27" fmla="*/ 165 h 303"/>
                <a:gd name="T28" fmla="*/ 21 w 337"/>
                <a:gd name="T29" fmla="*/ 159 h 303"/>
                <a:gd name="T30" fmla="*/ 10 w 337"/>
                <a:gd name="T31" fmla="*/ 142 h 303"/>
                <a:gd name="T32" fmla="*/ 13 w 337"/>
                <a:gd name="T33" fmla="*/ 185 h 303"/>
                <a:gd name="T34" fmla="*/ 22 w 337"/>
                <a:gd name="T35" fmla="*/ 205 h 303"/>
                <a:gd name="T36" fmla="*/ 34 w 337"/>
                <a:gd name="T37" fmla="*/ 246 h 303"/>
                <a:gd name="T38" fmla="*/ 33 w 337"/>
                <a:gd name="T39" fmla="*/ 265 h 303"/>
                <a:gd name="T40" fmla="*/ 34 w 337"/>
                <a:gd name="T41" fmla="*/ 286 h 303"/>
                <a:gd name="T42" fmla="*/ 43 w 337"/>
                <a:gd name="T43" fmla="*/ 293 h 303"/>
                <a:gd name="T44" fmla="*/ 58 w 337"/>
                <a:gd name="T45" fmla="*/ 303 h 303"/>
                <a:gd name="T46" fmla="*/ 79 w 337"/>
                <a:gd name="T47" fmla="*/ 292 h 303"/>
                <a:gd name="T48" fmla="*/ 118 w 337"/>
                <a:gd name="T49" fmla="*/ 279 h 303"/>
                <a:gd name="T50" fmla="*/ 138 w 337"/>
                <a:gd name="T51" fmla="*/ 277 h 303"/>
                <a:gd name="T52" fmla="*/ 170 w 337"/>
                <a:gd name="T53" fmla="*/ 277 h 303"/>
                <a:gd name="T54" fmla="*/ 185 w 337"/>
                <a:gd name="T55" fmla="*/ 275 h 303"/>
                <a:gd name="T56" fmla="*/ 217 w 337"/>
                <a:gd name="T57" fmla="*/ 264 h 303"/>
                <a:gd name="T58" fmla="*/ 247 w 337"/>
                <a:gd name="T59" fmla="*/ 239 h 303"/>
                <a:gd name="T60" fmla="*/ 286 w 337"/>
                <a:gd name="T61" fmla="*/ 198 h 303"/>
                <a:gd name="T62" fmla="*/ 302 w 337"/>
                <a:gd name="T63" fmla="*/ 174 h 303"/>
                <a:gd name="T64" fmla="*/ 320 w 337"/>
                <a:gd name="T65" fmla="*/ 158 h 303"/>
                <a:gd name="T66" fmla="*/ 330 w 337"/>
                <a:gd name="T67" fmla="*/ 128 h 303"/>
                <a:gd name="T68" fmla="*/ 322 w 337"/>
                <a:gd name="T69" fmla="*/ 110 h 303"/>
                <a:gd name="T70" fmla="*/ 304 w 337"/>
                <a:gd name="T71" fmla="*/ 123 h 303"/>
                <a:gd name="T72" fmla="*/ 294 w 337"/>
                <a:gd name="T73" fmla="*/ 102 h 303"/>
                <a:gd name="T74" fmla="*/ 302 w 337"/>
                <a:gd name="T75" fmla="*/ 87 h 303"/>
                <a:gd name="T76" fmla="*/ 318 w 337"/>
                <a:gd name="T77" fmla="*/ 89 h 303"/>
                <a:gd name="T78" fmla="*/ 322 w 337"/>
                <a:gd name="T79" fmla="*/ 54 h 303"/>
                <a:gd name="T80" fmla="*/ 310 w 337"/>
                <a:gd name="T81" fmla="*/ 4 h 303"/>
                <a:gd name="T82" fmla="*/ 234 w 337"/>
                <a:gd name="T83" fmla="*/ 201 h 303"/>
                <a:gd name="T84" fmla="*/ 214 w 337"/>
                <a:gd name="T85" fmla="*/ 185 h 303"/>
                <a:gd name="T86" fmla="*/ 237 w 337"/>
                <a:gd name="T87" fmla="*/ 161 h 303"/>
                <a:gd name="T88" fmla="*/ 255 w 337"/>
                <a:gd name="T89" fmla="*/ 163 h 303"/>
                <a:gd name="T90" fmla="*/ 255 w 337"/>
                <a:gd name="T91" fmla="*/ 182 h 303"/>
                <a:gd name="T92" fmla="*/ 239 w 337"/>
                <a:gd name="T93" fmla="*/ 193 h 303"/>
                <a:gd name="T94" fmla="*/ 234 w 337"/>
                <a:gd name="T95" fmla="*/ 201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37" h="303">
                  <a:moveTo>
                    <a:pt x="310" y="4"/>
                  </a:moveTo>
                  <a:lnTo>
                    <a:pt x="299" y="1"/>
                  </a:lnTo>
                  <a:lnTo>
                    <a:pt x="292" y="5"/>
                  </a:lnTo>
                  <a:lnTo>
                    <a:pt x="282" y="0"/>
                  </a:lnTo>
                  <a:lnTo>
                    <a:pt x="274" y="0"/>
                  </a:lnTo>
                  <a:lnTo>
                    <a:pt x="244" y="18"/>
                  </a:lnTo>
                  <a:lnTo>
                    <a:pt x="225" y="35"/>
                  </a:lnTo>
                  <a:lnTo>
                    <a:pt x="217" y="51"/>
                  </a:lnTo>
                  <a:lnTo>
                    <a:pt x="211" y="60"/>
                  </a:lnTo>
                  <a:lnTo>
                    <a:pt x="200" y="62"/>
                  </a:lnTo>
                  <a:lnTo>
                    <a:pt x="195" y="73"/>
                  </a:lnTo>
                  <a:lnTo>
                    <a:pt x="193" y="80"/>
                  </a:lnTo>
                  <a:lnTo>
                    <a:pt x="179" y="86"/>
                  </a:lnTo>
                  <a:lnTo>
                    <a:pt x="163" y="85"/>
                  </a:lnTo>
                  <a:lnTo>
                    <a:pt x="154" y="78"/>
                  </a:lnTo>
                  <a:lnTo>
                    <a:pt x="145" y="76"/>
                  </a:lnTo>
                  <a:lnTo>
                    <a:pt x="135" y="81"/>
                  </a:lnTo>
                  <a:lnTo>
                    <a:pt x="130" y="92"/>
                  </a:lnTo>
                  <a:lnTo>
                    <a:pt x="119" y="100"/>
                  </a:lnTo>
                  <a:lnTo>
                    <a:pt x="109" y="110"/>
                  </a:lnTo>
                  <a:lnTo>
                    <a:pt x="94" y="113"/>
                  </a:lnTo>
                  <a:lnTo>
                    <a:pt x="90" y="104"/>
                  </a:lnTo>
                  <a:lnTo>
                    <a:pt x="92" y="90"/>
                  </a:lnTo>
                  <a:lnTo>
                    <a:pt x="81" y="67"/>
                  </a:lnTo>
                  <a:lnTo>
                    <a:pt x="76" y="64"/>
                  </a:lnTo>
                  <a:lnTo>
                    <a:pt x="72" y="151"/>
                  </a:lnTo>
                  <a:lnTo>
                    <a:pt x="53" y="163"/>
                  </a:lnTo>
                  <a:lnTo>
                    <a:pt x="42" y="165"/>
                  </a:lnTo>
                  <a:lnTo>
                    <a:pt x="30" y="161"/>
                  </a:lnTo>
                  <a:lnTo>
                    <a:pt x="21" y="159"/>
                  </a:lnTo>
                  <a:lnTo>
                    <a:pt x="18" y="148"/>
                  </a:lnTo>
                  <a:lnTo>
                    <a:pt x="10" y="142"/>
                  </a:lnTo>
                  <a:lnTo>
                    <a:pt x="0" y="154"/>
                  </a:lnTo>
                  <a:lnTo>
                    <a:pt x="13" y="185"/>
                  </a:lnTo>
                  <a:lnTo>
                    <a:pt x="13" y="185"/>
                  </a:lnTo>
                  <a:lnTo>
                    <a:pt x="22" y="205"/>
                  </a:lnTo>
                  <a:lnTo>
                    <a:pt x="34" y="227"/>
                  </a:lnTo>
                  <a:lnTo>
                    <a:pt x="34" y="246"/>
                  </a:lnTo>
                  <a:lnTo>
                    <a:pt x="27" y="249"/>
                  </a:lnTo>
                  <a:lnTo>
                    <a:pt x="33" y="265"/>
                  </a:lnTo>
                  <a:lnTo>
                    <a:pt x="32" y="279"/>
                  </a:lnTo>
                  <a:lnTo>
                    <a:pt x="34" y="286"/>
                  </a:lnTo>
                  <a:lnTo>
                    <a:pt x="35" y="283"/>
                  </a:lnTo>
                  <a:lnTo>
                    <a:pt x="43" y="293"/>
                  </a:lnTo>
                  <a:lnTo>
                    <a:pt x="49" y="294"/>
                  </a:lnTo>
                  <a:lnTo>
                    <a:pt x="58" y="303"/>
                  </a:lnTo>
                  <a:lnTo>
                    <a:pt x="66" y="302"/>
                  </a:lnTo>
                  <a:lnTo>
                    <a:pt x="79" y="292"/>
                  </a:lnTo>
                  <a:lnTo>
                    <a:pt x="97" y="289"/>
                  </a:lnTo>
                  <a:lnTo>
                    <a:pt x="118" y="279"/>
                  </a:lnTo>
                  <a:lnTo>
                    <a:pt x="126" y="281"/>
                  </a:lnTo>
                  <a:lnTo>
                    <a:pt x="138" y="277"/>
                  </a:lnTo>
                  <a:lnTo>
                    <a:pt x="160" y="282"/>
                  </a:lnTo>
                  <a:lnTo>
                    <a:pt x="170" y="277"/>
                  </a:lnTo>
                  <a:lnTo>
                    <a:pt x="182" y="281"/>
                  </a:lnTo>
                  <a:lnTo>
                    <a:pt x="185" y="275"/>
                  </a:lnTo>
                  <a:lnTo>
                    <a:pt x="195" y="274"/>
                  </a:lnTo>
                  <a:lnTo>
                    <a:pt x="217" y="264"/>
                  </a:lnTo>
                  <a:lnTo>
                    <a:pt x="232" y="253"/>
                  </a:lnTo>
                  <a:lnTo>
                    <a:pt x="247" y="239"/>
                  </a:lnTo>
                  <a:lnTo>
                    <a:pt x="273" y="215"/>
                  </a:lnTo>
                  <a:lnTo>
                    <a:pt x="286" y="198"/>
                  </a:lnTo>
                  <a:lnTo>
                    <a:pt x="292" y="186"/>
                  </a:lnTo>
                  <a:lnTo>
                    <a:pt x="302" y="174"/>
                  </a:lnTo>
                  <a:lnTo>
                    <a:pt x="306" y="170"/>
                  </a:lnTo>
                  <a:lnTo>
                    <a:pt x="320" y="158"/>
                  </a:lnTo>
                  <a:lnTo>
                    <a:pt x="327" y="148"/>
                  </a:lnTo>
                  <a:lnTo>
                    <a:pt x="330" y="128"/>
                  </a:lnTo>
                  <a:lnTo>
                    <a:pt x="337" y="110"/>
                  </a:lnTo>
                  <a:lnTo>
                    <a:pt x="322" y="110"/>
                  </a:lnTo>
                  <a:lnTo>
                    <a:pt x="316" y="120"/>
                  </a:lnTo>
                  <a:lnTo>
                    <a:pt x="304" y="123"/>
                  </a:lnTo>
                  <a:lnTo>
                    <a:pt x="293" y="110"/>
                  </a:lnTo>
                  <a:lnTo>
                    <a:pt x="294" y="102"/>
                  </a:lnTo>
                  <a:lnTo>
                    <a:pt x="300" y="93"/>
                  </a:lnTo>
                  <a:lnTo>
                    <a:pt x="302" y="87"/>
                  </a:lnTo>
                  <a:lnTo>
                    <a:pt x="308" y="85"/>
                  </a:lnTo>
                  <a:lnTo>
                    <a:pt x="318" y="89"/>
                  </a:lnTo>
                  <a:lnTo>
                    <a:pt x="316" y="80"/>
                  </a:lnTo>
                  <a:lnTo>
                    <a:pt x="322" y="54"/>
                  </a:lnTo>
                  <a:lnTo>
                    <a:pt x="318" y="37"/>
                  </a:lnTo>
                  <a:lnTo>
                    <a:pt x="310" y="4"/>
                  </a:lnTo>
                  <a:lnTo>
                    <a:pt x="310" y="4"/>
                  </a:lnTo>
                  <a:close/>
                  <a:moveTo>
                    <a:pt x="234" y="201"/>
                  </a:moveTo>
                  <a:lnTo>
                    <a:pt x="227" y="203"/>
                  </a:lnTo>
                  <a:lnTo>
                    <a:pt x="214" y="185"/>
                  </a:lnTo>
                  <a:lnTo>
                    <a:pt x="225" y="170"/>
                  </a:lnTo>
                  <a:lnTo>
                    <a:pt x="237" y="161"/>
                  </a:lnTo>
                  <a:lnTo>
                    <a:pt x="246" y="156"/>
                  </a:lnTo>
                  <a:lnTo>
                    <a:pt x="255" y="163"/>
                  </a:lnTo>
                  <a:lnTo>
                    <a:pt x="261" y="170"/>
                  </a:lnTo>
                  <a:lnTo>
                    <a:pt x="255" y="182"/>
                  </a:lnTo>
                  <a:lnTo>
                    <a:pt x="250" y="190"/>
                  </a:lnTo>
                  <a:lnTo>
                    <a:pt x="239" y="193"/>
                  </a:lnTo>
                  <a:lnTo>
                    <a:pt x="234" y="201"/>
                  </a:lnTo>
                  <a:lnTo>
                    <a:pt x="234" y="201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5" name="Zambia">
              <a:extLst>
                <a:ext uri="{FF2B5EF4-FFF2-40B4-BE49-F238E27FC236}">
                  <a16:creationId xmlns:a16="http://schemas.microsoft.com/office/drawing/2014/main" id="{2DF22625-30A8-40DC-BEC7-FE894F8CCE6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5919" y="4371748"/>
              <a:ext cx="390525" cy="368300"/>
            </a:xfrm>
            <a:custGeom>
              <a:avLst/>
              <a:gdLst>
                <a:gd name="T0" fmla="*/ 183 w 246"/>
                <a:gd name="T1" fmla="*/ 7 h 232"/>
                <a:gd name="T2" fmla="*/ 181 w 246"/>
                <a:gd name="T3" fmla="*/ 0 h 232"/>
                <a:gd name="T4" fmla="*/ 147 w 246"/>
                <a:gd name="T5" fmla="*/ 8 h 232"/>
                <a:gd name="T6" fmla="*/ 146 w 246"/>
                <a:gd name="T7" fmla="*/ 33 h 232"/>
                <a:gd name="T8" fmla="*/ 138 w 246"/>
                <a:gd name="T9" fmla="*/ 85 h 232"/>
                <a:gd name="T10" fmla="*/ 158 w 246"/>
                <a:gd name="T11" fmla="*/ 98 h 232"/>
                <a:gd name="T12" fmla="*/ 165 w 246"/>
                <a:gd name="T13" fmla="*/ 120 h 232"/>
                <a:gd name="T14" fmla="*/ 141 w 246"/>
                <a:gd name="T15" fmla="*/ 107 h 232"/>
                <a:gd name="T16" fmla="*/ 117 w 246"/>
                <a:gd name="T17" fmla="*/ 94 h 232"/>
                <a:gd name="T18" fmla="*/ 100 w 246"/>
                <a:gd name="T19" fmla="*/ 88 h 232"/>
                <a:gd name="T20" fmla="*/ 77 w 246"/>
                <a:gd name="T21" fmla="*/ 74 h 232"/>
                <a:gd name="T22" fmla="*/ 53 w 246"/>
                <a:gd name="T23" fmla="*/ 72 h 232"/>
                <a:gd name="T24" fmla="*/ 46 w 246"/>
                <a:gd name="T25" fmla="*/ 65 h 232"/>
                <a:gd name="T26" fmla="*/ 45 w 246"/>
                <a:gd name="T27" fmla="*/ 84 h 232"/>
                <a:gd name="T28" fmla="*/ 45 w 246"/>
                <a:gd name="T29" fmla="*/ 103 h 232"/>
                <a:gd name="T30" fmla="*/ 3 w 246"/>
                <a:gd name="T31" fmla="*/ 112 h 232"/>
                <a:gd name="T32" fmla="*/ 14 w 246"/>
                <a:gd name="T33" fmla="*/ 207 h 232"/>
                <a:gd name="T34" fmla="*/ 44 w 246"/>
                <a:gd name="T35" fmla="*/ 216 h 232"/>
                <a:gd name="T36" fmla="*/ 66 w 246"/>
                <a:gd name="T37" fmla="*/ 223 h 232"/>
                <a:gd name="T38" fmla="*/ 69 w 246"/>
                <a:gd name="T39" fmla="*/ 226 h 232"/>
                <a:gd name="T40" fmla="*/ 98 w 246"/>
                <a:gd name="T41" fmla="*/ 232 h 232"/>
                <a:gd name="T42" fmla="*/ 118 w 246"/>
                <a:gd name="T43" fmla="*/ 216 h 232"/>
                <a:gd name="T44" fmla="*/ 144 w 246"/>
                <a:gd name="T45" fmla="*/ 195 h 232"/>
                <a:gd name="T46" fmla="*/ 159 w 246"/>
                <a:gd name="T47" fmla="*/ 177 h 232"/>
                <a:gd name="T48" fmla="*/ 174 w 246"/>
                <a:gd name="T49" fmla="*/ 156 h 232"/>
                <a:gd name="T50" fmla="*/ 227 w 246"/>
                <a:gd name="T51" fmla="*/ 131 h 232"/>
                <a:gd name="T52" fmla="*/ 240 w 246"/>
                <a:gd name="T53" fmla="*/ 100 h 232"/>
                <a:gd name="T54" fmla="*/ 242 w 246"/>
                <a:gd name="T55" fmla="*/ 62 h 232"/>
                <a:gd name="T56" fmla="*/ 241 w 246"/>
                <a:gd name="T57" fmla="*/ 35 h 232"/>
                <a:gd name="T58" fmla="*/ 220 w 246"/>
                <a:gd name="T59" fmla="*/ 17 h 232"/>
                <a:gd name="T60" fmla="*/ 198 w 246"/>
                <a:gd name="T61" fmla="*/ 9 h 232"/>
                <a:gd name="T62" fmla="*/ 197 w 246"/>
                <a:gd name="T63" fmla="*/ 8 h 232"/>
                <a:gd name="T64" fmla="*/ 195 w 246"/>
                <a:gd name="T65" fmla="*/ 14 h 232"/>
                <a:gd name="T66" fmla="*/ 191 w 246"/>
                <a:gd name="T67" fmla="*/ 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6" h="232">
                  <a:moveTo>
                    <a:pt x="191" y="9"/>
                  </a:moveTo>
                  <a:lnTo>
                    <a:pt x="183" y="7"/>
                  </a:lnTo>
                  <a:lnTo>
                    <a:pt x="185" y="2"/>
                  </a:lnTo>
                  <a:lnTo>
                    <a:pt x="181" y="0"/>
                  </a:lnTo>
                  <a:lnTo>
                    <a:pt x="153" y="5"/>
                  </a:lnTo>
                  <a:lnTo>
                    <a:pt x="147" y="8"/>
                  </a:lnTo>
                  <a:lnTo>
                    <a:pt x="141" y="23"/>
                  </a:lnTo>
                  <a:lnTo>
                    <a:pt x="146" y="33"/>
                  </a:lnTo>
                  <a:lnTo>
                    <a:pt x="141" y="61"/>
                  </a:lnTo>
                  <a:lnTo>
                    <a:pt x="138" y="85"/>
                  </a:lnTo>
                  <a:lnTo>
                    <a:pt x="143" y="89"/>
                  </a:lnTo>
                  <a:lnTo>
                    <a:pt x="158" y="98"/>
                  </a:lnTo>
                  <a:lnTo>
                    <a:pt x="164" y="94"/>
                  </a:lnTo>
                  <a:lnTo>
                    <a:pt x="165" y="120"/>
                  </a:lnTo>
                  <a:lnTo>
                    <a:pt x="149" y="120"/>
                  </a:lnTo>
                  <a:lnTo>
                    <a:pt x="141" y="107"/>
                  </a:lnTo>
                  <a:lnTo>
                    <a:pt x="134" y="97"/>
                  </a:lnTo>
                  <a:lnTo>
                    <a:pt x="117" y="94"/>
                  </a:lnTo>
                  <a:lnTo>
                    <a:pt x="113" y="81"/>
                  </a:lnTo>
                  <a:lnTo>
                    <a:pt x="100" y="88"/>
                  </a:lnTo>
                  <a:lnTo>
                    <a:pt x="83" y="84"/>
                  </a:lnTo>
                  <a:lnTo>
                    <a:pt x="77" y="74"/>
                  </a:lnTo>
                  <a:lnTo>
                    <a:pt x="64" y="72"/>
                  </a:lnTo>
                  <a:lnTo>
                    <a:pt x="53" y="72"/>
                  </a:lnTo>
                  <a:lnTo>
                    <a:pt x="52" y="65"/>
                  </a:lnTo>
                  <a:lnTo>
                    <a:pt x="46" y="65"/>
                  </a:lnTo>
                  <a:lnTo>
                    <a:pt x="48" y="72"/>
                  </a:lnTo>
                  <a:lnTo>
                    <a:pt x="45" y="84"/>
                  </a:lnTo>
                  <a:lnTo>
                    <a:pt x="48" y="95"/>
                  </a:lnTo>
                  <a:lnTo>
                    <a:pt x="45" y="103"/>
                  </a:lnTo>
                  <a:lnTo>
                    <a:pt x="47" y="112"/>
                  </a:lnTo>
                  <a:lnTo>
                    <a:pt x="3" y="112"/>
                  </a:lnTo>
                  <a:lnTo>
                    <a:pt x="0" y="187"/>
                  </a:lnTo>
                  <a:lnTo>
                    <a:pt x="14" y="207"/>
                  </a:lnTo>
                  <a:lnTo>
                    <a:pt x="27" y="222"/>
                  </a:lnTo>
                  <a:lnTo>
                    <a:pt x="44" y="216"/>
                  </a:lnTo>
                  <a:lnTo>
                    <a:pt x="57" y="217"/>
                  </a:lnTo>
                  <a:lnTo>
                    <a:pt x="66" y="223"/>
                  </a:lnTo>
                  <a:lnTo>
                    <a:pt x="66" y="225"/>
                  </a:lnTo>
                  <a:lnTo>
                    <a:pt x="69" y="226"/>
                  </a:lnTo>
                  <a:lnTo>
                    <a:pt x="93" y="229"/>
                  </a:lnTo>
                  <a:lnTo>
                    <a:pt x="98" y="232"/>
                  </a:lnTo>
                  <a:lnTo>
                    <a:pt x="106" y="231"/>
                  </a:lnTo>
                  <a:lnTo>
                    <a:pt x="118" y="216"/>
                  </a:lnTo>
                  <a:lnTo>
                    <a:pt x="137" y="197"/>
                  </a:lnTo>
                  <a:lnTo>
                    <a:pt x="144" y="195"/>
                  </a:lnTo>
                  <a:lnTo>
                    <a:pt x="147" y="186"/>
                  </a:lnTo>
                  <a:lnTo>
                    <a:pt x="159" y="177"/>
                  </a:lnTo>
                  <a:lnTo>
                    <a:pt x="175" y="173"/>
                  </a:lnTo>
                  <a:lnTo>
                    <a:pt x="174" y="156"/>
                  </a:lnTo>
                  <a:lnTo>
                    <a:pt x="237" y="137"/>
                  </a:lnTo>
                  <a:lnTo>
                    <a:pt x="227" y="131"/>
                  </a:lnTo>
                  <a:lnTo>
                    <a:pt x="234" y="109"/>
                  </a:lnTo>
                  <a:lnTo>
                    <a:pt x="240" y="100"/>
                  </a:lnTo>
                  <a:lnTo>
                    <a:pt x="237" y="81"/>
                  </a:lnTo>
                  <a:lnTo>
                    <a:pt x="242" y="62"/>
                  </a:lnTo>
                  <a:lnTo>
                    <a:pt x="246" y="55"/>
                  </a:lnTo>
                  <a:lnTo>
                    <a:pt x="241" y="35"/>
                  </a:lnTo>
                  <a:lnTo>
                    <a:pt x="231" y="25"/>
                  </a:lnTo>
                  <a:lnTo>
                    <a:pt x="220" y="17"/>
                  </a:lnTo>
                  <a:lnTo>
                    <a:pt x="207" y="14"/>
                  </a:lnTo>
                  <a:lnTo>
                    <a:pt x="198" y="9"/>
                  </a:lnTo>
                  <a:lnTo>
                    <a:pt x="197" y="8"/>
                  </a:lnTo>
                  <a:lnTo>
                    <a:pt x="197" y="8"/>
                  </a:lnTo>
                  <a:lnTo>
                    <a:pt x="199" y="13"/>
                  </a:lnTo>
                  <a:lnTo>
                    <a:pt x="195" y="14"/>
                  </a:lnTo>
                  <a:lnTo>
                    <a:pt x="191" y="9"/>
                  </a:lnTo>
                  <a:lnTo>
                    <a:pt x="191" y="9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6" name="Zimbabwe">
              <a:extLst>
                <a:ext uri="{FF2B5EF4-FFF2-40B4-BE49-F238E27FC236}">
                  <a16:creationId xmlns:a16="http://schemas.microsoft.com/office/drawing/2014/main" id="{CB77A76C-A234-408E-83F1-BE041AEB025D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5456" y="4646386"/>
              <a:ext cx="250825" cy="257175"/>
            </a:xfrm>
            <a:custGeom>
              <a:avLst/>
              <a:gdLst>
                <a:gd name="T0" fmla="*/ 118 w 158"/>
                <a:gd name="T1" fmla="*/ 161 h 162"/>
                <a:gd name="T2" fmla="*/ 141 w 158"/>
                <a:gd name="T3" fmla="*/ 134 h 162"/>
                <a:gd name="T4" fmla="*/ 147 w 158"/>
                <a:gd name="T5" fmla="*/ 117 h 162"/>
                <a:gd name="T6" fmla="*/ 151 w 158"/>
                <a:gd name="T7" fmla="*/ 114 h 162"/>
                <a:gd name="T8" fmla="*/ 153 w 158"/>
                <a:gd name="T9" fmla="*/ 100 h 162"/>
                <a:gd name="T10" fmla="*/ 151 w 158"/>
                <a:gd name="T11" fmla="*/ 94 h 162"/>
                <a:gd name="T12" fmla="*/ 152 w 158"/>
                <a:gd name="T13" fmla="*/ 76 h 162"/>
                <a:gd name="T14" fmla="*/ 157 w 158"/>
                <a:gd name="T15" fmla="*/ 59 h 162"/>
                <a:gd name="T16" fmla="*/ 158 w 158"/>
                <a:gd name="T17" fmla="*/ 29 h 162"/>
                <a:gd name="T18" fmla="*/ 148 w 158"/>
                <a:gd name="T19" fmla="*/ 22 h 162"/>
                <a:gd name="T20" fmla="*/ 138 w 158"/>
                <a:gd name="T21" fmla="*/ 20 h 162"/>
                <a:gd name="T22" fmla="*/ 134 w 158"/>
                <a:gd name="T23" fmla="*/ 14 h 162"/>
                <a:gd name="T24" fmla="*/ 124 w 158"/>
                <a:gd name="T25" fmla="*/ 9 h 162"/>
                <a:gd name="T26" fmla="*/ 107 w 158"/>
                <a:gd name="T27" fmla="*/ 10 h 162"/>
                <a:gd name="T28" fmla="*/ 106 w 158"/>
                <a:gd name="T29" fmla="*/ 0 h 162"/>
                <a:gd name="T30" fmla="*/ 90 w 158"/>
                <a:gd name="T31" fmla="*/ 4 h 162"/>
                <a:gd name="T32" fmla="*/ 78 w 158"/>
                <a:gd name="T33" fmla="*/ 13 h 162"/>
                <a:gd name="T34" fmla="*/ 75 w 158"/>
                <a:gd name="T35" fmla="*/ 22 h 162"/>
                <a:gd name="T36" fmla="*/ 68 w 158"/>
                <a:gd name="T37" fmla="*/ 24 h 162"/>
                <a:gd name="T38" fmla="*/ 49 w 158"/>
                <a:gd name="T39" fmla="*/ 43 h 162"/>
                <a:gd name="T40" fmla="*/ 37 w 158"/>
                <a:gd name="T41" fmla="*/ 58 h 162"/>
                <a:gd name="T42" fmla="*/ 29 w 158"/>
                <a:gd name="T43" fmla="*/ 59 h 162"/>
                <a:gd name="T44" fmla="*/ 24 w 158"/>
                <a:gd name="T45" fmla="*/ 56 h 162"/>
                <a:gd name="T46" fmla="*/ 0 w 158"/>
                <a:gd name="T47" fmla="*/ 53 h 162"/>
                <a:gd name="T48" fmla="*/ 7 w 158"/>
                <a:gd name="T49" fmla="*/ 72 h 162"/>
                <a:gd name="T50" fmla="*/ 11 w 158"/>
                <a:gd name="T51" fmla="*/ 77 h 162"/>
                <a:gd name="T52" fmla="*/ 17 w 158"/>
                <a:gd name="T53" fmla="*/ 91 h 162"/>
                <a:gd name="T54" fmla="*/ 40 w 158"/>
                <a:gd name="T55" fmla="*/ 117 h 162"/>
                <a:gd name="T56" fmla="*/ 48 w 158"/>
                <a:gd name="T57" fmla="*/ 119 h 162"/>
                <a:gd name="T58" fmla="*/ 48 w 158"/>
                <a:gd name="T59" fmla="*/ 127 h 162"/>
                <a:gd name="T60" fmla="*/ 54 w 158"/>
                <a:gd name="T61" fmla="*/ 143 h 162"/>
                <a:gd name="T62" fmla="*/ 69 w 158"/>
                <a:gd name="T63" fmla="*/ 146 h 162"/>
                <a:gd name="T64" fmla="*/ 82 w 158"/>
                <a:gd name="T65" fmla="*/ 157 h 162"/>
                <a:gd name="T66" fmla="*/ 90 w 158"/>
                <a:gd name="T67" fmla="*/ 157 h 162"/>
                <a:gd name="T68" fmla="*/ 100 w 158"/>
                <a:gd name="T69" fmla="*/ 162 h 162"/>
                <a:gd name="T70" fmla="*/ 107 w 158"/>
                <a:gd name="T71" fmla="*/ 158 h 162"/>
                <a:gd name="T72" fmla="*/ 118 w 158"/>
                <a:gd name="T73" fmla="*/ 161 h 162"/>
                <a:gd name="T74" fmla="*/ 118 w 158"/>
                <a:gd name="T75" fmla="*/ 161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8" h="162">
                  <a:moveTo>
                    <a:pt x="118" y="161"/>
                  </a:moveTo>
                  <a:lnTo>
                    <a:pt x="141" y="134"/>
                  </a:lnTo>
                  <a:lnTo>
                    <a:pt x="147" y="117"/>
                  </a:lnTo>
                  <a:lnTo>
                    <a:pt x="151" y="114"/>
                  </a:lnTo>
                  <a:lnTo>
                    <a:pt x="153" y="100"/>
                  </a:lnTo>
                  <a:lnTo>
                    <a:pt x="151" y="94"/>
                  </a:lnTo>
                  <a:lnTo>
                    <a:pt x="152" y="76"/>
                  </a:lnTo>
                  <a:lnTo>
                    <a:pt x="157" y="59"/>
                  </a:lnTo>
                  <a:lnTo>
                    <a:pt x="158" y="29"/>
                  </a:lnTo>
                  <a:lnTo>
                    <a:pt x="148" y="22"/>
                  </a:lnTo>
                  <a:lnTo>
                    <a:pt x="138" y="20"/>
                  </a:lnTo>
                  <a:lnTo>
                    <a:pt x="134" y="14"/>
                  </a:lnTo>
                  <a:lnTo>
                    <a:pt x="124" y="9"/>
                  </a:lnTo>
                  <a:lnTo>
                    <a:pt x="107" y="10"/>
                  </a:lnTo>
                  <a:lnTo>
                    <a:pt x="106" y="0"/>
                  </a:lnTo>
                  <a:lnTo>
                    <a:pt x="90" y="4"/>
                  </a:lnTo>
                  <a:lnTo>
                    <a:pt x="78" y="13"/>
                  </a:lnTo>
                  <a:lnTo>
                    <a:pt x="75" y="22"/>
                  </a:lnTo>
                  <a:lnTo>
                    <a:pt x="68" y="24"/>
                  </a:lnTo>
                  <a:lnTo>
                    <a:pt x="49" y="43"/>
                  </a:lnTo>
                  <a:lnTo>
                    <a:pt x="37" y="58"/>
                  </a:lnTo>
                  <a:lnTo>
                    <a:pt x="29" y="59"/>
                  </a:lnTo>
                  <a:lnTo>
                    <a:pt x="24" y="56"/>
                  </a:lnTo>
                  <a:lnTo>
                    <a:pt x="0" y="53"/>
                  </a:lnTo>
                  <a:lnTo>
                    <a:pt x="7" y="72"/>
                  </a:lnTo>
                  <a:lnTo>
                    <a:pt x="11" y="77"/>
                  </a:lnTo>
                  <a:lnTo>
                    <a:pt x="17" y="91"/>
                  </a:lnTo>
                  <a:lnTo>
                    <a:pt x="40" y="117"/>
                  </a:lnTo>
                  <a:lnTo>
                    <a:pt x="48" y="119"/>
                  </a:lnTo>
                  <a:lnTo>
                    <a:pt x="48" y="127"/>
                  </a:lnTo>
                  <a:lnTo>
                    <a:pt x="54" y="143"/>
                  </a:lnTo>
                  <a:lnTo>
                    <a:pt x="69" y="146"/>
                  </a:lnTo>
                  <a:lnTo>
                    <a:pt x="82" y="157"/>
                  </a:lnTo>
                  <a:lnTo>
                    <a:pt x="90" y="157"/>
                  </a:lnTo>
                  <a:lnTo>
                    <a:pt x="100" y="162"/>
                  </a:lnTo>
                  <a:lnTo>
                    <a:pt x="107" y="158"/>
                  </a:lnTo>
                  <a:lnTo>
                    <a:pt x="118" y="161"/>
                  </a:lnTo>
                  <a:lnTo>
                    <a:pt x="118" y="161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7" name="Somalia">
              <a:extLst>
                <a:ext uri="{FF2B5EF4-FFF2-40B4-BE49-F238E27FC236}">
                  <a16:creationId xmlns:a16="http://schemas.microsoft.com/office/drawing/2014/main" id="{446D261F-E6BD-4AEB-847F-93A28307AB7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0444" y="3609749"/>
              <a:ext cx="328612" cy="515938"/>
            </a:xfrm>
            <a:custGeom>
              <a:avLst/>
              <a:gdLst>
                <a:gd name="T0" fmla="*/ 62 w 207"/>
                <a:gd name="T1" fmla="*/ 37 h 325"/>
                <a:gd name="T2" fmla="*/ 52 w 207"/>
                <a:gd name="T3" fmla="*/ 27 h 325"/>
                <a:gd name="T4" fmla="*/ 47 w 207"/>
                <a:gd name="T5" fmla="*/ 17 h 325"/>
                <a:gd name="T6" fmla="*/ 40 w 207"/>
                <a:gd name="T7" fmla="*/ 13 h 325"/>
                <a:gd name="T8" fmla="*/ 33 w 207"/>
                <a:gd name="T9" fmla="*/ 25 h 325"/>
                <a:gd name="T10" fmla="*/ 29 w 207"/>
                <a:gd name="T11" fmla="*/ 34 h 325"/>
                <a:gd name="T12" fmla="*/ 38 w 207"/>
                <a:gd name="T13" fmla="*/ 47 h 325"/>
                <a:gd name="T14" fmla="*/ 45 w 207"/>
                <a:gd name="T15" fmla="*/ 58 h 325"/>
                <a:gd name="T16" fmla="*/ 54 w 207"/>
                <a:gd name="T17" fmla="*/ 67 h 325"/>
                <a:gd name="T18" fmla="*/ 123 w 207"/>
                <a:gd name="T19" fmla="*/ 95 h 325"/>
                <a:gd name="T20" fmla="*/ 140 w 207"/>
                <a:gd name="T21" fmla="*/ 95 h 325"/>
                <a:gd name="T22" fmla="*/ 83 w 207"/>
                <a:gd name="T23" fmla="*/ 166 h 325"/>
                <a:gd name="T24" fmla="*/ 55 w 207"/>
                <a:gd name="T25" fmla="*/ 167 h 325"/>
                <a:gd name="T26" fmla="*/ 37 w 207"/>
                <a:gd name="T27" fmla="*/ 184 h 325"/>
                <a:gd name="T28" fmla="*/ 24 w 207"/>
                <a:gd name="T29" fmla="*/ 184 h 325"/>
                <a:gd name="T30" fmla="*/ 18 w 207"/>
                <a:gd name="T31" fmla="*/ 192 h 325"/>
                <a:gd name="T32" fmla="*/ 0 w 207"/>
                <a:gd name="T33" fmla="*/ 219 h 325"/>
                <a:gd name="T34" fmla="*/ 0 w 207"/>
                <a:gd name="T35" fmla="*/ 305 h 325"/>
                <a:gd name="T36" fmla="*/ 13 w 207"/>
                <a:gd name="T37" fmla="*/ 325 h 325"/>
                <a:gd name="T38" fmla="*/ 18 w 207"/>
                <a:gd name="T39" fmla="*/ 320 h 325"/>
                <a:gd name="T40" fmla="*/ 23 w 207"/>
                <a:gd name="T41" fmla="*/ 307 h 325"/>
                <a:gd name="T42" fmla="*/ 45 w 207"/>
                <a:gd name="T43" fmla="*/ 278 h 325"/>
                <a:gd name="T44" fmla="*/ 66 w 207"/>
                <a:gd name="T45" fmla="*/ 260 h 325"/>
                <a:gd name="T46" fmla="*/ 97 w 207"/>
                <a:gd name="T47" fmla="*/ 236 h 325"/>
                <a:gd name="T48" fmla="*/ 117 w 207"/>
                <a:gd name="T49" fmla="*/ 217 h 325"/>
                <a:gd name="T50" fmla="*/ 141 w 207"/>
                <a:gd name="T51" fmla="*/ 184 h 325"/>
                <a:gd name="T52" fmla="*/ 159 w 207"/>
                <a:gd name="T53" fmla="*/ 158 h 325"/>
                <a:gd name="T54" fmla="*/ 176 w 207"/>
                <a:gd name="T55" fmla="*/ 124 h 325"/>
                <a:gd name="T56" fmla="*/ 188 w 207"/>
                <a:gd name="T57" fmla="*/ 93 h 325"/>
                <a:gd name="T58" fmla="*/ 197 w 207"/>
                <a:gd name="T59" fmla="*/ 66 h 325"/>
                <a:gd name="T60" fmla="*/ 202 w 207"/>
                <a:gd name="T61" fmla="*/ 41 h 325"/>
                <a:gd name="T62" fmla="*/ 206 w 207"/>
                <a:gd name="T63" fmla="*/ 32 h 325"/>
                <a:gd name="T64" fmla="*/ 206 w 207"/>
                <a:gd name="T65" fmla="*/ 19 h 325"/>
                <a:gd name="T66" fmla="*/ 207 w 207"/>
                <a:gd name="T67" fmla="*/ 6 h 325"/>
                <a:gd name="T68" fmla="*/ 206 w 207"/>
                <a:gd name="T69" fmla="*/ 0 h 325"/>
                <a:gd name="T70" fmla="*/ 198 w 207"/>
                <a:gd name="T71" fmla="*/ 0 h 325"/>
                <a:gd name="T72" fmla="*/ 189 w 207"/>
                <a:gd name="T73" fmla="*/ 8 h 325"/>
                <a:gd name="T74" fmla="*/ 178 w 207"/>
                <a:gd name="T75" fmla="*/ 10 h 325"/>
                <a:gd name="T76" fmla="*/ 168 w 207"/>
                <a:gd name="T77" fmla="*/ 14 h 325"/>
                <a:gd name="T78" fmla="*/ 162 w 207"/>
                <a:gd name="T79" fmla="*/ 14 h 325"/>
                <a:gd name="T80" fmla="*/ 162 w 207"/>
                <a:gd name="T81" fmla="*/ 14 h 325"/>
                <a:gd name="T82" fmla="*/ 150 w 207"/>
                <a:gd name="T83" fmla="*/ 15 h 325"/>
                <a:gd name="T84" fmla="*/ 142 w 207"/>
                <a:gd name="T85" fmla="*/ 19 h 325"/>
                <a:gd name="T86" fmla="*/ 132 w 207"/>
                <a:gd name="T87" fmla="*/ 21 h 325"/>
                <a:gd name="T88" fmla="*/ 114 w 207"/>
                <a:gd name="T89" fmla="*/ 28 h 325"/>
                <a:gd name="T90" fmla="*/ 92 w 207"/>
                <a:gd name="T91" fmla="*/ 30 h 325"/>
                <a:gd name="T92" fmla="*/ 72 w 207"/>
                <a:gd name="T93" fmla="*/ 37 h 325"/>
                <a:gd name="T94" fmla="*/ 62 w 207"/>
                <a:gd name="T95" fmla="*/ 37 h 325"/>
                <a:gd name="T96" fmla="*/ 62 w 207"/>
                <a:gd name="T97" fmla="*/ 37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07" h="325">
                  <a:moveTo>
                    <a:pt x="62" y="37"/>
                  </a:moveTo>
                  <a:lnTo>
                    <a:pt x="52" y="27"/>
                  </a:lnTo>
                  <a:lnTo>
                    <a:pt x="47" y="17"/>
                  </a:lnTo>
                  <a:lnTo>
                    <a:pt x="40" y="13"/>
                  </a:lnTo>
                  <a:lnTo>
                    <a:pt x="33" y="25"/>
                  </a:lnTo>
                  <a:lnTo>
                    <a:pt x="29" y="34"/>
                  </a:lnTo>
                  <a:lnTo>
                    <a:pt x="38" y="47"/>
                  </a:lnTo>
                  <a:lnTo>
                    <a:pt x="45" y="58"/>
                  </a:lnTo>
                  <a:lnTo>
                    <a:pt x="54" y="67"/>
                  </a:lnTo>
                  <a:lnTo>
                    <a:pt x="123" y="95"/>
                  </a:lnTo>
                  <a:lnTo>
                    <a:pt x="140" y="95"/>
                  </a:lnTo>
                  <a:lnTo>
                    <a:pt x="83" y="166"/>
                  </a:lnTo>
                  <a:lnTo>
                    <a:pt x="55" y="167"/>
                  </a:lnTo>
                  <a:lnTo>
                    <a:pt x="37" y="184"/>
                  </a:lnTo>
                  <a:lnTo>
                    <a:pt x="24" y="184"/>
                  </a:lnTo>
                  <a:lnTo>
                    <a:pt x="18" y="192"/>
                  </a:lnTo>
                  <a:lnTo>
                    <a:pt x="0" y="219"/>
                  </a:lnTo>
                  <a:lnTo>
                    <a:pt x="0" y="305"/>
                  </a:lnTo>
                  <a:lnTo>
                    <a:pt x="13" y="325"/>
                  </a:lnTo>
                  <a:lnTo>
                    <a:pt x="18" y="320"/>
                  </a:lnTo>
                  <a:lnTo>
                    <a:pt x="23" y="307"/>
                  </a:lnTo>
                  <a:lnTo>
                    <a:pt x="45" y="278"/>
                  </a:lnTo>
                  <a:lnTo>
                    <a:pt x="66" y="260"/>
                  </a:lnTo>
                  <a:lnTo>
                    <a:pt x="97" y="236"/>
                  </a:lnTo>
                  <a:lnTo>
                    <a:pt x="117" y="217"/>
                  </a:lnTo>
                  <a:lnTo>
                    <a:pt x="141" y="184"/>
                  </a:lnTo>
                  <a:lnTo>
                    <a:pt x="159" y="158"/>
                  </a:lnTo>
                  <a:lnTo>
                    <a:pt x="176" y="124"/>
                  </a:lnTo>
                  <a:lnTo>
                    <a:pt x="188" y="93"/>
                  </a:lnTo>
                  <a:lnTo>
                    <a:pt x="197" y="66"/>
                  </a:lnTo>
                  <a:lnTo>
                    <a:pt x="202" y="41"/>
                  </a:lnTo>
                  <a:lnTo>
                    <a:pt x="206" y="32"/>
                  </a:lnTo>
                  <a:lnTo>
                    <a:pt x="206" y="19"/>
                  </a:lnTo>
                  <a:lnTo>
                    <a:pt x="207" y="6"/>
                  </a:lnTo>
                  <a:lnTo>
                    <a:pt x="206" y="0"/>
                  </a:lnTo>
                  <a:lnTo>
                    <a:pt x="198" y="0"/>
                  </a:lnTo>
                  <a:lnTo>
                    <a:pt x="189" y="8"/>
                  </a:lnTo>
                  <a:lnTo>
                    <a:pt x="178" y="10"/>
                  </a:lnTo>
                  <a:lnTo>
                    <a:pt x="168" y="14"/>
                  </a:lnTo>
                  <a:lnTo>
                    <a:pt x="162" y="14"/>
                  </a:lnTo>
                  <a:lnTo>
                    <a:pt x="162" y="14"/>
                  </a:lnTo>
                  <a:lnTo>
                    <a:pt x="150" y="15"/>
                  </a:lnTo>
                  <a:lnTo>
                    <a:pt x="142" y="19"/>
                  </a:lnTo>
                  <a:lnTo>
                    <a:pt x="132" y="21"/>
                  </a:lnTo>
                  <a:lnTo>
                    <a:pt x="114" y="28"/>
                  </a:lnTo>
                  <a:lnTo>
                    <a:pt x="92" y="30"/>
                  </a:lnTo>
                  <a:lnTo>
                    <a:pt x="72" y="37"/>
                  </a:lnTo>
                  <a:lnTo>
                    <a:pt x="62" y="37"/>
                  </a:lnTo>
                  <a:lnTo>
                    <a:pt x="62" y="37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8" name="Spain">
              <a:extLst>
                <a:ext uri="{FF2B5EF4-FFF2-40B4-BE49-F238E27FC236}">
                  <a16:creationId xmlns:a16="http://schemas.microsoft.com/office/drawing/2014/main" id="{B3F93C9F-2C39-4560-837B-B69908B95A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1031" y="2412774"/>
              <a:ext cx="417512" cy="293688"/>
            </a:xfrm>
            <a:custGeom>
              <a:avLst/>
              <a:gdLst>
                <a:gd name="T0" fmla="*/ 210 w 263"/>
                <a:gd name="T1" fmla="*/ 118 h 185"/>
                <a:gd name="T2" fmla="*/ 207 w 263"/>
                <a:gd name="T3" fmla="*/ 116 h 185"/>
                <a:gd name="T4" fmla="*/ 207 w 263"/>
                <a:gd name="T5" fmla="*/ 118 h 185"/>
                <a:gd name="T6" fmla="*/ 208 w 263"/>
                <a:gd name="T7" fmla="*/ 119 h 185"/>
                <a:gd name="T8" fmla="*/ 210 w 263"/>
                <a:gd name="T9" fmla="*/ 119 h 185"/>
                <a:gd name="T10" fmla="*/ 207 w 263"/>
                <a:gd name="T11" fmla="*/ 112 h 185"/>
                <a:gd name="T12" fmla="*/ 210 w 263"/>
                <a:gd name="T13" fmla="*/ 110 h 185"/>
                <a:gd name="T14" fmla="*/ 209 w 263"/>
                <a:gd name="T15" fmla="*/ 108 h 185"/>
                <a:gd name="T16" fmla="*/ 205 w 263"/>
                <a:gd name="T17" fmla="*/ 110 h 185"/>
                <a:gd name="T18" fmla="*/ 204 w 263"/>
                <a:gd name="T19" fmla="*/ 111 h 185"/>
                <a:gd name="T20" fmla="*/ 204 w 263"/>
                <a:gd name="T21" fmla="*/ 114 h 185"/>
                <a:gd name="T22" fmla="*/ 207 w 263"/>
                <a:gd name="T23" fmla="*/ 112 h 185"/>
                <a:gd name="T24" fmla="*/ 112 w 263"/>
                <a:gd name="T25" fmla="*/ 7 h 185"/>
                <a:gd name="T26" fmla="*/ 77 w 263"/>
                <a:gd name="T27" fmla="*/ 4 h 185"/>
                <a:gd name="T28" fmla="*/ 28 w 263"/>
                <a:gd name="T29" fmla="*/ 0 h 185"/>
                <a:gd name="T30" fmla="*/ 8 w 263"/>
                <a:gd name="T31" fmla="*/ 26 h 185"/>
                <a:gd name="T32" fmla="*/ 13 w 263"/>
                <a:gd name="T33" fmla="*/ 37 h 185"/>
                <a:gd name="T34" fmla="*/ 25 w 263"/>
                <a:gd name="T35" fmla="*/ 45 h 185"/>
                <a:gd name="T36" fmla="*/ 40 w 263"/>
                <a:gd name="T37" fmla="*/ 42 h 185"/>
                <a:gd name="T38" fmla="*/ 56 w 263"/>
                <a:gd name="T39" fmla="*/ 54 h 185"/>
                <a:gd name="T40" fmla="*/ 47 w 263"/>
                <a:gd name="T41" fmla="*/ 79 h 185"/>
                <a:gd name="T42" fmla="*/ 42 w 263"/>
                <a:gd name="T43" fmla="*/ 93 h 185"/>
                <a:gd name="T44" fmla="*/ 41 w 263"/>
                <a:gd name="T45" fmla="*/ 110 h 185"/>
                <a:gd name="T46" fmla="*/ 42 w 263"/>
                <a:gd name="T47" fmla="*/ 133 h 185"/>
                <a:gd name="T48" fmla="*/ 32 w 263"/>
                <a:gd name="T49" fmla="*/ 149 h 185"/>
                <a:gd name="T50" fmla="*/ 52 w 263"/>
                <a:gd name="T51" fmla="*/ 161 h 185"/>
                <a:gd name="T52" fmla="*/ 64 w 263"/>
                <a:gd name="T53" fmla="*/ 182 h 185"/>
                <a:gd name="T54" fmla="*/ 81 w 263"/>
                <a:gd name="T55" fmla="*/ 176 h 185"/>
                <a:gd name="T56" fmla="*/ 112 w 263"/>
                <a:gd name="T57" fmla="*/ 167 h 185"/>
                <a:gd name="T58" fmla="*/ 151 w 263"/>
                <a:gd name="T59" fmla="*/ 149 h 185"/>
                <a:gd name="T60" fmla="*/ 170 w 263"/>
                <a:gd name="T61" fmla="*/ 128 h 185"/>
                <a:gd name="T62" fmla="*/ 174 w 263"/>
                <a:gd name="T63" fmla="*/ 103 h 185"/>
                <a:gd name="T64" fmla="*/ 193 w 263"/>
                <a:gd name="T65" fmla="*/ 71 h 185"/>
                <a:gd name="T66" fmla="*/ 220 w 263"/>
                <a:gd name="T67" fmla="*/ 58 h 185"/>
                <a:gd name="T68" fmla="*/ 236 w 263"/>
                <a:gd name="T69" fmla="*/ 30 h 185"/>
                <a:gd name="T70" fmla="*/ 193 w 263"/>
                <a:gd name="T71" fmla="*/ 23 h 185"/>
                <a:gd name="T72" fmla="*/ 150 w 263"/>
                <a:gd name="T73" fmla="*/ 17 h 185"/>
                <a:gd name="T74" fmla="*/ 143 w 263"/>
                <a:gd name="T75" fmla="*/ 8 h 185"/>
                <a:gd name="T76" fmla="*/ 240 w 263"/>
                <a:gd name="T77" fmla="*/ 91 h 185"/>
                <a:gd name="T78" fmla="*/ 241 w 263"/>
                <a:gd name="T79" fmla="*/ 90 h 185"/>
                <a:gd name="T80" fmla="*/ 240 w 263"/>
                <a:gd name="T81" fmla="*/ 89 h 185"/>
                <a:gd name="T82" fmla="*/ 240 w 263"/>
                <a:gd name="T83" fmla="*/ 88 h 185"/>
                <a:gd name="T84" fmla="*/ 233 w 263"/>
                <a:gd name="T85" fmla="*/ 91 h 185"/>
                <a:gd name="T86" fmla="*/ 225 w 263"/>
                <a:gd name="T87" fmla="*/ 97 h 185"/>
                <a:gd name="T88" fmla="*/ 227 w 263"/>
                <a:gd name="T89" fmla="*/ 98 h 185"/>
                <a:gd name="T90" fmla="*/ 229 w 263"/>
                <a:gd name="T91" fmla="*/ 98 h 185"/>
                <a:gd name="T92" fmla="*/ 232 w 263"/>
                <a:gd name="T93" fmla="*/ 98 h 185"/>
                <a:gd name="T94" fmla="*/ 233 w 263"/>
                <a:gd name="T95" fmla="*/ 101 h 185"/>
                <a:gd name="T96" fmla="*/ 235 w 263"/>
                <a:gd name="T97" fmla="*/ 102 h 185"/>
                <a:gd name="T98" fmla="*/ 240 w 263"/>
                <a:gd name="T99" fmla="*/ 103 h 185"/>
                <a:gd name="T100" fmla="*/ 243 w 263"/>
                <a:gd name="T101" fmla="*/ 99 h 185"/>
                <a:gd name="T102" fmla="*/ 246 w 263"/>
                <a:gd name="T103" fmla="*/ 95 h 185"/>
                <a:gd name="T104" fmla="*/ 246 w 263"/>
                <a:gd name="T105" fmla="*/ 93 h 185"/>
                <a:gd name="T106" fmla="*/ 244 w 263"/>
                <a:gd name="T107" fmla="*/ 92 h 185"/>
                <a:gd name="T108" fmla="*/ 240 w 263"/>
                <a:gd name="T109" fmla="*/ 92 h 185"/>
                <a:gd name="T110" fmla="*/ 263 w 263"/>
                <a:gd name="T111" fmla="*/ 91 h 185"/>
                <a:gd name="T112" fmla="*/ 263 w 263"/>
                <a:gd name="T113" fmla="*/ 89 h 185"/>
                <a:gd name="T114" fmla="*/ 258 w 263"/>
                <a:gd name="T115" fmla="*/ 85 h 185"/>
                <a:gd name="T116" fmla="*/ 253 w 263"/>
                <a:gd name="T117" fmla="*/ 86 h 185"/>
                <a:gd name="T118" fmla="*/ 254 w 263"/>
                <a:gd name="T119" fmla="*/ 88 h 185"/>
                <a:gd name="T120" fmla="*/ 263 w 263"/>
                <a:gd name="T121" fmla="*/ 91 h 185"/>
                <a:gd name="T122" fmla="*/ 263 w 263"/>
                <a:gd name="T123" fmla="*/ 91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3" h="185">
                  <a:moveTo>
                    <a:pt x="210" y="119"/>
                  </a:moveTo>
                  <a:lnTo>
                    <a:pt x="210" y="118"/>
                  </a:lnTo>
                  <a:lnTo>
                    <a:pt x="208" y="118"/>
                  </a:lnTo>
                  <a:lnTo>
                    <a:pt x="207" y="116"/>
                  </a:lnTo>
                  <a:lnTo>
                    <a:pt x="207" y="117"/>
                  </a:lnTo>
                  <a:lnTo>
                    <a:pt x="207" y="118"/>
                  </a:lnTo>
                  <a:lnTo>
                    <a:pt x="207" y="119"/>
                  </a:lnTo>
                  <a:lnTo>
                    <a:pt x="208" y="119"/>
                  </a:lnTo>
                  <a:lnTo>
                    <a:pt x="210" y="119"/>
                  </a:lnTo>
                  <a:lnTo>
                    <a:pt x="210" y="119"/>
                  </a:lnTo>
                  <a:lnTo>
                    <a:pt x="210" y="119"/>
                  </a:lnTo>
                  <a:close/>
                  <a:moveTo>
                    <a:pt x="207" y="112"/>
                  </a:moveTo>
                  <a:lnTo>
                    <a:pt x="208" y="112"/>
                  </a:lnTo>
                  <a:lnTo>
                    <a:pt x="210" y="110"/>
                  </a:lnTo>
                  <a:lnTo>
                    <a:pt x="210" y="108"/>
                  </a:lnTo>
                  <a:lnTo>
                    <a:pt x="209" y="108"/>
                  </a:lnTo>
                  <a:lnTo>
                    <a:pt x="206" y="108"/>
                  </a:lnTo>
                  <a:lnTo>
                    <a:pt x="205" y="110"/>
                  </a:lnTo>
                  <a:lnTo>
                    <a:pt x="205" y="111"/>
                  </a:lnTo>
                  <a:lnTo>
                    <a:pt x="204" y="111"/>
                  </a:lnTo>
                  <a:lnTo>
                    <a:pt x="203" y="113"/>
                  </a:lnTo>
                  <a:lnTo>
                    <a:pt x="204" y="114"/>
                  </a:lnTo>
                  <a:lnTo>
                    <a:pt x="207" y="114"/>
                  </a:lnTo>
                  <a:lnTo>
                    <a:pt x="207" y="112"/>
                  </a:lnTo>
                  <a:close/>
                  <a:moveTo>
                    <a:pt x="143" y="8"/>
                  </a:moveTo>
                  <a:lnTo>
                    <a:pt x="112" y="7"/>
                  </a:lnTo>
                  <a:lnTo>
                    <a:pt x="96" y="8"/>
                  </a:lnTo>
                  <a:lnTo>
                    <a:pt x="77" y="4"/>
                  </a:lnTo>
                  <a:lnTo>
                    <a:pt x="52" y="4"/>
                  </a:lnTo>
                  <a:lnTo>
                    <a:pt x="28" y="0"/>
                  </a:lnTo>
                  <a:lnTo>
                    <a:pt x="0" y="17"/>
                  </a:lnTo>
                  <a:lnTo>
                    <a:pt x="8" y="26"/>
                  </a:lnTo>
                  <a:lnTo>
                    <a:pt x="7" y="43"/>
                  </a:lnTo>
                  <a:lnTo>
                    <a:pt x="13" y="37"/>
                  </a:lnTo>
                  <a:lnTo>
                    <a:pt x="22" y="34"/>
                  </a:lnTo>
                  <a:lnTo>
                    <a:pt x="25" y="45"/>
                  </a:lnTo>
                  <a:lnTo>
                    <a:pt x="37" y="45"/>
                  </a:lnTo>
                  <a:lnTo>
                    <a:pt x="40" y="42"/>
                  </a:lnTo>
                  <a:lnTo>
                    <a:pt x="52" y="43"/>
                  </a:lnTo>
                  <a:lnTo>
                    <a:pt x="56" y="54"/>
                  </a:lnTo>
                  <a:lnTo>
                    <a:pt x="48" y="61"/>
                  </a:lnTo>
                  <a:lnTo>
                    <a:pt x="47" y="79"/>
                  </a:lnTo>
                  <a:lnTo>
                    <a:pt x="43" y="82"/>
                  </a:lnTo>
                  <a:lnTo>
                    <a:pt x="42" y="93"/>
                  </a:lnTo>
                  <a:lnTo>
                    <a:pt x="34" y="95"/>
                  </a:lnTo>
                  <a:lnTo>
                    <a:pt x="41" y="110"/>
                  </a:lnTo>
                  <a:lnTo>
                    <a:pt x="36" y="126"/>
                  </a:lnTo>
                  <a:lnTo>
                    <a:pt x="42" y="133"/>
                  </a:lnTo>
                  <a:lnTo>
                    <a:pt x="39" y="139"/>
                  </a:lnTo>
                  <a:lnTo>
                    <a:pt x="32" y="149"/>
                  </a:lnTo>
                  <a:lnTo>
                    <a:pt x="33" y="157"/>
                  </a:lnTo>
                  <a:lnTo>
                    <a:pt x="52" y="161"/>
                  </a:lnTo>
                  <a:lnTo>
                    <a:pt x="56" y="174"/>
                  </a:lnTo>
                  <a:lnTo>
                    <a:pt x="64" y="182"/>
                  </a:lnTo>
                  <a:lnTo>
                    <a:pt x="73" y="185"/>
                  </a:lnTo>
                  <a:lnTo>
                    <a:pt x="81" y="176"/>
                  </a:lnTo>
                  <a:lnTo>
                    <a:pt x="94" y="166"/>
                  </a:lnTo>
                  <a:lnTo>
                    <a:pt x="112" y="167"/>
                  </a:lnTo>
                  <a:lnTo>
                    <a:pt x="137" y="167"/>
                  </a:lnTo>
                  <a:lnTo>
                    <a:pt x="151" y="149"/>
                  </a:lnTo>
                  <a:lnTo>
                    <a:pt x="165" y="144"/>
                  </a:lnTo>
                  <a:lnTo>
                    <a:pt x="170" y="128"/>
                  </a:lnTo>
                  <a:lnTo>
                    <a:pt x="181" y="117"/>
                  </a:lnTo>
                  <a:lnTo>
                    <a:pt x="174" y="103"/>
                  </a:lnTo>
                  <a:lnTo>
                    <a:pt x="181" y="84"/>
                  </a:lnTo>
                  <a:lnTo>
                    <a:pt x="193" y="71"/>
                  </a:lnTo>
                  <a:lnTo>
                    <a:pt x="195" y="64"/>
                  </a:lnTo>
                  <a:lnTo>
                    <a:pt x="220" y="58"/>
                  </a:lnTo>
                  <a:lnTo>
                    <a:pt x="237" y="43"/>
                  </a:lnTo>
                  <a:lnTo>
                    <a:pt x="236" y="30"/>
                  </a:lnTo>
                  <a:lnTo>
                    <a:pt x="214" y="33"/>
                  </a:lnTo>
                  <a:lnTo>
                    <a:pt x="193" y="23"/>
                  </a:lnTo>
                  <a:lnTo>
                    <a:pt x="186" y="27"/>
                  </a:lnTo>
                  <a:lnTo>
                    <a:pt x="150" y="17"/>
                  </a:lnTo>
                  <a:lnTo>
                    <a:pt x="143" y="8"/>
                  </a:lnTo>
                  <a:lnTo>
                    <a:pt x="143" y="8"/>
                  </a:lnTo>
                  <a:close/>
                  <a:moveTo>
                    <a:pt x="240" y="92"/>
                  </a:moveTo>
                  <a:lnTo>
                    <a:pt x="240" y="91"/>
                  </a:lnTo>
                  <a:lnTo>
                    <a:pt x="241" y="90"/>
                  </a:lnTo>
                  <a:lnTo>
                    <a:pt x="241" y="90"/>
                  </a:lnTo>
                  <a:lnTo>
                    <a:pt x="240" y="89"/>
                  </a:lnTo>
                  <a:lnTo>
                    <a:pt x="240" y="89"/>
                  </a:lnTo>
                  <a:lnTo>
                    <a:pt x="241" y="88"/>
                  </a:lnTo>
                  <a:lnTo>
                    <a:pt x="240" y="88"/>
                  </a:lnTo>
                  <a:lnTo>
                    <a:pt x="235" y="89"/>
                  </a:lnTo>
                  <a:lnTo>
                    <a:pt x="233" y="91"/>
                  </a:lnTo>
                  <a:lnTo>
                    <a:pt x="225" y="96"/>
                  </a:lnTo>
                  <a:lnTo>
                    <a:pt x="225" y="97"/>
                  </a:lnTo>
                  <a:lnTo>
                    <a:pt x="225" y="98"/>
                  </a:lnTo>
                  <a:lnTo>
                    <a:pt x="227" y="98"/>
                  </a:lnTo>
                  <a:lnTo>
                    <a:pt x="228" y="99"/>
                  </a:lnTo>
                  <a:lnTo>
                    <a:pt x="229" y="98"/>
                  </a:lnTo>
                  <a:lnTo>
                    <a:pt x="231" y="97"/>
                  </a:lnTo>
                  <a:lnTo>
                    <a:pt x="232" y="98"/>
                  </a:lnTo>
                  <a:lnTo>
                    <a:pt x="233" y="99"/>
                  </a:lnTo>
                  <a:lnTo>
                    <a:pt x="233" y="101"/>
                  </a:lnTo>
                  <a:lnTo>
                    <a:pt x="234" y="102"/>
                  </a:lnTo>
                  <a:lnTo>
                    <a:pt x="235" y="102"/>
                  </a:lnTo>
                  <a:lnTo>
                    <a:pt x="239" y="104"/>
                  </a:lnTo>
                  <a:lnTo>
                    <a:pt x="240" y="103"/>
                  </a:lnTo>
                  <a:lnTo>
                    <a:pt x="242" y="102"/>
                  </a:lnTo>
                  <a:lnTo>
                    <a:pt x="243" y="99"/>
                  </a:lnTo>
                  <a:lnTo>
                    <a:pt x="244" y="97"/>
                  </a:lnTo>
                  <a:lnTo>
                    <a:pt x="246" y="95"/>
                  </a:lnTo>
                  <a:lnTo>
                    <a:pt x="247" y="94"/>
                  </a:lnTo>
                  <a:lnTo>
                    <a:pt x="246" y="93"/>
                  </a:lnTo>
                  <a:lnTo>
                    <a:pt x="245" y="93"/>
                  </a:lnTo>
                  <a:lnTo>
                    <a:pt x="244" y="92"/>
                  </a:lnTo>
                  <a:lnTo>
                    <a:pt x="242" y="93"/>
                  </a:lnTo>
                  <a:lnTo>
                    <a:pt x="240" y="92"/>
                  </a:lnTo>
                  <a:lnTo>
                    <a:pt x="240" y="92"/>
                  </a:lnTo>
                  <a:close/>
                  <a:moveTo>
                    <a:pt x="263" y="91"/>
                  </a:moveTo>
                  <a:lnTo>
                    <a:pt x="263" y="90"/>
                  </a:lnTo>
                  <a:lnTo>
                    <a:pt x="263" y="89"/>
                  </a:lnTo>
                  <a:lnTo>
                    <a:pt x="261" y="86"/>
                  </a:lnTo>
                  <a:lnTo>
                    <a:pt x="258" y="85"/>
                  </a:lnTo>
                  <a:lnTo>
                    <a:pt x="254" y="86"/>
                  </a:lnTo>
                  <a:lnTo>
                    <a:pt x="253" y="86"/>
                  </a:lnTo>
                  <a:lnTo>
                    <a:pt x="253" y="88"/>
                  </a:lnTo>
                  <a:lnTo>
                    <a:pt x="254" y="88"/>
                  </a:lnTo>
                  <a:lnTo>
                    <a:pt x="256" y="88"/>
                  </a:lnTo>
                  <a:lnTo>
                    <a:pt x="263" y="91"/>
                  </a:lnTo>
                  <a:lnTo>
                    <a:pt x="263" y="91"/>
                  </a:lnTo>
                  <a:lnTo>
                    <a:pt x="263" y="91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9" name="Aruba">
              <a:extLst>
                <a:ext uri="{FF2B5EF4-FFF2-40B4-BE49-F238E27FC236}">
                  <a16:creationId xmlns:a16="http://schemas.microsoft.com/office/drawing/2014/main" id="{266201ED-7B93-48D3-8F42-E4E8488072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7444" y="3587524"/>
              <a:ext cx="4762" cy="4763"/>
            </a:xfrm>
            <a:custGeom>
              <a:avLst/>
              <a:gdLst>
                <a:gd name="T0" fmla="*/ 3 w 3"/>
                <a:gd name="T1" fmla="*/ 3 h 3"/>
                <a:gd name="T2" fmla="*/ 3 w 3"/>
                <a:gd name="T3" fmla="*/ 2 h 3"/>
                <a:gd name="T4" fmla="*/ 2 w 3"/>
                <a:gd name="T5" fmla="*/ 1 h 3"/>
                <a:gd name="T6" fmla="*/ 1 w 3"/>
                <a:gd name="T7" fmla="*/ 0 h 3"/>
                <a:gd name="T8" fmla="*/ 0 w 3"/>
                <a:gd name="T9" fmla="*/ 0 h 3"/>
                <a:gd name="T10" fmla="*/ 0 w 3"/>
                <a:gd name="T11" fmla="*/ 1 h 3"/>
                <a:gd name="T12" fmla="*/ 1 w 3"/>
                <a:gd name="T13" fmla="*/ 1 h 3"/>
                <a:gd name="T14" fmla="*/ 2 w 3"/>
                <a:gd name="T15" fmla="*/ 3 h 3"/>
                <a:gd name="T16" fmla="*/ 3 w 3"/>
                <a:gd name="T17" fmla="*/ 3 h 3"/>
                <a:gd name="T18" fmla="*/ 3 w 3"/>
                <a:gd name="T19" fmla="*/ 3 h 3"/>
                <a:gd name="T20" fmla="*/ 3 w 3"/>
                <a:gd name="T21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" h="3">
                  <a:moveTo>
                    <a:pt x="3" y="3"/>
                  </a:moveTo>
                  <a:lnTo>
                    <a:pt x="3" y="2"/>
                  </a:lnTo>
                  <a:lnTo>
                    <a:pt x="2" y="1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1" y="1"/>
                  </a:lnTo>
                  <a:lnTo>
                    <a:pt x="2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0" name="Andorra">
              <a:extLst>
                <a:ext uri="{FF2B5EF4-FFF2-40B4-BE49-F238E27FC236}">
                  <a16:creationId xmlns:a16="http://schemas.microsoft.com/office/drawing/2014/main" id="{5CA3EFB2-C375-4574-8EB9-B0EB439A22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9644" y="2452462"/>
              <a:ext cx="7937" cy="7938"/>
            </a:xfrm>
            <a:custGeom>
              <a:avLst/>
              <a:gdLst>
                <a:gd name="T0" fmla="*/ 5 w 5"/>
                <a:gd name="T1" fmla="*/ 4 h 5"/>
                <a:gd name="T2" fmla="*/ 5 w 5"/>
                <a:gd name="T3" fmla="*/ 3 h 5"/>
                <a:gd name="T4" fmla="*/ 5 w 5"/>
                <a:gd name="T5" fmla="*/ 2 h 5"/>
                <a:gd name="T6" fmla="*/ 5 w 5"/>
                <a:gd name="T7" fmla="*/ 2 h 5"/>
                <a:gd name="T8" fmla="*/ 5 w 5"/>
                <a:gd name="T9" fmla="*/ 1 h 5"/>
                <a:gd name="T10" fmla="*/ 2 w 5"/>
                <a:gd name="T11" fmla="*/ 1 h 5"/>
                <a:gd name="T12" fmla="*/ 1 w 5"/>
                <a:gd name="T13" fmla="*/ 0 h 5"/>
                <a:gd name="T14" fmla="*/ 0 w 5"/>
                <a:gd name="T15" fmla="*/ 1 h 5"/>
                <a:gd name="T16" fmla="*/ 0 w 5"/>
                <a:gd name="T17" fmla="*/ 1 h 5"/>
                <a:gd name="T18" fmla="*/ 0 w 5"/>
                <a:gd name="T19" fmla="*/ 3 h 5"/>
                <a:gd name="T20" fmla="*/ 0 w 5"/>
                <a:gd name="T21" fmla="*/ 3 h 5"/>
                <a:gd name="T22" fmla="*/ 0 w 5"/>
                <a:gd name="T23" fmla="*/ 4 h 5"/>
                <a:gd name="T24" fmla="*/ 0 w 5"/>
                <a:gd name="T25" fmla="*/ 5 h 5"/>
                <a:gd name="T26" fmla="*/ 0 w 5"/>
                <a:gd name="T27" fmla="*/ 5 h 5"/>
                <a:gd name="T28" fmla="*/ 0 w 5"/>
                <a:gd name="T29" fmla="*/ 5 h 5"/>
                <a:gd name="T30" fmla="*/ 1 w 5"/>
                <a:gd name="T31" fmla="*/ 5 h 5"/>
                <a:gd name="T32" fmla="*/ 2 w 5"/>
                <a:gd name="T33" fmla="*/ 5 h 5"/>
                <a:gd name="T34" fmla="*/ 4 w 5"/>
                <a:gd name="T35" fmla="*/ 4 h 5"/>
                <a:gd name="T36" fmla="*/ 5 w 5"/>
                <a:gd name="T37" fmla="*/ 4 h 5"/>
                <a:gd name="T38" fmla="*/ 5 w 5"/>
                <a:gd name="T3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" h="5">
                  <a:moveTo>
                    <a:pt x="5" y="4"/>
                  </a:moveTo>
                  <a:lnTo>
                    <a:pt x="5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1"/>
                  </a:lnTo>
                  <a:lnTo>
                    <a:pt x="2" y="1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1" y="5"/>
                  </a:lnTo>
                  <a:lnTo>
                    <a:pt x="2" y="5"/>
                  </a:lnTo>
                  <a:lnTo>
                    <a:pt x="4" y="4"/>
                  </a:lnTo>
                  <a:lnTo>
                    <a:pt x="5" y="4"/>
                  </a:lnTo>
                  <a:lnTo>
                    <a:pt x="5" y="4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1" name="Antigua and Barbuda">
              <a:extLst>
                <a:ext uri="{FF2B5EF4-FFF2-40B4-BE49-F238E27FC236}">
                  <a16:creationId xmlns:a16="http://schemas.microsoft.com/office/drawing/2014/main" id="{9CD4927B-6E32-402D-8DD0-CEDCC91D99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61606" y="3393848"/>
              <a:ext cx="4762" cy="26988"/>
            </a:xfrm>
            <a:custGeom>
              <a:avLst/>
              <a:gdLst>
                <a:gd name="T0" fmla="*/ 2 w 3"/>
                <a:gd name="T1" fmla="*/ 16 h 17"/>
                <a:gd name="T2" fmla="*/ 3 w 3"/>
                <a:gd name="T3" fmla="*/ 16 h 17"/>
                <a:gd name="T4" fmla="*/ 3 w 3"/>
                <a:gd name="T5" fmla="*/ 15 h 17"/>
                <a:gd name="T6" fmla="*/ 3 w 3"/>
                <a:gd name="T7" fmla="*/ 15 h 17"/>
                <a:gd name="T8" fmla="*/ 3 w 3"/>
                <a:gd name="T9" fmla="*/ 14 h 17"/>
                <a:gd name="T10" fmla="*/ 2 w 3"/>
                <a:gd name="T11" fmla="*/ 13 h 17"/>
                <a:gd name="T12" fmla="*/ 1 w 3"/>
                <a:gd name="T13" fmla="*/ 13 h 17"/>
                <a:gd name="T14" fmla="*/ 0 w 3"/>
                <a:gd name="T15" fmla="*/ 15 h 17"/>
                <a:gd name="T16" fmla="*/ 0 w 3"/>
                <a:gd name="T17" fmla="*/ 15 h 17"/>
                <a:gd name="T18" fmla="*/ 0 w 3"/>
                <a:gd name="T19" fmla="*/ 17 h 17"/>
                <a:gd name="T20" fmla="*/ 1 w 3"/>
                <a:gd name="T21" fmla="*/ 17 h 17"/>
                <a:gd name="T22" fmla="*/ 2 w 3"/>
                <a:gd name="T23" fmla="*/ 16 h 17"/>
                <a:gd name="T24" fmla="*/ 2 w 3"/>
                <a:gd name="T25" fmla="*/ 16 h 17"/>
                <a:gd name="T26" fmla="*/ 3 w 3"/>
                <a:gd name="T27" fmla="*/ 3 h 17"/>
                <a:gd name="T28" fmla="*/ 3 w 3"/>
                <a:gd name="T29" fmla="*/ 1 h 17"/>
                <a:gd name="T30" fmla="*/ 3 w 3"/>
                <a:gd name="T31" fmla="*/ 0 h 17"/>
                <a:gd name="T32" fmla="*/ 1 w 3"/>
                <a:gd name="T33" fmla="*/ 0 h 17"/>
                <a:gd name="T34" fmla="*/ 1 w 3"/>
                <a:gd name="T35" fmla="*/ 0 h 17"/>
                <a:gd name="T36" fmla="*/ 1 w 3"/>
                <a:gd name="T37" fmla="*/ 0 h 17"/>
                <a:gd name="T38" fmla="*/ 0 w 3"/>
                <a:gd name="T39" fmla="*/ 0 h 17"/>
                <a:gd name="T40" fmla="*/ 1 w 3"/>
                <a:gd name="T41" fmla="*/ 3 h 17"/>
                <a:gd name="T42" fmla="*/ 3 w 3"/>
                <a:gd name="T43" fmla="*/ 4 h 17"/>
                <a:gd name="T44" fmla="*/ 3 w 3"/>
                <a:gd name="T45" fmla="*/ 3 h 17"/>
                <a:gd name="T46" fmla="*/ 3 w 3"/>
                <a:gd name="T47" fmla="*/ 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" h="17">
                  <a:moveTo>
                    <a:pt x="2" y="16"/>
                  </a:moveTo>
                  <a:lnTo>
                    <a:pt x="3" y="16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2" y="13"/>
                  </a:lnTo>
                  <a:lnTo>
                    <a:pt x="1" y="13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1" y="17"/>
                  </a:lnTo>
                  <a:lnTo>
                    <a:pt x="2" y="16"/>
                  </a:lnTo>
                  <a:lnTo>
                    <a:pt x="2" y="16"/>
                  </a:lnTo>
                  <a:close/>
                  <a:moveTo>
                    <a:pt x="3" y="3"/>
                  </a:moveTo>
                  <a:lnTo>
                    <a:pt x="3" y="1"/>
                  </a:lnTo>
                  <a:lnTo>
                    <a:pt x="3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1" y="3"/>
                  </a:lnTo>
                  <a:lnTo>
                    <a:pt x="3" y="4"/>
                  </a:lnTo>
                  <a:lnTo>
                    <a:pt x="3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2" name="The Bahamas">
              <a:extLst>
                <a:ext uri="{FF2B5EF4-FFF2-40B4-BE49-F238E27FC236}">
                  <a16:creationId xmlns:a16="http://schemas.microsoft.com/office/drawing/2014/main" id="{E8410B88-2179-4258-8E0D-C966A8C381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45669" y="3046186"/>
              <a:ext cx="179387" cy="227013"/>
            </a:xfrm>
            <a:custGeom>
              <a:avLst/>
              <a:gdLst>
                <a:gd name="T0" fmla="*/ 100 w 113"/>
                <a:gd name="T1" fmla="*/ 137 h 143"/>
                <a:gd name="T2" fmla="*/ 90 w 113"/>
                <a:gd name="T3" fmla="*/ 139 h 143"/>
                <a:gd name="T4" fmla="*/ 90 w 113"/>
                <a:gd name="T5" fmla="*/ 143 h 143"/>
                <a:gd name="T6" fmla="*/ 107 w 113"/>
                <a:gd name="T7" fmla="*/ 129 h 143"/>
                <a:gd name="T8" fmla="*/ 107 w 113"/>
                <a:gd name="T9" fmla="*/ 129 h 143"/>
                <a:gd name="T10" fmla="*/ 108 w 113"/>
                <a:gd name="T11" fmla="*/ 108 h 143"/>
                <a:gd name="T12" fmla="*/ 111 w 113"/>
                <a:gd name="T13" fmla="*/ 108 h 143"/>
                <a:gd name="T14" fmla="*/ 82 w 113"/>
                <a:gd name="T15" fmla="*/ 112 h 143"/>
                <a:gd name="T16" fmla="*/ 91 w 113"/>
                <a:gd name="T17" fmla="*/ 100 h 143"/>
                <a:gd name="T18" fmla="*/ 89 w 113"/>
                <a:gd name="T19" fmla="*/ 104 h 143"/>
                <a:gd name="T20" fmla="*/ 85 w 113"/>
                <a:gd name="T21" fmla="*/ 109 h 143"/>
                <a:gd name="T22" fmla="*/ 86 w 113"/>
                <a:gd name="T23" fmla="*/ 100 h 143"/>
                <a:gd name="T24" fmla="*/ 82 w 113"/>
                <a:gd name="T25" fmla="*/ 99 h 143"/>
                <a:gd name="T26" fmla="*/ 86 w 113"/>
                <a:gd name="T27" fmla="*/ 100 h 143"/>
                <a:gd name="T28" fmla="*/ 67 w 113"/>
                <a:gd name="T29" fmla="*/ 86 h 143"/>
                <a:gd name="T30" fmla="*/ 64 w 113"/>
                <a:gd name="T31" fmla="*/ 80 h 143"/>
                <a:gd name="T32" fmla="*/ 65 w 113"/>
                <a:gd name="T33" fmla="*/ 88 h 143"/>
                <a:gd name="T34" fmla="*/ 71 w 113"/>
                <a:gd name="T35" fmla="*/ 96 h 143"/>
                <a:gd name="T36" fmla="*/ 51 w 113"/>
                <a:gd name="T37" fmla="*/ 78 h 143"/>
                <a:gd name="T38" fmla="*/ 56 w 113"/>
                <a:gd name="T39" fmla="*/ 83 h 143"/>
                <a:gd name="T40" fmla="*/ 83 w 113"/>
                <a:gd name="T41" fmla="*/ 67 h 143"/>
                <a:gd name="T42" fmla="*/ 84 w 113"/>
                <a:gd name="T43" fmla="*/ 68 h 143"/>
                <a:gd name="T44" fmla="*/ 13 w 113"/>
                <a:gd name="T45" fmla="*/ 64 h 143"/>
                <a:gd name="T46" fmla="*/ 14 w 113"/>
                <a:gd name="T47" fmla="*/ 73 h 143"/>
                <a:gd name="T48" fmla="*/ 19 w 113"/>
                <a:gd name="T49" fmla="*/ 72 h 143"/>
                <a:gd name="T50" fmla="*/ 18 w 113"/>
                <a:gd name="T51" fmla="*/ 64 h 143"/>
                <a:gd name="T52" fmla="*/ 17 w 113"/>
                <a:gd name="T53" fmla="*/ 64 h 143"/>
                <a:gd name="T54" fmla="*/ 59 w 113"/>
                <a:gd name="T55" fmla="*/ 53 h 143"/>
                <a:gd name="T56" fmla="*/ 61 w 113"/>
                <a:gd name="T57" fmla="*/ 58 h 143"/>
                <a:gd name="T58" fmla="*/ 61 w 113"/>
                <a:gd name="T59" fmla="*/ 66 h 143"/>
                <a:gd name="T60" fmla="*/ 66 w 113"/>
                <a:gd name="T61" fmla="*/ 65 h 143"/>
                <a:gd name="T62" fmla="*/ 25 w 113"/>
                <a:gd name="T63" fmla="*/ 44 h 143"/>
                <a:gd name="T64" fmla="*/ 27 w 113"/>
                <a:gd name="T65" fmla="*/ 46 h 143"/>
                <a:gd name="T66" fmla="*/ 14 w 113"/>
                <a:gd name="T67" fmla="*/ 46 h 143"/>
                <a:gd name="T68" fmla="*/ 10 w 113"/>
                <a:gd name="T69" fmla="*/ 46 h 143"/>
                <a:gd name="T70" fmla="*/ 7 w 113"/>
                <a:gd name="T71" fmla="*/ 54 h 143"/>
                <a:gd name="T72" fmla="*/ 6 w 113"/>
                <a:gd name="T73" fmla="*/ 59 h 143"/>
                <a:gd name="T74" fmla="*/ 10 w 113"/>
                <a:gd name="T75" fmla="*/ 62 h 143"/>
                <a:gd name="T76" fmla="*/ 16 w 113"/>
                <a:gd name="T77" fmla="*/ 58 h 143"/>
                <a:gd name="T78" fmla="*/ 42 w 113"/>
                <a:gd name="T79" fmla="*/ 32 h 143"/>
                <a:gd name="T80" fmla="*/ 43 w 113"/>
                <a:gd name="T81" fmla="*/ 36 h 143"/>
                <a:gd name="T82" fmla="*/ 51 w 113"/>
                <a:gd name="T83" fmla="*/ 46 h 143"/>
                <a:gd name="T84" fmla="*/ 48 w 113"/>
                <a:gd name="T85" fmla="*/ 52 h 143"/>
                <a:gd name="T86" fmla="*/ 52 w 113"/>
                <a:gd name="T87" fmla="*/ 44 h 143"/>
                <a:gd name="T88" fmla="*/ 43 w 113"/>
                <a:gd name="T89" fmla="*/ 34 h 143"/>
                <a:gd name="T90" fmla="*/ 7 w 113"/>
                <a:gd name="T91" fmla="*/ 5 h 143"/>
                <a:gd name="T92" fmla="*/ 0 w 113"/>
                <a:gd name="T93" fmla="*/ 5 h 143"/>
                <a:gd name="T94" fmla="*/ 15 w 113"/>
                <a:gd name="T95" fmla="*/ 7 h 143"/>
                <a:gd name="T96" fmla="*/ 15 w 113"/>
                <a:gd name="T97" fmla="*/ 4 h 143"/>
                <a:gd name="T98" fmla="*/ 33 w 113"/>
                <a:gd name="T99" fmla="*/ 23 h 143"/>
                <a:gd name="T100" fmla="*/ 35 w 113"/>
                <a:gd name="T101" fmla="*/ 7 h 143"/>
                <a:gd name="T102" fmla="*/ 31 w 113"/>
                <a:gd name="T103" fmla="*/ 3 h 143"/>
                <a:gd name="T104" fmla="*/ 22 w 113"/>
                <a:gd name="T105" fmla="*/ 1 h 143"/>
                <a:gd name="T106" fmla="*/ 35 w 113"/>
                <a:gd name="T107" fmla="*/ 10 h 143"/>
                <a:gd name="T108" fmla="*/ 31 w 113"/>
                <a:gd name="T109" fmla="*/ 19 h 143"/>
                <a:gd name="T110" fmla="*/ 32 w 113"/>
                <a:gd name="T111" fmla="*/ 2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" h="143">
                  <a:moveTo>
                    <a:pt x="104" y="136"/>
                  </a:moveTo>
                  <a:lnTo>
                    <a:pt x="104" y="134"/>
                  </a:lnTo>
                  <a:lnTo>
                    <a:pt x="103" y="133"/>
                  </a:lnTo>
                  <a:lnTo>
                    <a:pt x="101" y="136"/>
                  </a:lnTo>
                  <a:lnTo>
                    <a:pt x="100" y="137"/>
                  </a:lnTo>
                  <a:lnTo>
                    <a:pt x="99" y="137"/>
                  </a:lnTo>
                  <a:lnTo>
                    <a:pt x="96" y="136"/>
                  </a:lnTo>
                  <a:lnTo>
                    <a:pt x="94" y="136"/>
                  </a:lnTo>
                  <a:lnTo>
                    <a:pt x="92" y="138"/>
                  </a:lnTo>
                  <a:lnTo>
                    <a:pt x="90" y="139"/>
                  </a:lnTo>
                  <a:lnTo>
                    <a:pt x="90" y="139"/>
                  </a:lnTo>
                  <a:lnTo>
                    <a:pt x="90" y="140"/>
                  </a:lnTo>
                  <a:lnTo>
                    <a:pt x="89" y="141"/>
                  </a:lnTo>
                  <a:lnTo>
                    <a:pt x="89" y="142"/>
                  </a:lnTo>
                  <a:lnTo>
                    <a:pt x="90" y="143"/>
                  </a:lnTo>
                  <a:lnTo>
                    <a:pt x="96" y="143"/>
                  </a:lnTo>
                  <a:lnTo>
                    <a:pt x="100" y="142"/>
                  </a:lnTo>
                  <a:lnTo>
                    <a:pt x="103" y="138"/>
                  </a:lnTo>
                  <a:lnTo>
                    <a:pt x="104" y="136"/>
                  </a:lnTo>
                  <a:close/>
                  <a:moveTo>
                    <a:pt x="107" y="129"/>
                  </a:moveTo>
                  <a:lnTo>
                    <a:pt x="105" y="128"/>
                  </a:lnTo>
                  <a:lnTo>
                    <a:pt x="104" y="129"/>
                  </a:lnTo>
                  <a:lnTo>
                    <a:pt x="104" y="130"/>
                  </a:lnTo>
                  <a:lnTo>
                    <a:pt x="107" y="129"/>
                  </a:lnTo>
                  <a:lnTo>
                    <a:pt x="107" y="129"/>
                  </a:lnTo>
                  <a:close/>
                  <a:moveTo>
                    <a:pt x="107" y="107"/>
                  </a:moveTo>
                  <a:lnTo>
                    <a:pt x="105" y="106"/>
                  </a:lnTo>
                  <a:lnTo>
                    <a:pt x="104" y="108"/>
                  </a:lnTo>
                  <a:lnTo>
                    <a:pt x="105" y="109"/>
                  </a:lnTo>
                  <a:lnTo>
                    <a:pt x="108" y="108"/>
                  </a:lnTo>
                  <a:lnTo>
                    <a:pt x="110" y="109"/>
                  </a:lnTo>
                  <a:lnTo>
                    <a:pt x="112" y="110"/>
                  </a:lnTo>
                  <a:lnTo>
                    <a:pt x="113" y="109"/>
                  </a:lnTo>
                  <a:lnTo>
                    <a:pt x="113" y="109"/>
                  </a:lnTo>
                  <a:lnTo>
                    <a:pt x="111" y="108"/>
                  </a:lnTo>
                  <a:lnTo>
                    <a:pt x="109" y="107"/>
                  </a:lnTo>
                  <a:lnTo>
                    <a:pt x="108" y="107"/>
                  </a:lnTo>
                  <a:lnTo>
                    <a:pt x="107" y="107"/>
                  </a:lnTo>
                  <a:lnTo>
                    <a:pt x="107" y="107"/>
                  </a:lnTo>
                  <a:close/>
                  <a:moveTo>
                    <a:pt x="82" y="112"/>
                  </a:moveTo>
                  <a:lnTo>
                    <a:pt x="85" y="110"/>
                  </a:lnTo>
                  <a:lnTo>
                    <a:pt x="87" y="109"/>
                  </a:lnTo>
                  <a:lnTo>
                    <a:pt x="91" y="104"/>
                  </a:lnTo>
                  <a:lnTo>
                    <a:pt x="90" y="102"/>
                  </a:lnTo>
                  <a:lnTo>
                    <a:pt x="91" y="100"/>
                  </a:lnTo>
                  <a:lnTo>
                    <a:pt x="89" y="100"/>
                  </a:lnTo>
                  <a:lnTo>
                    <a:pt x="88" y="102"/>
                  </a:lnTo>
                  <a:lnTo>
                    <a:pt x="88" y="103"/>
                  </a:lnTo>
                  <a:lnTo>
                    <a:pt x="89" y="103"/>
                  </a:lnTo>
                  <a:lnTo>
                    <a:pt x="89" y="104"/>
                  </a:lnTo>
                  <a:lnTo>
                    <a:pt x="88" y="106"/>
                  </a:lnTo>
                  <a:lnTo>
                    <a:pt x="87" y="106"/>
                  </a:lnTo>
                  <a:lnTo>
                    <a:pt x="87" y="107"/>
                  </a:lnTo>
                  <a:lnTo>
                    <a:pt x="86" y="107"/>
                  </a:lnTo>
                  <a:lnTo>
                    <a:pt x="85" y="109"/>
                  </a:lnTo>
                  <a:lnTo>
                    <a:pt x="82" y="112"/>
                  </a:lnTo>
                  <a:lnTo>
                    <a:pt x="81" y="113"/>
                  </a:lnTo>
                  <a:lnTo>
                    <a:pt x="82" y="112"/>
                  </a:lnTo>
                  <a:lnTo>
                    <a:pt x="82" y="112"/>
                  </a:lnTo>
                  <a:close/>
                  <a:moveTo>
                    <a:pt x="86" y="100"/>
                  </a:moveTo>
                  <a:lnTo>
                    <a:pt x="85" y="100"/>
                  </a:lnTo>
                  <a:lnTo>
                    <a:pt x="84" y="98"/>
                  </a:lnTo>
                  <a:lnTo>
                    <a:pt x="82" y="98"/>
                  </a:lnTo>
                  <a:lnTo>
                    <a:pt x="82" y="98"/>
                  </a:lnTo>
                  <a:lnTo>
                    <a:pt x="82" y="99"/>
                  </a:lnTo>
                  <a:lnTo>
                    <a:pt x="82" y="101"/>
                  </a:lnTo>
                  <a:lnTo>
                    <a:pt x="83" y="100"/>
                  </a:lnTo>
                  <a:lnTo>
                    <a:pt x="86" y="102"/>
                  </a:lnTo>
                  <a:lnTo>
                    <a:pt x="87" y="101"/>
                  </a:lnTo>
                  <a:lnTo>
                    <a:pt x="86" y="100"/>
                  </a:lnTo>
                  <a:close/>
                  <a:moveTo>
                    <a:pt x="71" y="96"/>
                  </a:moveTo>
                  <a:lnTo>
                    <a:pt x="71" y="93"/>
                  </a:lnTo>
                  <a:lnTo>
                    <a:pt x="70" y="91"/>
                  </a:lnTo>
                  <a:lnTo>
                    <a:pt x="68" y="90"/>
                  </a:lnTo>
                  <a:lnTo>
                    <a:pt x="67" y="86"/>
                  </a:lnTo>
                  <a:lnTo>
                    <a:pt x="66" y="83"/>
                  </a:lnTo>
                  <a:lnTo>
                    <a:pt x="65" y="81"/>
                  </a:lnTo>
                  <a:lnTo>
                    <a:pt x="64" y="77"/>
                  </a:lnTo>
                  <a:lnTo>
                    <a:pt x="64" y="79"/>
                  </a:lnTo>
                  <a:lnTo>
                    <a:pt x="64" y="80"/>
                  </a:lnTo>
                  <a:lnTo>
                    <a:pt x="65" y="82"/>
                  </a:lnTo>
                  <a:lnTo>
                    <a:pt x="66" y="86"/>
                  </a:lnTo>
                  <a:lnTo>
                    <a:pt x="67" y="87"/>
                  </a:lnTo>
                  <a:lnTo>
                    <a:pt x="66" y="88"/>
                  </a:lnTo>
                  <a:lnTo>
                    <a:pt x="65" y="88"/>
                  </a:lnTo>
                  <a:lnTo>
                    <a:pt x="64" y="89"/>
                  </a:lnTo>
                  <a:lnTo>
                    <a:pt x="66" y="90"/>
                  </a:lnTo>
                  <a:lnTo>
                    <a:pt x="69" y="92"/>
                  </a:lnTo>
                  <a:lnTo>
                    <a:pt x="71" y="97"/>
                  </a:lnTo>
                  <a:lnTo>
                    <a:pt x="71" y="96"/>
                  </a:lnTo>
                  <a:lnTo>
                    <a:pt x="71" y="96"/>
                  </a:lnTo>
                  <a:close/>
                  <a:moveTo>
                    <a:pt x="56" y="83"/>
                  </a:moveTo>
                  <a:lnTo>
                    <a:pt x="54" y="82"/>
                  </a:lnTo>
                  <a:lnTo>
                    <a:pt x="54" y="81"/>
                  </a:lnTo>
                  <a:lnTo>
                    <a:pt x="51" y="78"/>
                  </a:lnTo>
                  <a:lnTo>
                    <a:pt x="50" y="77"/>
                  </a:lnTo>
                  <a:lnTo>
                    <a:pt x="49" y="79"/>
                  </a:lnTo>
                  <a:lnTo>
                    <a:pt x="50" y="79"/>
                  </a:lnTo>
                  <a:lnTo>
                    <a:pt x="54" y="82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close/>
                  <a:moveTo>
                    <a:pt x="84" y="68"/>
                  </a:moveTo>
                  <a:lnTo>
                    <a:pt x="83" y="67"/>
                  </a:lnTo>
                  <a:lnTo>
                    <a:pt x="83" y="67"/>
                  </a:lnTo>
                  <a:lnTo>
                    <a:pt x="82" y="67"/>
                  </a:lnTo>
                  <a:lnTo>
                    <a:pt x="80" y="71"/>
                  </a:lnTo>
                  <a:lnTo>
                    <a:pt x="82" y="71"/>
                  </a:lnTo>
                  <a:lnTo>
                    <a:pt x="84" y="68"/>
                  </a:lnTo>
                  <a:lnTo>
                    <a:pt x="84" y="68"/>
                  </a:lnTo>
                  <a:close/>
                  <a:moveTo>
                    <a:pt x="17" y="64"/>
                  </a:moveTo>
                  <a:lnTo>
                    <a:pt x="16" y="62"/>
                  </a:lnTo>
                  <a:lnTo>
                    <a:pt x="15" y="63"/>
                  </a:lnTo>
                  <a:lnTo>
                    <a:pt x="14" y="63"/>
                  </a:lnTo>
                  <a:lnTo>
                    <a:pt x="13" y="64"/>
                  </a:lnTo>
                  <a:lnTo>
                    <a:pt x="12" y="64"/>
                  </a:lnTo>
                  <a:lnTo>
                    <a:pt x="11" y="64"/>
                  </a:lnTo>
                  <a:lnTo>
                    <a:pt x="12" y="68"/>
                  </a:lnTo>
                  <a:lnTo>
                    <a:pt x="13" y="69"/>
                  </a:lnTo>
                  <a:lnTo>
                    <a:pt x="14" y="73"/>
                  </a:lnTo>
                  <a:lnTo>
                    <a:pt x="15" y="73"/>
                  </a:lnTo>
                  <a:lnTo>
                    <a:pt x="14" y="75"/>
                  </a:lnTo>
                  <a:lnTo>
                    <a:pt x="18" y="75"/>
                  </a:lnTo>
                  <a:lnTo>
                    <a:pt x="19" y="73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1"/>
                  </a:lnTo>
                  <a:lnTo>
                    <a:pt x="19" y="70"/>
                  </a:lnTo>
                  <a:lnTo>
                    <a:pt x="19" y="66"/>
                  </a:lnTo>
                  <a:lnTo>
                    <a:pt x="18" y="64"/>
                  </a:lnTo>
                  <a:lnTo>
                    <a:pt x="16" y="67"/>
                  </a:lnTo>
                  <a:lnTo>
                    <a:pt x="15" y="66"/>
                  </a:lnTo>
                  <a:lnTo>
                    <a:pt x="17" y="64"/>
                  </a:lnTo>
                  <a:lnTo>
                    <a:pt x="17" y="64"/>
                  </a:lnTo>
                  <a:lnTo>
                    <a:pt x="17" y="64"/>
                  </a:lnTo>
                  <a:close/>
                  <a:moveTo>
                    <a:pt x="66" y="65"/>
                  </a:moveTo>
                  <a:lnTo>
                    <a:pt x="62" y="60"/>
                  </a:lnTo>
                  <a:lnTo>
                    <a:pt x="62" y="59"/>
                  </a:lnTo>
                  <a:lnTo>
                    <a:pt x="60" y="53"/>
                  </a:lnTo>
                  <a:lnTo>
                    <a:pt x="59" y="53"/>
                  </a:lnTo>
                  <a:lnTo>
                    <a:pt x="58" y="53"/>
                  </a:lnTo>
                  <a:lnTo>
                    <a:pt x="58" y="54"/>
                  </a:lnTo>
                  <a:lnTo>
                    <a:pt x="59" y="56"/>
                  </a:lnTo>
                  <a:lnTo>
                    <a:pt x="59" y="57"/>
                  </a:lnTo>
                  <a:lnTo>
                    <a:pt x="61" y="58"/>
                  </a:lnTo>
                  <a:lnTo>
                    <a:pt x="62" y="62"/>
                  </a:lnTo>
                  <a:lnTo>
                    <a:pt x="64" y="63"/>
                  </a:lnTo>
                  <a:lnTo>
                    <a:pt x="63" y="64"/>
                  </a:lnTo>
                  <a:lnTo>
                    <a:pt x="62" y="66"/>
                  </a:lnTo>
                  <a:lnTo>
                    <a:pt x="61" y="66"/>
                  </a:lnTo>
                  <a:lnTo>
                    <a:pt x="62" y="66"/>
                  </a:lnTo>
                  <a:lnTo>
                    <a:pt x="64" y="66"/>
                  </a:lnTo>
                  <a:lnTo>
                    <a:pt x="66" y="66"/>
                  </a:lnTo>
                  <a:lnTo>
                    <a:pt x="66" y="65"/>
                  </a:lnTo>
                  <a:lnTo>
                    <a:pt x="66" y="65"/>
                  </a:lnTo>
                  <a:close/>
                  <a:moveTo>
                    <a:pt x="27" y="46"/>
                  </a:moveTo>
                  <a:lnTo>
                    <a:pt x="29" y="45"/>
                  </a:lnTo>
                  <a:lnTo>
                    <a:pt x="29" y="45"/>
                  </a:lnTo>
                  <a:lnTo>
                    <a:pt x="28" y="44"/>
                  </a:lnTo>
                  <a:lnTo>
                    <a:pt x="25" y="44"/>
                  </a:lnTo>
                  <a:lnTo>
                    <a:pt x="23" y="45"/>
                  </a:lnTo>
                  <a:lnTo>
                    <a:pt x="22" y="46"/>
                  </a:lnTo>
                  <a:lnTo>
                    <a:pt x="23" y="46"/>
                  </a:lnTo>
                  <a:lnTo>
                    <a:pt x="24" y="46"/>
                  </a:lnTo>
                  <a:lnTo>
                    <a:pt x="27" y="46"/>
                  </a:lnTo>
                  <a:lnTo>
                    <a:pt x="27" y="46"/>
                  </a:lnTo>
                  <a:close/>
                  <a:moveTo>
                    <a:pt x="17" y="53"/>
                  </a:moveTo>
                  <a:lnTo>
                    <a:pt x="15" y="51"/>
                  </a:lnTo>
                  <a:lnTo>
                    <a:pt x="15" y="47"/>
                  </a:lnTo>
                  <a:lnTo>
                    <a:pt x="14" y="46"/>
                  </a:lnTo>
                  <a:lnTo>
                    <a:pt x="15" y="44"/>
                  </a:lnTo>
                  <a:lnTo>
                    <a:pt x="13" y="43"/>
                  </a:lnTo>
                  <a:lnTo>
                    <a:pt x="11" y="41"/>
                  </a:lnTo>
                  <a:lnTo>
                    <a:pt x="10" y="42"/>
                  </a:lnTo>
                  <a:lnTo>
                    <a:pt x="10" y="46"/>
                  </a:lnTo>
                  <a:lnTo>
                    <a:pt x="9" y="47"/>
                  </a:lnTo>
                  <a:lnTo>
                    <a:pt x="6" y="52"/>
                  </a:lnTo>
                  <a:lnTo>
                    <a:pt x="7" y="53"/>
                  </a:lnTo>
                  <a:lnTo>
                    <a:pt x="7" y="53"/>
                  </a:lnTo>
                  <a:lnTo>
                    <a:pt x="7" y="54"/>
                  </a:lnTo>
                  <a:lnTo>
                    <a:pt x="5" y="56"/>
                  </a:lnTo>
                  <a:lnTo>
                    <a:pt x="5" y="55"/>
                  </a:lnTo>
                  <a:lnTo>
                    <a:pt x="3" y="55"/>
                  </a:lnTo>
                  <a:lnTo>
                    <a:pt x="4" y="57"/>
                  </a:lnTo>
                  <a:lnTo>
                    <a:pt x="6" y="59"/>
                  </a:lnTo>
                  <a:lnTo>
                    <a:pt x="7" y="59"/>
                  </a:lnTo>
                  <a:lnTo>
                    <a:pt x="9" y="58"/>
                  </a:lnTo>
                  <a:lnTo>
                    <a:pt x="9" y="60"/>
                  </a:lnTo>
                  <a:lnTo>
                    <a:pt x="10" y="61"/>
                  </a:lnTo>
                  <a:lnTo>
                    <a:pt x="10" y="62"/>
                  </a:lnTo>
                  <a:lnTo>
                    <a:pt x="11" y="61"/>
                  </a:lnTo>
                  <a:lnTo>
                    <a:pt x="14" y="60"/>
                  </a:lnTo>
                  <a:lnTo>
                    <a:pt x="15" y="60"/>
                  </a:lnTo>
                  <a:lnTo>
                    <a:pt x="16" y="59"/>
                  </a:lnTo>
                  <a:lnTo>
                    <a:pt x="16" y="58"/>
                  </a:lnTo>
                  <a:lnTo>
                    <a:pt x="17" y="56"/>
                  </a:lnTo>
                  <a:lnTo>
                    <a:pt x="17" y="53"/>
                  </a:lnTo>
                  <a:lnTo>
                    <a:pt x="17" y="53"/>
                  </a:lnTo>
                  <a:close/>
                  <a:moveTo>
                    <a:pt x="43" y="34"/>
                  </a:moveTo>
                  <a:lnTo>
                    <a:pt x="42" y="32"/>
                  </a:lnTo>
                  <a:lnTo>
                    <a:pt x="41" y="32"/>
                  </a:lnTo>
                  <a:lnTo>
                    <a:pt x="41" y="34"/>
                  </a:lnTo>
                  <a:lnTo>
                    <a:pt x="40" y="36"/>
                  </a:lnTo>
                  <a:lnTo>
                    <a:pt x="42" y="35"/>
                  </a:lnTo>
                  <a:lnTo>
                    <a:pt x="43" y="36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49" y="41"/>
                  </a:lnTo>
                  <a:lnTo>
                    <a:pt x="51" y="43"/>
                  </a:lnTo>
                  <a:lnTo>
                    <a:pt x="51" y="46"/>
                  </a:lnTo>
                  <a:lnTo>
                    <a:pt x="50" y="47"/>
                  </a:lnTo>
                  <a:lnTo>
                    <a:pt x="49" y="50"/>
                  </a:lnTo>
                  <a:lnTo>
                    <a:pt x="47" y="50"/>
                  </a:lnTo>
                  <a:lnTo>
                    <a:pt x="47" y="51"/>
                  </a:lnTo>
                  <a:lnTo>
                    <a:pt x="48" y="52"/>
                  </a:lnTo>
                  <a:lnTo>
                    <a:pt x="49" y="53"/>
                  </a:lnTo>
                  <a:lnTo>
                    <a:pt x="50" y="54"/>
                  </a:lnTo>
                  <a:lnTo>
                    <a:pt x="50" y="51"/>
                  </a:lnTo>
                  <a:lnTo>
                    <a:pt x="51" y="48"/>
                  </a:lnTo>
                  <a:lnTo>
                    <a:pt x="52" y="44"/>
                  </a:lnTo>
                  <a:lnTo>
                    <a:pt x="52" y="43"/>
                  </a:lnTo>
                  <a:lnTo>
                    <a:pt x="51" y="42"/>
                  </a:lnTo>
                  <a:lnTo>
                    <a:pt x="48" y="38"/>
                  </a:lnTo>
                  <a:lnTo>
                    <a:pt x="45" y="37"/>
                  </a:lnTo>
                  <a:lnTo>
                    <a:pt x="43" y="34"/>
                  </a:lnTo>
                  <a:lnTo>
                    <a:pt x="43" y="34"/>
                  </a:lnTo>
                  <a:close/>
                  <a:moveTo>
                    <a:pt x="10" y="4"/>
                  </a:moveTo>
                  <a:lnTo>
                    <a:pt x="8" y="4"/>
                  </a:lnTo>
                  <a:lnTo>
                    <a:pt x="7" y="4"/>
                  </a:lnTo>
                  <a:lnTo>
                    <a:pt x="7" y="5"/>
                  </a:lnTo>
                  <a:lnTo>
                    <a:pt x="7" y="6"/>
                  </a:lnTo>
                  <a:lnTo>
                    <a:pt x="5" y="8"/>
                  </a:lnTo>
                  <a:lnTo>
                    <a:pt x="3" y="8"/>
                  </a:lnTo>
                  <a:lnTo>
                    <a:pt x="1" y="6"/>
                  </a:lnTo>
                  <a:lnTo>
                    <a:pt x="0" y="5"/>
                  </a:lnTo>
                  <a:lnTo>
                    <a:pt x="2" y="10"/>
                  </a:lnTo>
                  <a:lnTo>
                    <a:pt x="3" y="10"/>
                  </a:lnTo>
                  <a:lnTo>
                    <a:pt x="5" y="10"/>
                  </a:lnTo>
                  <a:lnTo>
                    <a:pt x="9" y="9"/>
                  </a:lnTo>
                  <a:lnTo>
                    <a:pt x="15" y="7"/>
                  </a:lnTo>
                  <a:lnTo>
                    <a:pt x="21" y="6"/>
                  </a:lnTo>
                  <a:lnTo>
                    <a:pt x="21" y="5"/>
                  </a:lnTo>
                  <a:lnTo>
                    <a:pt x="21" y="4"/>
                  </a:lnTo>
                  <a:lnTo>
                    <a:pt x="18" y="5"/>
                  </a:lnTo>
                  <a:lnTo>
                    <a:pt x="15" y="4"/>
                  </a:lnTo>
                  <a:lnTo>
                    <a:pt x="14" y="5"/>
                  </a:lnTo>
                  <a:lnTo>
                    <a:pt x="12" y="5"/>
                  </a:lnTo>
                  <a:lnTo>
                    <a:pt x="10" y="4"/>
                  </a:lnTo>
                  <a:close/>
                  <a:moveTo>
                    <a:pt x="32" y="24"/>
                  </a:moveTo>
                  <a:lnTo>
                    <a:pt x="33" y="23"/>
                  </a:lnTo>
                  <a:lnTo>
                    <a:pt x="35" y="17"/>
                  </a:lnTo>
                  <a:lnTo>
                    <a:pt x="38" y="14"/>
                  </a:lnTo>
                  <a:lnTo>
                    <a:pt x="38" y="10"/>
                  </a:lnTo>
                  <a:lnTo>
                    <a:pt x="36" y="8"/>
                  </a:lnTo>
                  <a:lnTo>
                    <a:pt x="35" y="7"/>
                  </a:lnTo>
                  <a:lnTo>
                    <a:pt x="34" y="6"/>
                  </a:lnTo>
                  <a:lnTo>
                    <a:pt x="35" y="5"/>
                  </a:lnTo>
                  <a:lnTo>
                    <a:pt x="34" y="5"/>
                  </a:lnTo>
                  <a:lnTo>
                    <a:pt x="33" y="4"/>
                  </a:lnTo>
                  <a:lnTo>
                    <a:pt x="31" y="3"/>
                  </a:lnTo>
                  <a:lnTo>
                    <a:pt x="29" y="1"/>
                  </a:lnTo>
                  <a:lnTo>
                    <a:pt x="28" y="1"/>
                  </a:lnTo>
                  <a:lnTo>
                    <a:pt x="25" y="0"/>
                  </a:lnTo>
                  <a:lnTo>
                    <a:pt x="24" y="0"/>
                  </a:lnTo>
                  <a:lnTo>
                    <a:pt x="22" y="1"/>
                  </a:lnTo>
                  <a:lnTo>
                    <a:pt x="25" y="1"/>
                  </a:lnTo>
                  <a:lnTo>
                    <a:pt x="30" y="2"/>
                  </a:lnTo>
                  <a:lnTo>
                    <a:pt x="33" y="7"/>
                  </a:lnTo>
                  <a:lnTo>
                    <a:pt x="35" y="9"/>
                  </a:lnTo>
                  <a:lnTo>
                    <a:pt x="35" y="10"/>
                  </a:lnTo>
                  <a:lnTo>
                    <a:pt x="34" y="12"/>
                  </a:lnTo>
                  <a:lnTo>
                    <a:pt x="34" y="14"/>
                  </a:lnTo>
                  <a:lnTo>
                    <a:pt x="33" y="16"/>
                  </a:lnTo>
                  <a:lnTo>
                    <a:pt x="33" y="18"/>
                  </a:lnTo>
                  <a:lnTo>
                    <a:pt x="31" y="19"/>
                  </a:lnTo>
                  <a:lnTo>
                    <a:pt x="29" y="21"/>
                  </a:lnTo>
                  <a:lnTo>
                    <a:pt x="30" y="22"/>
                  </a:lnTo>
                  <a:lnTo>
                    <a:pt x="31" y="25"/>
                  </a:lnTo>
                  <a:lnTo>
                    <a:pt x="32" y="24"/>
                  </a:lnTo>
                  <a:lnTo>
                    <a:pt x="32" y="24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3" name="Bermuda">
              <a:extLst>
                <a:ext uri="{FF2B5EF4-FFF2-40B4-BE49-F238E27FC236}">
                  <a16:creationId xmlns:a16="http://schemas.microsoft.com/office/drawing/2014/main" id="{D8FDC3F5-A866-4308-9403-426CDF84A1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7794" y="2841399"/>
              <a:ext cx="4762" cy="4763"/>
            </a:xfrm>
            <a:custGeom>
              <a:avLst/>
              <a:gdLst>
                <a:gd name="T0" fmla="*/ 2 w 3"/>
                <a:gd name="T1" fmla="*/ 2 h 3"/>
                <a:gd name="T2" fmla="*/ 3 w 3"/>
                <a:gd name="T3" fmla="*/ 0 h 3"/>
                <a:gd name="T4" fmla="*/ 3 w 3"/>
                <a:gd name="T5" fmla="*/ 0 h 3"/>
                <a:gd name="T6" fmla="*/ 1 w 3"/>
                <a:gd name="T7" fmla="*/ 2 h 3"/>
                <a:gd name="T8" fmla="*/ 0 w 3"/>
                <a:gd name="T9" fmla="*/ 3 h 3"/>
                <a:gd name="T10" fmla="*/ 0 w 3"/>
                <a:gd name="T11" fmla="*/ 3 h 3"/>
                <a:gd name="T12" fmla="*/ 0 w 3"/>
                <a:gd name="T13" fmla="*/ 3 h 3"/>
                <a:gd name="T14" fmla="*/ 2 w 3"/>
                <a:gd name="T1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3">
                  <a:moveTo>
                    <a:pt x="2" y="2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1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4" name="Barbados">
              <a:extLst>
                <a:ext uri="{FF2B5EF4-FFF2-40B4-BE49-F238E27FC236}">
                  <a16:creationId xmlns:a16="http://schemas.microsoft.com/office/drawing/2014/main" id="{928BED16-8DA2-451D-89C7-03E548432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3519" y="3560537"/>
              <a:ext cx="6350" cy="7938"/>
            </a:xfrm>
            <a:custGeom>
              <a:avLst/>
              <a:gdLst>
                <a:gd name="T0" fmla="*/ 3 w 4"/>
                <a:gd name="T1" fmla="*/ 5 h 5"/>
                <a:gd name="T2" fmla="*/ 4 w 4"/>
                <a:gd name="T3" fmla="*/ 4 h 5"/>
                <a:gd name="T4" fmla="*/ 3 w 4"/>
                <a:gd name="T5" fmla="*/ 3 h 5"/>
                <a:gd name="T6" fmla="*/ 2 w 4"/>
                <a:gd name="T7" fmla="*/ 0 h 5"/>
                <a:gd name="T8" fmla="*/ 0 w 4"/>
                <a:gd name="T9" fmla="*/ 0 h 5"/>
                <a:gd name="T10" fmla="*/ 0 w 4"/>
                <a:gd name="T11" fmla="*/ 4 h 5"/>
                <a:gd name="T12" fmla="*/ 1 w 4"/>
                <a:gd name="T13" fmla="*/ 4 h 5"/>
                <a:gd name="T14" fmla="*/ 3 w 4"/>
                <a:gd name="T15" fmla="*/ 5 h 5"/>
                <a:gd name="T16" fmla="*/ 3 w 4"/>
                <a:gd name="T17" fmla="*/ 5 h 5"/>
                <a:gd name="T18" fmla="*/ 3 w 4"/>
                <a:gd name="T1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5">
                  <a:moveTo>
                    <a:pt x="3" y="5"/>
                  </a:moveTo>
                  <a:lnTo>
                    <a:pt x="4" y="4"/>
                  </a:lnTo>
                  <a:lnTo>
                    <a:pt x="3" y="3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1" y="4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5" name="Comoros">
              <a:extLst>
                <a:ext uri="{FF2B5EF4-FFF2-40B4-BE49-F238E27FC236}">
                  <a16:creationId xmlns:a16="http://schemas.microsoft.com/office/drawing/2014/main" id="{C9E7DD26-055B-42C4-A461-C87CA31A04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25531" y="4490812"/>
              <a:ext cx="42862" cy="38100"/>
            </a:xfrm>
            <a:custGeom>
              <a:avLst/>
              <a:gdLst>
                <a:gd name="T0" fmla="*/ 12 w 27"/>
                <a:gd name="T1" fmla="*/ 23 h 24"/>
                <a:gd name="T2" fmla="*/ 11 w 27"/>
                <a:gd name="T3" fmla="*/ 21 h 24"/>
                <a:gd name="T4" fmla="*/ 9 w 27"/>
                <a:gd name="T5" fmla="*/ 21 h 24"/>
                <a:gd name="T6" fmla="*/ 9 w 27"/>
                <a:gd name="T7" fmla="*/ 22 h 24"/>
                <a:gd name="T8" fmla="*/ 10 w 27"/>
                <a:gd name="T9" fmla="*/ 23 h 24"/>
                <a:gd name="T10" fmla="*/ 13 w 27"/>
                <a:gd name="T11" fmla="*/ 24 h 24"/>
                <a:gd name="T12" fmla="*/ 12 w 27"/>
                <a:gd name="T13" fmla="*/ 23 h 24"/>
                <a:gd name="T14" fmla="*/ 12 w 27"/>
                <a:gd name="T15" fmla="*/ 23 h 24"/>
                <a:gd name="T16" fmla="*/ 27 w 27"/>
                <a:gd name="T17" fmla="*/ 17 h 24"/>
                <a:gd name="T18" fmla="*/ 27 w 27"/>
                <a:gd name="T19" fmla="*/ 17 h 24"/>
                <a:gd name="T20" fmla="*/ 26 w 27"/>
                <a:gd name="T21" fmla="*/ 17 h 24"/>
                <a:gd name="T22" fmla="*/ 25 w 27"/>
                <a:gd name="T23" fmla="*/ 18 h 24"/>
                <a:gd name="T24" fmla="*/ 25 w 27"/>
                <a:gd name="T25" fmla="*/ 19 h 24"/>
                <a:gd name="T26" fmla="*/ 24 w 27"/>
                <a:gd name="T27" fmla="*/ 19 h 24"/>
                <a:gd name="T28" fmla="*/ 23 w 27"/>
                <a:gd name="T29" fmla="*/ 19 h 24"/>
                <a:gd name="T30" fmla="*/ 21 w 27"/>
                <a:gd name="T31" fmla="*/ 19 h 24"/>
                <a:gd name="T32" fmla="*/ 25 w 27"/>
                <a:gd name="T33" fmla="*/ 21 h 24"/>
                <a:gd name="T34" fmla="*/ 27 w 27"/>
                <a:gd name="T35" fmla="*/ 23 h 24"/>
                <a:gd name="T36" fmla="*/ 27 w 27"/>
                <a:gd name="T37" fmla="*/ 23 h 24"/>
                <a:gd name="T38" fmla="*/ 27 w 27"/>
                <a:gd name="T39" fmla="*/ 23 h 24"/>
                <a:gd name="T40" fmla="*/ 27 w 27"/>
                <a:gd name="T41" fmla="*/ 21 h 24"/>
                <a:gd name="T42" fmla="*/ 27 w 27"/>
                <a:gd name="T43" fmla="*/ 17 h 24"/>
                <a:gd name="T44" fmla="*/ 27 w 27"/>
                <a:gd name="T45" fmla="*/ 17 h 24"/>
                <a:gd name="T46" fmla="*/ 6 w 27"/>
                <a:gd name="T47" fmla="*/ 13 h 24"/>
                <a:gd name="T48" fmla="*/ 6 w 27"/>
                <a:gd name="T49" fmla="*/ 11 h 24"/>
                <a:gd name="T50" fmla="*/ 6 w 27"/>
                <a:gd name="T51" fmla="*/ 9 h 24"/>
                <a:gd name="T52" fmla="*/ 4 w 27"/>
                <a:gd name="T53" fmla="*/ 6 h 24"/>
                <a:gd name="T54" fmla="*/ 4 w 27"/>
                <a:gd name="T55" fmla="*/ 1 h 24"/>
                <a:gd name="T56" fmla="*/ 4 w 27"/>
                <a:gd name="T57" fmla="*/ 0 h 24"/>
                <a:gd name="T58" fmla="*/ 2 w 27"/>
                <a:gd name="T59" fmla="*/ 0 h 24"/>
                <a:gd name="T60" fmla="*/ 2 w 27"/>
                <a:gd name="T61" fmla="*/ 0 h 24"/>
                <a:gd name="T62" fmla="*/ 2 w 27"/>
                <a:gd name="T63" fmla="*/ 2 h 24"/>
                <a:gd name="T64" fmla="*/ 0 w 27"/>
                <a:gd name="T65" fmla="*/ 9 h 24"/>
                <a:gd name="T66" fmla="*/ 2 w 27"/>
                <a:gd name="T67" fmla="*/ 11 h 24"/>
                <a:gd name="T68" fmla="*/ 3 w 27"/>
                <a:gd name="T69" fmla="*/ 11 h 24"/>
                <a:gd name="T70" fmla="*/ 5 w 27"/>
                <a:gd name="T71" fmla="*/ 13 h 24"/>
                <a:gd name="T72" fmla="*/ 6 w 27"/>
                <a:gd name="T73" fmla="*/ 13 h 24"/>
                <a:gd name="T74" fmla="*/ 6 w 27"/>
                <a:gd name="T75" fmla="*/ 1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7" h="24">
                  <a:moveTo>
                    <a:pt x="12" y="23"/>
                  </a:moveTo>
                  <a:lnTo>
                    <a:pt x="11" y="21"/>
                  </a:lnTo>
                  <a:lnTo>
                    <a:pt x="9" y="21"/>
                  </a:lnTo>
                  <a:lnTo>
                    <a:pt x="9" y="22"/>
                  </a:lnTo>
                  <a:lnTo>
                    <a:pt x="10" y="23"/>
                  </a:lnTo>
                  <a:lnTo>
                    <a:pt x="13" y="24"/>
                  </a:lnTo>
                  <a:lnTo>
                    <a:pt x="12" y="23"/>
                  </a:lnTo>
                  <a:lnTo>
                    <a:pt x="12" y="23"/>
                  </a:lnTo>
                  <a:close/>
                  <a:moveTo>
                    <a:pt x="27" y="17"/>
                  </a:moveTo>
                  <a:lnTo>
                    <a:pt x="27" y="17"/>
                  </a:lnTo>
                  <a:lnTo>
                    <a:pt x="26" y="17"/>
                  </a:lnTo>
                  <a:lnTo>
                    <a:pt x="25" y="18"/>
                  </a:lnTo>
                  <a:lnTo>
                    <a:pt x="25" y="19"/>
                  </a:lnTo>
                  <a:lnTo>
                    <a:pt x="24" y="19"/>
                  </a:lnTo>
                  <a:lnTo>
                    <a:pt x="23" y="19"/>
                  </a:lnTo>
                  <a:lnTo>
                    <a:pt x="21" y="19"/>
                  </a:lnTo>
                  <a:lnTo>
                    <a:pt x="25" y="21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7" y="21"/>
                  </a:lnTo>
                  <a:lnTo>
                    <a:pt x="27" y="17"/>
                  </a:lnTo>
                  <a:lnTo>
                    <a:pt x="27" y="17"/>
                  </a:lnTo>
                  <a:close/>
                  <a:moveTo>
                    <a:pt x="6" y="13"/>
                  </a:moveTo>
                  <a:lnTo>
                    <a:pt x="6" y="11"/>
                  </a:lnTo>
                  <a:lnTo>
                    <a:pt x="6" y="9"/>
                  </a:lnTo>
                  <a:lnTo>
                    <a:pt x="4" y="6"/>
                  </a:lnTo>
                  <a:lnTo>
                    <a:pt x="4" y="1"/>
                  </a:lnTo>
                  <a:lnTo>
                    <a:pt x="4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9"/>
                  </a:lnTo>
                  <a:lnTo>
                    <a:pt x="2" y="11"/>
                  </a:lnTo>
                  <a:lnTo>
                    <a:pt x="3" y="11"/>
                  </a:lnTo>
                  <a:lnTo>
                    <a:pt x="5" y="13"/>
                  </a:lnTo>
                  <a:lnTo>
                    <a:pt x="6" y="13"/>
                  </a:lnTo>
                  <a:lnTo>
                    <a:pt x="6" y="13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6" name="Cape Verde">
              <a:extLst>
                <a:ext uri="{FF2B5EF4-FFF2-40B4-BE49-F238E27FC236}">
                  <a16:creationId xmlns:a16="http://schemas.microsoft.com/office/drawing/2014/main" id="{E2DEEAB0-6CF6-408C-9DB5-24CA872001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61756" y="3412899"/>
              <a:ext cx="87312" cy="90488"/>
            </a:xfrm>
            <a:custGeom>
              <a:avLst/>
              <a:gdLst>
                <a:gd name="T0" fmla="*/ 20 w 55"/>
                <a:gd name="T1" fmla="*/ 55 h 57"/>
                <a:gd name="T2" fmla="*/ 18 w 55"/>
                <a:gd name="T3" fmla="*/ 52 h 57"/>
                <a:gd name="T4" fmla="*/ 16 w 55"/>
                <a:gd name="T5" fmla="*/ 55 h 57"/>
                <a:gd name="T6" fmla="*/ 18 w 55"/>
                <a:gd name="T7" fmla="*/ 56 h 57"/>
                <a:gd name="T8" fmla="*/ 20 w 55"/>
                <a:gd name="T9" fmla="*/ 55 h 57"/>
                <a:gd name="T10" fmla="*/ 44 w 55"/>
                <a:gd name="T11" fmla="*/ 50 h 57"/>
                <a:gd name="T12" fmla="*/ 45 w 55"/>
                <a:gd name="T13" fmla="*/ 46 h 57"/>
                <a:gd name="T14" fmla="*/ 43 w 55"/>
                <a:gd name="T15" fmla="*/ 45 h 57"/>
                <a:gd name="T16" fmla="*/ 43 w 55"/>
                <a:gd name="T17" fmla="*/ 47 h 57"/>
                <a:gd name="T18" fmla="*/ 43 w 55"/>
                <a:gd name="T19" fmla="*/ 50 h 57"/>
                <a:gd name="T20" fmla="*/ 44 w 55"/>
                <a:gd name="T21" fmla="*/ 50 h 57"/>
                <a:gd name="T22" fmla="*/ 36 w 55"/>
                <a:gd name="T23" fmla="*/ 49 h 57"/>
                <a:gd name="T24" fmla="*/ 33 w 55"/>
                <a:gd name="T25" fmla="*/ 46 h 57"/>
                <a:gd name="T26" fmla="*/ 32 w 55"/>
                <a:gd name="T27" fmla="*/ 44 h 57"/>
                <a:gd name="T28" fmla="*/ 32 w 55"/>
                <a:gd name="T29" fmla="*/ 47 h 57"/>
                <a:gd name="T30" fmla="*/ 32 w 55"/>
                <a:gd name="T31" fmla="*/ 51 h 57"/>
                <a:gd name="T32" fmla="*/ 34 w 55"/>
                <a:gd name="T33" fmla="*/ 55 h 57"/>
                <a:gd name="T34" fmla="*/ 38 w 55"/>
                <a:gd name="T35" fmla="*/ 53 h 57"/>
                <a:gd name="T36" fmla="*/ 50 w 55"/>
                <a:gd name="T37" fmla="*/ 24 h 57"/>
                <a:gd name="T38" fmla="*/ 48 w 55"/>
                <a:gd name="T39" fmla="*/ 27 h 57"/>
                <a:gd name="T40" fmla="*/ 52 w 55"/>
                <a:gd name="T41" fmla="*/ 29 h 57"/>
                <a:gd name="T42" fmla="*/ 55 w 55"/>
                <a:gd name="T43" fmla="*/ 26 h 57"/>
                <a:gd name="T44" fmla="*/ 53 w 55"/>
                <a:gd name="T45" fmla="*/ 24 h 57"/>
                <a:gd name="T46" fmla="*/ 52 w 55"/>
                <a:gd name="T47" fmla="*/ 24 h 57"/>
                <a:gd name="T48" fmla="*/ 50 w 55"/>
                <a:gd name="T49" fmla="*/ 24 h 57"/>
                <a:gd name="T50" fmla="*/ 22 w 55"/>
                <a:gd name="T51" fmla="*/ 13 h 57"/>
                <a:gd name="T52" fmla="*/ 19 w 55"/>
                <a:gd name="T53" fmla="*/ 12 h 57"/>
                <a:gd name="T54" fmla="*/ 21 w 55"/>
                <a:gd name="T55" fmla="*/ 17 h 57"/>
                <a:gd name="T56" fmla="*/ 22 w 55"/>
                <a:gd name="T57" fmla="*/ 14 h 57"/>
                <a:gd name="T58" fmla="*/ 27 w 55"/>
                <a:gd name="T59" fmla="*/ 15 h 57"/>
                <a:gd name="T60" fmla="*/ 26 w 55"/>
                <a:gd name="T61" fmla="*/ 14 h 57"/>
                <a:gd name="T62" fmla="*/ 51 w 55"/>
                <a:gd name="T63" fmla="*/ 13 h 57"/>
                <a:gd name="T64" fmla="*/ 50 w 55"/>
                <a:gd name="T65" fmla="*/ 9 h 57"/>
                <a:gd name="T66" fmla="*/ 48 w 55"/>
                <a:gd name="T67" fmla="*/ 10 h 57"/>
                <a:gd name="T68" fmla="*/ 49 w 55"/>
                <a:gd name="T69" fmla="*/ 12 h 57"/>
                <a:gd name="T70" fmla="*/ 51 w 55"/>
                <a:gd name="T71" fmla="*/ 13 h 57"/>
                <a:gd name="T72" fmla="*/ 9 w 55"/>
                <a:gd name="T73" fmla="*/ 10 h 57"/>
                <a:gd name="T74" fmla="*/ 8 w 55"/>
                <a:gd name="T75" fmla="*/ 7 h 57"/>
                <a:gd name="T76" fmla="*/ 5 w 55"/>
                <a:gd name="T77" fmla="*/ 8 h 57"/>
                <a:gd name="T78" fmla="*/ 7 w 55"/>
                <a:gd name="T79" fmla="*/ 10 h 57"/>
                <a:gd name="T80" fmla="*/ 9 w 55"/>
                <a:gd name="T81" fmla="*/ 10 h 57"/>
                <a:gd name="T82" fmla="*/ 4 w 55"/>
                <a:gd name="T83" fmla="*/ 6 h 57"/>
                <a:gd name="T84" fmla="*/ 7 w 55"/>
                <a:gd name="T85" fmla="*/ 3 h 57"/>
                <a:gd name="T86" fmla="*/ 5 w 55"/>
                <a:gd name="T87" fmla="*/ 0 h 57"/>
                <a:gd name="T88" fmla="*/ 0 w 55"/>
                <a:gd name="T89" fmla="*/ 3 h 57"/>
                <a:gd name="T90" fmla="*/ 1 w 55"/>
                <a:gd name="T91" fmla="*/ 7 h 57"/>
                <a:gd name="T92" fmla="*/ 4 w 55"/>
                <a:gd name="T93" fmla="*/ 6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5" h="57">
                  <a:moveTo>
                    <a:pt x="20" y="55"/>
                  </a:moveTo>
                  <a:lnTo>
                    <a:pt x="20" y="55"/>
                  </a:lnTo>
                  <a:lnTo>
                    <a:pt x="19" y="52"/>
                  </a:lnTo>
                  <a:lnTo>
                    <a:pt x="18" y="52"/>
                  </a:lnTo>
                  <a:lnTo>
                    <a:pt x="17" y="54"/>
                  </a:lnTo>
                  <a:lnTo>
                    <a:pt x="16" y="55"/>
                  </a:lnTo>
                  <a:lnTo>
                    <a:pt x="17" y="55"/>
                  </a:lnTo>
                  <a:lnTo>
                    <a:pt x="18" y="56"/>
                  </a:lnTo>
                  <a:lnTo>
                    <a:pt x="18" y="57"/>
                  </a:lnTo>
                  <a:lnTo>
                    <a:pt x="20" y="55"/>
                  </a:lnTo>
                  <a:lnTo>
                    <a:pt x="20" y="55"/>
                  </a:lnTo>
                  <a:close/>
                  <a:moveTo>
                    <a:pt x="44" y="50"/>
                  </a:moveTo>
                  <a:lnTo>
                    <a:pt x="45" y="49"/>
                  </a:lnTo>
                  <a:lnTo>
                    <a:pt x="45" y="46"/>
                  </a:lnTo>
                  <a:lnTo>
                    <a:pt x="45" y="45"/>
                  </a:lnTo>
                  <a:lnTo>
                    <a:pt x="43" y="45"/>
                  </a:lnTo>
                  <a:lnTo>
                    <a:pt x="43" y="46"/>
                  </a:lnTo>
                  <a:lnTo>
                    <a:pt x="43" y="47"/>
                  </a:lnTo>
                  <a:lnTo>
                    <a:pt x="43" y="48"/>
                  </a:lnTo>
                  <a:lnTo>
                    <a:pt x="43" y="50"/>
                  </a:lnTo>
                  <a:lnTo>
                    <a:pt x="44" y="50"/>
                  </a:lnTo>
                  <a:lnTo>
                    <a:pt x="44" y="50"/>
                  </a:lnTo>
                  <a:close/>
                  <a:moveTo>
                    <a:pt x="38" y="53"/>
                  </a:moveTo>
                  <a:lnTo>
                    <a:pt x="36" y="49"/>
                  </a:lnTo>
                  <a:lnTo>
                    <a:pt x="35" y="49"/>
                  </a:lnTo>
                  <a:lnTo>
                    <a:pt x="33" y="46"/>
                  </a:lnTo>
                  <a:lnTo>
                    <a:pt x="33" y="45"/>
                  </a:lnTo>
                  <a:lnTo>
                    <a:pt x="32" y="44"/>
                  </a:lnTo>
                  <a:lnTo>
                    <a:pt x="32" y="45"/>
                  </a:lnTo>
                  <a:lnTo>
                    <a:pt x="32" y="47"/>
                  </a:lnTo>
                  <a:lnTo>
                    <a:pt x="32" y="49"/>
                  </a:lnTo>
                  <a:lnTo>
                    <a:pt x="32" y="51"/>
                  </a:lnTo>
                  <a:lnTo>
                    <a:pt x="32" y="54"/>
                  </a:lnTo>
                  <a:lnTo>
                    <a:pt x="34" y="55"/>
                  </a:lnTo>
                  <a:lnTo>
                    <a:pt x="37" y="55"/>
                  </a:lnTo>
                  <a:lnTo>
                    <a:pt x="38" y="53"/>
                  </a:lnTo>
                  <a:lnTo>
                    <a:pt x="38" y="53"/>
                  </a:lnTo>
                  <a:close/>
                  <a:moveTo>
                    <a:pt x="50" y="24"/>
                  </a:moveTo>
                  <a:lnTo>
                    <a:pt x="50" y="26"/>
                  </a:lnTo>
                  <a:lnTo>
                    <a:pt x="48" y="27"/>
                  </a:lnTo>
                  <a:lnTo>
                    <a:pt x="50" y="29"/>
                  </a:lnTo>
                  <a:lnTo>
                    <a:pt x="52" y="29"/>
                  </a:lnTo>
                  <a:lnTo>
                    <a:pt x="54" y="27"/>
                  </a:lnTo>
                  <a:lnTo>
                    <a:pt x="55" y="26"/>
                  </a:lnTo>
                  <a:lnTo>
                    <a:pt x="54" y="25"/>
                  </a:lnTo>
                  <a:lnTo>
                    <a:pt x="53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0" y="24"/>
                  </a:lnTo>
                  <a:lnTo>
                    <a:pt x="50" y="24"/>
                  </a:lnTo>
                  <a:close/>
                  <a:moveTo>
                    <a:pt x="26" y="14"/>
                  </a:moveTo>
                  <a:lnTo>
                    <a:pt x="22" y="13"/>
                  </a:lnTo>
                  <a:lnTo>
                    <a:pt x="20" y="12"/>
                  </a:lnTo>
                  <a:lnTo>
                    <a:pt x="19" y="12"/>
                  </a:lnTo>
                  <a:lnTo>
                    <a:pt x="19" y="14"/>
                  </a:lnTo>
                  <a:lnTo>
                    <a:pt x="21" y="17"/>
                  </a:lnTo>
                  <a:lnTo>
                    <a:pt x="22" y="15"/>
                  </a:lnTo>
                  <a:lnTo>
                    <a:pt x="22" y="14"/>
                  </a:lnTo>
                  <a:lnTo>
                    <a:pt x="26" y="15"/>
                  </a:lnTo>
                  <a:lnTo>
                    <a:pt x="27" y="15"/>
                  </a:lnTo>
                  <a:lnTo>
                    <a:pt x="27" y="14"/>
                  </a:lnTo>
                  <a:lnTo>
                    <a:pt x="26" y="14"/>
                  </a:lnTo>
                  <a:lnTo>
                    <a:pt x="26" y="14"/>
                  </a:lnTo>
                  <a:close/>
                  <a:moveTo>
                    <a:pt x="51" y="13"/>
                  </a:moveTo>
                  <a:lnTo>
                    <a:pt x="50" y="12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48" y="10"/>
                  </a:lnTo>
                  <a:lnTo>
                    <a:pt x="49" y="12"/>
                  </a:lnTo>
                  <a:lnTo>
                    <a:pt x="49" y="12"/>
                  </a:lnTo>
                  <a:lnTo>
                    <a:pt x="50" y="14"/>
                  </a:lnTo>
                  <a:lnTo>
                    <a:pt x="51" y="13"/>
                  </a:lnTo>
                  <a:lnTo>
                    <a:pt x="51" y="13"/>
                  </a:lnTo>
                  <a:close/>
                  <a:moveTo>
                    <a:pt x="9" y="10"/>
                  </a:moveTo>
                  <a:lnTo>
                    <a:pt x="9" y="9"/>
                  </a:lnTo>
                  <a:lnTo>
                    <a:pt x="8" y="7"/>
                  </a:lnTo>
                  <a:lnTo>
                    <a:pt x="7" y="7"/>
                  </a:lnTo>
                  <a:lnTo>
                    <a:pt x="5" y="8"/>
                  </a:lnTo>
                  <a:lnTo>
                    <a:pt x="5" y="9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9" y="10"/>
                  </a:lnTo>
                  <a:lnTo>
                    <a:pt x="9" y="10"/>
                  </a:lnTo>
                  <a:close/>
                  <a:moveTo>
                    <a:pt x="4" y="6"/>
                  </a:moveTo>
                  <a:lnTo>
                    <a:pt x="7" y="4"/>
                  </a:lnTo>
                  <a:lnTo>
                    <a:pt x="7" y="3"/>
                  </a:lnTo>
                  <a:lnTo>
                    <a:pt x="7" y="1"/>
                  </a:lnTo>
                  <a:lnTo>
                    <a:pt x="5" y="0"/>
                  </a:lnTo>
                  <a:lnTo>
                    <a:pt x="1" y="3"/>
                  </a:lnTo>
                  <a:lnTo>
                    <a:pt x="0" y="3"/>
                  </a:lnTo>
                  <a:lnTo>
                    <a:pt x="1" y="5"/>
                  </a:lnTo>
                  <a:lnTo>
                    <a:pt x="1" y="7"/>
                  </a:lnTo>
                  <a:lnTo>
                    <a:pt x="2" y="7"/>
                  </a:lnTo>
                  <a:lnTo>
                    <a:pt x="4" y="6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7" name="Cayman Islands">
              <a:extLst>
                <a:ext uri="{FF2B5EF4-FFF2-40B4-BE49-F238E27FC236}">
                  <a16:creationId xmlns:a16="http://schemas.microsoft.com/office/drawing/2014/main" id="{2650D818-7E25-490E-8B33-370B2E22C0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8194" y="3317648"/>
              <a:ext cx="55562" cy="17463"/>
            </a:xfrm>
            <a:custGeom>
              <a:avLst/>
              <a:gdLst>
                <a:gd name="T0" fmla="*/ 1 w 35"/>
                <a:gd name="T1" fmla="*/ 9 h 11"/>
                <a:gd name="T2" fmla="*/ 1 w 35"/>
                <a:gd name="T3" fmla="*/ 8 h 11"/>
                <a:gd name="T4" fmla="*/ 0 w 35"/>
                <a:gd name="T5" fmla="*/ 9 h 11"/>
                <a:gd name="T6" fmla="*/ 0 w 35"/>
                <a:gd name="T7" fmla="*/ 11 h 11"/>
                <a:gd name="T8" fmla="*/ 2 w 35"/>
                <a:gd name="T9" fmla="*/ 11 h 11"/>
                <a:gd name="T10" fmla="*/ 3 w 35"/>
                <a:gd name="T11" fmla="*/ 11 h 11"/>
                <a:gd name="T12" fmla="*/ 4 w 35"/>
                <a:gd name="T13" fmla="*/ 10 h 11"/>
                <a:gd name="T14" fmla="*/ 6 w 35"/>
                <a:gd name="T15" fmla="*/ 10 h 11"/>
                <a:gd name="T16" fmla="*/ 5 w 35"/>
                <a:gd name="T17" fmla="*/ 9 h 11"/>
                <a:gd name="T18" fmla="*/ 3 w 35"/>
                <a:gd name="T19" fmla="*/ 9 h 11"/>
                <a:gd name="T20" fmla="*/ 3 w 35"/>
                <a:gd name="T21" fmla="*/ 9 h 11"/>
                <a:gd name="T22" fmla="*/ 2 w 35"/>
                <a:gd name="T23" fmla="*/ 10 h 11"/>
                <a:gd name="T24" fmla="*/ 1 w 35"/>
                <a:gd name="T25" fmla="*/ 9 h 11"/>
                <a:gd name="T26" fmla="*/ 1 w 35"/>
                <a:gd name="T27" fmla="*/ 9 h 11"/>
                <a:gd name="T28" fmla="*/ 31 w 35"/>
                <a:gd name="T29" fmla="*/ 1 h 11"/>
                <a:gd name="T30" fmla="*/ 31 w 35"/>
                <a:gd name="T31" fmla="*/ 1 h 11"/>
                <a:gd name="T32" fmla="*/ 31 w 35"/>
                <a:gd name="T33" fmla="*/ 1 h 11"/>
                <a:gd name="T34" fmla="*/ 30 w 35"/>
                <a:gd name="T35" fmla="*/ 1 h 11"/>
                <a:gd name="T36" fmla="*/ 29 w 35"/>
                <a:gd name="T37" fmla="*/ 1 h 11"/>
                <a:gd name="T38" fmla="*/ 29 w 35"/>
                <a:gd name="T39" fmla="*/ 1 h 11"/>
                <a:gd name="T40" fmla="*/ 28 w 35"/>
                <a:gd name="T41" fmla="*/ 1 h 11"/>
                <a:gd name="T42" fmla="*/ 28 w 35"/>
                <a:gd name="T43" fmla="*/ 2 h 11"/>
                <a:gd name="T44" fmla="*/ 27 w 35"/>
                <a:gd name="T45" fmla="*/ 2 h 11"/>
                <a:gd name="T46" fmla="*/ 28 w 35"/>
                <a:gd name="T47" fmla="*/ 2 h 11"/>
                <a:gd name="T48" fmla="*/ 30 w 35"/>
                <a:gd name="T49" fmla="*/ 1 h 11"/>
                <a:gd name="T50" fmla="*/ 31 w 35"/>
                <a:gd name="T51" fmla="*/ 1 h 11"/>
                <a:gd name="T52" fmla="*/ 31 w 35"/>
                <a:gd name="T53" fmla="*/ 1 h 11"/>
                <a:gd name="T54" fmla="*/ 31 w 35"/>
                <a:gd name="T55" fmla="*/ 1 h 11"/>
                <a:gd name="T56" fmla="*/ 33 w 35"/>
                <a:gd name="T57" fmla="*/ 1 h 11"/>
                <a:gd name="T58" fmla="*/ 35 w 35"/>
                <a:gd name="T59" fmla="*/ 0 h 11"/>
                <a:gd name="T60" fmla="*/ 35 w 35"/>
                <a:gd name="T61" fmla="*/ 0 h 11"/>
                <a:gd name="T62" fmla="*/ 35 w 35"/>
                <a:gd name="T63" fmla="*/ 0 h 11"/>
                <a:gd name="T64" fmla="*/ 34 w 35"/>
                <a:gd name="T65" fmla="*/ 0 h 11"/>
                <a:gd name="T66" fmla="*/ 34 w 35"/>
                <a:gd name="T67" fmla="*/ 0 h 11"/>
                <a:gd name="T68" fmla="*/ 34 w 35"/>
                <a:gd name="T69" fmla="*/ 0 h 11"/>
                <a:gd name="T70" fmla="*/ 33 w 35"/>
                <a:gd name="T71" fmla="*/ 1 h 11"/>
                <a:gd name="T72" fmla="*/ 33 w 35"/>
                <a:gd name="T73" fmla="*/ 1 h 11"/>
                <a:gd name="T74" fmla="*/ 33 w 35"/>
                <a:gd name="T75" fmla="*/ 1 h 11"/>
                <a:gd name="T76" fmla="*/ 33 w 35"/>
                <a:gd name="T77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" h="11">
                  <a:moveTo>
                    <a:pt x="1" y="9"/>
                  </a:moveTo>
                  <a:lnTo>
                    <a:pt x="1" y="8"/>
                  </a:lnTo>
                  <a:lnTo>
                    <a:pt x="0" y="9"/>
                  </a:lnTo>
                  <a:lnTo>
                    <a:pt x="0" y="11"/>
                  </a:lnTo>
                  <a:lnTo>
                    <a:pt x="2" y="11"/>
                  </a:lnTo>
                  <a:lnTo>
                    <a:pt x="3" y="11"/>
                  </a:lnTo>
                  <a:lnTo>
                    <a:pt x="4" y="10"/>
                  </a:lnTo>
                  <a:lnTo>
                    <a:pt x="6" y="10"/>
                  </a:lnTo>
                  <a:lnTo>
                    <a:pt x="5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2" y="10"/>
                  </a:lnTo>
                  <a:lnTo>
                    <a:pt x="1" y="9"/>
                  </a:lnTo>
                  <a:lnTo>
                    <a:pt x="1" y="9"/>
                  </a:lnTo>
                  <a:close/>
                  <a:moveTo>
                    <a:pt x="31" y="1"/>
                  </a:moveTo>
                  <a:lnTo>
                    <a:pt x="31" y="1"/>
                  </a:lnTo>
                  <a:lnTo>
                    <a:pt x="31" y="1"/>
                  </a:lnTo>
                  <a:lnTo>
                    <a:pt x="30" y="1"/>
                  </a:lnTo>
                  <a:lnTo>
                    <a:pt x="29" y="1"/>
                  </a:lnTo>
                  <a:lnTo>
                    <a:pt x="29" y="1"/>
                  </a:lnTo>
                  <a:lnTo>
                    <a:pt x="28" y="1"/>
                  </a:lnTo>
                  <a:lnTo>
                    <a:pt x="28" y="2"/>
                  </a:lnTo>
                  <a:lnTo>
                    <a:pt x="27" y="2"/>
                  </a:lnTo>
                  <a:lnTo>
                    <a:pt x="28" y="2"/>
                  </a:lnTo>
                  <a:lnTo>
                    <a:pt x="30" y="1"/>
                  </a:lnTo>
                  <a:lnTo>
                    <a:pt x="31" y="1"/>
                  </a:lnTo>
                  <a:lnTo>
                    <a:pt x="31" y="1"/>
                  </a:lnTo>
                  <a:lnTo>
                    <a:pt x="31" y="1"/>
                  </a:lnTo>
                  <a:close/>
                  <a:moveTo>
                    <a:pt x="33" y="1"/>
                  </a:move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3" y="1"/>
                  </a:lnTo>
                  <a:lnTo>
                    <a:pt x="33" y="1"/>
                  </a:lnTo>
                  <a:lnTo>
                    <a:pt x="33" y="1"/>
                  </a:lnTo>
                  <a:lnTo>
                    <a:pt x="33" y="1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8" name="Dominica">
              <a:extLst>
                <a:ext uri="{FF2B5EF4-FFF2-40B4-BE49-F238E27FC236}">
                  <a16:creationId xmlns:a16="http://schemas.microsoft.com/office/drawing/2014/main" id="{8ECC7253-5F55-4490-945A-D0A1BEE5DB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9544" y="3473224"/>
              <a:ext cx="6350" cy="14288"/>
            </a:xfrm>
            <a:custGeom>
              <a:avLst/>
              <a:gdLst>
                <a:gd name="T0" fmla="*/ 3 w 4"/>
                <a:gd name="T1" fmla="*/ 8 h 9"/>
                <a:gd name="T2" fmla="*/ 4 w 4"/>
                <a:gd name="T3" fmla="*/ 6 h 9"/>
                <a:gd name="T4" fmla="*/ 4 w 4"/>
                <a:gd name="T5" fmla="*/ 2 h 9"/>
                <a:gd name="T6" fmla="*/ 3 w 4"/>
                <a:gd name="T7" fmla="*/ 1 h 9"/>
                <a:gd name="T8" fmla="*/ 0 w 4"/>
                <a:gd name="T9" fmla="*/ 0 h 9"/>
                <a:gd name="T10" fmla="*/ 0 w 4"/>
                <a:gd name="T11" fmla="*/ 1 h 9"/>
                <a:gd name="T12" fmla="*/ 0 w 4"/>
                <a:gd name="T13" fmla="*/ 2 h 9"/>
                <a:gd name="T14" fmla="*/ 1 w 4"/>
                <a:gd name="T15" fmla="*/ 5 h 9"/>
                <a:gd name="T16" fmla="*/ 1 w 4"/>
                <a:gd name="T17" fmla="*/ 9 h 9"/>
                <a:gd name="T18" fmla="*/ 3 w 4"/>
                <a:gd name="T1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9">
                  <a:moveTo>
                    <a:pt x="3" y="8"/>
                  </a:moveTo>
                  <a:lnTo>
                    <a:pt x="4" y="6"/>
                  </a:lnTo>
                  <a:lnTo>
                    <a:pt x="4" y="2"/>
                  </a:lnTo>
                  <a:lnTo>
                    <a:pt x="3" y="1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2"/>
                  </a:lnTo>
                  <a:lnTo>
                    <a:pt x="1" y="5"/>
                  </a:lnTo>
                  <a:lnTo>
                    <a:pt x="1" y="9"/>
                  </a:lnTo>
                  <a:lnTo>
                    <a:pt x="3" y="8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9" name="Falkland Islands">
              <a:extLst>
                <a:ext uri="{FF2B5EF4-FFF2-40B4-BE49-F238E27FC236}">
                  <a16:creationId xmlns:a16="http://schemas.microsoft.com/office/drawing/2014/main" id="{F86C5DB9-CA62-4BF7-B57E-963F8FAE47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52119" y="5987823"/>
              <a:ext cx="90487" cy="36513"/>
            </a:xfrm>
            <a:custGeom>
              <a:avLst/>
              <a:gdLst>
                <a:gd name="T0" fmla="*/ 27 w 57"/>
                <a:gd name="T1" fmla="*/ 20 h 23"/>
                <a:gd name="T2" fmla="*/ 27 w 57"/>
                <a:gd name="T3" fmla="*/ 21 h 23"/>
                <a:gd name="T4" fmla="*/ 28 w 57"/>
                <a:gd name="T5" fmla="*/ 22 h 23"/>
                <a:gd name="T6" fmla="*/ 49 w 57"/>
                <a:gd name="T7" fmla="*/ 16 h 23"/>
                <a:gd name="T8" fmla="*/ 48 w 57"/>
                <a:gd name="T9" fmla="*/ 18 h 23"/>
                <a:gd name="T10" fmla="*/ 49 w 57"/>
                <a:gd name="T11" fmla="*/ 17 h 23"/>
                <a:gd name="T12" fmla="*/ 0 w 57"/>
                <a:gd name="T13" fmla="*/ 12 h 23"/>
                <a:gd name="T14" fmla="*/ 3 w 57"/>
                <a:gd name="T15" fmla="*/ 15 h 23"/>
                <a:gd name="T16" fmla="*/ 2 w 57"/>
                <a:gd name="T17" fmla="*/ 11 h 23"/>
                <a:gd name="T18" fmla="*/ 12 w 57"/>
                <a:gd name="T19" fmla="*/ 4 h 23"/>
                <a:gd name="T20" fmla="*/ 5 w 57"/>
                <a:gd name="T21" fmla="*/ 2 h 23"/>
                <a:gd name="T22" fmla="*/ 8 w 57"/>
                <a:gd name="T23" fmla="*/ 5 h 23"/>
                <a:gd name="T24" fmla="*/ 14 w 57"/>
                <a:gd name="T25" fmla="*/ 8 h 23"/>
                <a:gd name="T26" fmla="*/ 9 w 57"/>
                <a:gd name="T27" fmla="*/ 9 h 23"/>
                <a:gd name="T28" fmla="*/ 13 w 57"/>
                <a:gd name="T29" fmla="*/ 10 h 23"/>
                <a:gd name="T30" fmla="*/ 14 w 57"/>
                <a:gd name="T31" fmla="*/ 10 h 23"/>
                <a:gd name="T32" fmla="*/ 14 w 57"/>
                <a:gd name="T33" fmla="*/ 12 h 23"/>
                <a:gd name="T34" fmla="*/ 7 w 57"/>
                <a:gd name="T35" fmla="*/ 15 h 23"/>
                <a:gd name="T36" fmla="*/ 11 w 57"/>
                <a:gd name="T37" fmla="*/ 21 h 23"/>
                <a:gd name="T38" fmla="*/ 14 w 57"/>
                <a:gd name="T39" fmla="*/ 20 h 23"/>
                <a:gd name="T40" fmla="*/ 16 w 57"/>
                <a:gd name="T41" fmla="*/ 18 h 23"/>
                <a:gd name="T42" fmla="*/ 18 w 57"/>
                <a:gd name="T43" fmla="*/ 16 h 23"/>
                <a:gd name="T44" fmla="*/ 25 w 57"/>
                <a:gd name="T45" fmla="*/ 12 h 23"/>
                <a:gd name="T46" fmla="*/ 28 w 57"/>
                <a:gd name="T47" fmla="*/ 7 h 23"/>
                <a:gd name="T48" fmla="*/ 29 w 57"/>
                <a:gd name="T49" fmla="*/ 4 h 23"/>
                <a:gd name="T50" fmla="*/ 28 w 57"/>
                <a:gd name="T51" fmla="*/ 2 h 23"/>
                <a:gd name="T52" fmla="*/ 22 w 57"/>
                <a:gd name="T53" fmla="*/ 4 h 23"/>
                <a:gd name="T54" fmla="*/ 18 w 57"/>
                <a:gd name="T55" fmla="*/ 2 h 23"/>
                <a:gd name="T56" fmla="*/ 12 w 57"/>
                <a:gd name="T57" fmla="*/ 4 h 23"/>
                <a:gd name="T58" fmla="*/ 14 w 57"/>
                <a:gd name="T59" fmla="*/ 1 h 23"/>
                <a:gd name="T60" fmla="*/ 11 w 57"/>
                <a:gd name="T61" fmla="*/ 0 h 23"/>
                <a:gd name="T62" fmla="*/ 14 w 57"/>
                <a:gd name="T63" fmla="*/ 2 h 23"/>
                <a:gd name="T64" fmla="*/ 36 w 57"/>
                <a:gd name="T65" fmla="*/ 2 h 23"/>
                <a:gd name="T66" fmla="*/ 35 w 57"/>
                <a:gd name="T67" fmla="*/ 9 h 23"/>
                <a:gd name="T68" fmla="*/ 33 w 57"/>
                <a:gd name="T69" fmla="*/ 9 h 23"/>
                <a:gd name="T70" fmla="*/ 28 w 57"/>
                <a:gd name="T71" fmla="*/ 15 h 23"/>
                <a:gd name="T72" fmla="*/ 28 w 57"/>
                <a:gd name="T73" fmla="*/ 19 h 23"/>
                <a:gd name="T74" fmla="*/ 35 w 57"/>
                <a:gd name="T75" fmla="*/ 21 h 23"/>
                <a:gd name="T76" fmla="*/ 39 w 57"/>
                <a:gd name="T77" fmla="*/ 21 h 23"/>
                <a:gd name="T78" fmla="*/ 46 w 57"/>
                <a:gd name="T79" fmla="*/ 19 h 23"/>
                <a:gd name="T80" fmla="*/ 44 w 57"/>
                <a:gd name="T81" fmla="*/ 15 h 23"/>
                <a:gd name="T82" fmla="*/ 53 w 57"/>
                <a:gd name="T83" fmla="*/ 11 h 23"/>
                <a:gd name="T84" fmla="*/ 57 w 57"/>
                <a:gd name="T85" fmla="*/ 9 h 23"/>
                <a:gd name="T86" fmla="*/ 55 w 57"/>
                <a:gd name="T87" fmla="*/ 7 h 23"/>
                <a:gd name="T88" fmla="*/ 54 w 57"/>
                <a:gd name="T89" fmla="*/ 3 h 23"/>
                <a:gd name="T90" fmla="*/ 48 w 57"/>
                <a:gd name="T91" fmla="*/ 3 h 23"/>
                <a:gd name="T92" fmla="*/ 49 w 57"/>
                <a:gd name="T93" fmla="*/ 6 h 23"/>
                <a:gd name="T94" fmla="*/ 44 w 57"/>
                <a:gd name="T95" fmla="*/ 5 h 23"/>
                <a:gd name="T96" fmla="*/ 44 w 57"/>
                <a:gd name="T97" fmla="*/ 3 h 23"/>
                <a:gd name="T98" fmla="*/ 44 w 57"/>
                <a:gd name="T99" fmla="*/ 1 h 23"/>
                <a:gd name="T100" fmla="*/ 36 w 57"/>
                <a:gd name="T101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7" h="23">
                  <a:moveTo>
                    <a:pt x="28" y="22"/>
                  </a:moveTo>
                  <a:lnTo>
                    <a:pt x="28" y="21"/>
                  </a:lnTo>
                  <a:lnTo>
                    <a:pt x="27" y="20"/>
                  </a:lnTo>
                  <a:lnTo>
                    <a:pt x="26" y="19"/>
                  </a:lnTo>
                  <a:lnTo>
                    <a:pt x="27" y="20"/>
                  </a:lnTo>
                  <a:lnTo>
                    <a:pt x="27" y="21"/>
                  </a:lnTo>
                  <a:lnTo>
                    <a:pt x="28" y="22"/>
                  </a:lnTo>
                  <a:lnTo>
                    <a:pt x="28" y="23"/>
                  </a:lnTo>
                  <a:lnTo>
                    <a:pt x="28" y="22"/>
                  </a:lnTo>
                  <a:lnTo>
                    <a:pt x="28" y="22"/>
                  </a:lnTo>
                  <a:close/>
                  <a:moveTo>
                    <a:pt x="49" y="17"/>
                  </a:moveTo>
                  <a:lnTo>
                    <a:pt x="49" y="16"/>
                  </a:lnTo>
                  <a:lnTo>
                    <a:pt x="48" y="16"/>
                  </a:lnTo>
                  <a:lnTo>
                    <a:pt x="48" y="17"/>
                  </a:lnTo>
                  <a:lnTo>
                    <a:pt x="48" y="18"/>
                  </a:lnTo>
                  <a:lnTo>
                    <a:pt x="50" y="19"/>
                  </a:lnTo>
                  <a:lnTo>
                    <a:pt x="49" y="17"/>
                  </a:lnTo>
                  <a:lnTo>
                    <a:pt x="49" y="17"/>
                  </a:lnTo>
                  <a:close/>
                  <a:moveTo>
                    <a:pt x="1" y="11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0" y="13"/>
                  </a:lnTo>
                  <a:lnTo>
                    <a:pt x="2" y="15"/>
                  </a:lnTo>
                  <a:lnTo>
                    <a:pt x="3" y="15"/>
                  </a:lnTo>
                  <a:lnTo>
                    <a:pt x="4" y="14"/>
                  </a:lnTo>
                  <a:lnTo>
                    <a:pt x="3" y="11"/>
                  </a:lnTo>
                  <a:lnTo>
                    <a:pt x="2" y="11"/>
                  </a:lnTo>
                  <a:lnTo>
                    <a:pt x="1" y="11"/>
                  </a:lnTo>
                  <a:lnTo>
                    <a:pt x="1" y="11"/>
                  </a:lnTo>
                  <a:close/>
                  <a:moveTo>
                    <a:pt x="12" y="4"/>
                  </a:moveTo>
                  <a:lnTo>
                    <a:pt x="8" y="3"/>
                  </a:lnTo>
                  <a:lnTo>
                    <a:pt x="7" y="2"/>
                  </a:lnTo>
                  <a:lnTo>
                    <a:pt x="5" y="2"/>
                  </a:lnTo>
                  <a:lnTo>
                    <a:pt x="7" y="3"/>
                  </a:lnTo>
                  <a:lnTo>
                    <a:pt x="7" y="4"/>
                  </a:lnTo>
                  <a:lnTo>
                    <a:pt x="8" y="5"/>
                  </a:lnTo>
                  <a:lnTo>
                    <a:pt x="10" y="6"/>
                  </a:lnTo>
                  <a:lnTo>
                    <a:pt x="13" y="7"/>
                  </a:lnTo>
                  <a:lnTo>
                    <a:pt x="14" y="8"/>
                  </a:lnTo>
                  <a:lnTo>
                    <a:pt x="14" y="9"/>
                  </a:lnTo>
                  <a:lnTo>
                    <a:pt x="11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10" y="10"/>
                  </a:lnTo>
                  <a:lnTo>
                    <a:pt x="13" y="10"/>
                  </a:lnTo>
                  <a:lnTo>
                    <a:pt x="13" y="9"/>
                  </a:lnTo>
                  <a:lnTo>
                    <a:pt x="14" y="9"/>
                  </a:lnTo>
                  <a:lnTo>
                    <a:pt x="14" y="10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4" y="12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5"/>
                  </a:lnTo>
                  <a:lnTo>
                    <a:pt x="4" y="18"/>
                  </a:lnTo>
                  <a:lnTo>
                    <a:pt x="8" y="20"/>
                  </a:lnTo>
                  <a:lnTo>
                    <a:pt x="11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4" y="20"/>
                  </a:lnTo>
                  <a:lnTo>
                    <a:pt x="15" y="20"/>
                  </a:lnTo>
                  <a:lnTo>
                    <a:pt x="16" y="20"/>
                  </a:lnTo>
                  <a:lnTo>
                    <a:pt x="16" y="18"/>
                  </a:lnTo>
                  <a:lnTo>
                    <a:pt x="16" y="16"/>
                  </a:lnTo>
                  <a:lnTo>
                    <a:pt x="17" y="16"/>
                  </a:lnTo>
                  <a:lnTo>
                    <a:pt x="18" y="16"/>
                  </a:lnTo>
                  <a:lnTo>
                    <a:pt x="21" y="16"/>
                  </a:lnTo>
                  <a:lnTo>
                    <a:pt x="22" y="15"/>
                  </a:lnTo>
                  <a:lnTo>
                    <a:pt x="25" y="12"/>
                  </a:lnTo>
                  <a:lnTo>
                    <a:pt x="26" y="9"/>
                  </a:lnTo>
                  <a:lnTo>
                    <a:pt x="27" y="8"/>
                  </a:lnTo>
                  <a:lnTo>
                    <a:pt x="28" y="7"/>
                  </a:lnTo>
                  <a:lnTo>
                    <a:pt x="28" y="6"/>
                  </a:lnTo>
                  <a:lnTo>
                    <a:pt x="28" y="5"/>
                  </a:lnTo>
                  <a:lnTo>
                    <a:pt x="29" y="4"/>
                  </a:lnTo>
                  <a:lnTo>
                    <a:pt x="29" y="3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6" y="3"/>
                  </a:lnTo>
                  <a:lnTo>
                    <a:pt x="26" y="2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9" y="3"/>
                  </a:lnTo>
                  <a:lnTo>
                    <a:pt x="18" y="2"/>
                  </a:lnTo>
                  <a:lnTo>
                    <a:pt x="16" y="3"/>
                  </a:lnTo>
                  <a:lnTo>
                    <a:pt x="14" y="5"/>
                  </a:lnTo>
                  <a:lnTo>
                    <a:pt x="12" y="4"/>
                  </a:lnTo>
                  <a:lnTo>
                    <a:pt x="12" y="4"/>
                  </a:lnTo>
                  <a:close/>
                  <a:moveTo>
                    <a:pt x="14" y="2"/>
                  </a:moveTo>
                  <a:lnTo>
                    <a:pt x="14" y="1"/>
                  </a:lnTo>
                  <a:lnTo>
                    <a:pt x="14" y="0"/>
                  </a:lnTo>
                  <a:lnTo>
                    <a:pt x="13" y="0"/>
                  </a:lnTo>
                  <a:lnTo>
                    <a:pt x="11" y="0"/>
                  </a:lnTo>
                  <a:lnTo>
                    <a:pt x="11" y="2"/>
                  </a:lnTo>
                  <a:lnTo>
                    <a:pt x="12" y="2"/>
                  </a:lnTo>
                  <a:lnTo>
                    <a:pt x="14" y="2"/>
                  </a:lnTo>
                  <a:close/>
                  <a:moveTo>
                    <a:pt x="36" y="0"/>
                  </a:moveTo>
                  <a:lnTo>
                    <a:pt x="35" y="0"/>
                  </a:lnTo>
                  <a:lnTo>
                    <a:pt x="36" y="2"/>
                  </a:lnTo>
                  <a:lnTo>
                    <a:pt x="33" y="5"/>
                  </a:lnTo>
                  <a:lnTo>
                    <a:pt x="34" y="7"/>
                  </a:lnTo>
                  <a:lnTo>
                    <a:pt x="35" y="9"/>
                  </a:lnTo>
                  <a:lnTo>
                    <a:pt x="35" y="9"/>
                  </a:lnTo>
                  <a:lnTo>
                    <a:pt x="35" y="9"/>
                  </a:lnTo>
                  <a:lnTo>
                    <a:pt x="33" y="9"/>
                  </a:lnTo>
                  <a:lnTo>
                    <a:pt x="32" y="10"/>
                  </a:lnTo>
                  <a:lnTo>
                    <a:pt x="31" y="11"/>
                  </a:lnTo>
                  <a:lnTo>
                    <a:pt x="28" y="15"/>
                  </a:lnTo>
                  <a:lnTo>
                    <a:pt x="29" y="15"/>
                  </a:lnTo>
                  <a:lnTo>
                    <a:pt x="28" y="18"/>
                  </a:lnTo>
                  <a:lnTo>
                    <a:pt x="28" y="19"/>
                  </a:lnTo>
                  <a:lnTo>
                    <a:pt x="31" y="22"/>
                  </a:lnTo>
                  <a:lnTo>
                    <a:pt x="35" y="23"/>
                  </a:lnTo>
                  <a:lnTo>
                    <a:pt x="35" y="21"/>
                  </a:lnTo>
                  <a:lnTo>
                    <a:pt x="36" y="21"/>
                  </a:lnTo>
                  <a:lnTo>
                    <a:pt x="38" y="21"/>
                  </a:lnTo>
                  <a:lnTo>
                    <a:pt x="39" y="21"/>
                  </a:lnTo>
                  <a:lnTo>
                    <a:pt x="36" y="17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46" y="17"/>
                  </a:lnTo>
                  <a:lnTo>
                    <a:pt x="45" y="16"/>
                  </a:lnTo>
                  <a:lnTo>
                    <a:pt x="44" y="15"/>
                  </a:lnTo>
                  <a:lnTo>
                    <a:pt x="50" y="13"/>
                  </a:lnTo>
                  <a:lnTo>
                    <a:pt x="52" y="12"/>
                  </a:lnTo>
                  <a:lnTo>
                    <a:pt x="53" y="11"/>
                  </a:lnTo>
                  <a:lnTo>
                    <a:pt x="55" y="10"/>
                  </a:lnTo>
                  <a:lnTo>
                    <a:pt x="57" y="9"/>
                  </a:lnTo>
                  <a:lnTo>
                    <a:pt x="57" y="9"/>
                  </a:lnTo>
                  <a:lnTo>
                    <a:pt x="57" y="8"/>
                  </a:lnTo>
                  <a:lnTo>
                    <a:pt x="56" y="8"/>
                  </a:lnTo>
                  <a:lnTo>
                    <a:pt x="55" y="7"/>
                  </a:lnTo>
                  <a:lnTo>
                    <a:pt x="55" y="6"/>
                  </a:lnTo>
                  <a:lnTo>
                    <a:pt x="56" y="6"/>
                  </a:lnTo>
                  <a:lnTo>
                    <a:pt x="54" y="3"/>
                  </a:lnTo>
                  <a:lnTo>
                    <a:pt x="53" y="2"/>
                  </a:lnTo>
                  <a:lnTo>
                    <a:pt x="49" y="3"/>
                  </a:lnTo>
                  <a:lnTo>
                    <a:pt x="48" y="3"/>
                  </a:lnTo>
                  <a:lnTo>
                    <a:pt x="48" y="4"/>
                  </a:lnTo>
                  <a:lnTo>
                    <a:pt x="48" y="5"/>
                  </a:lnTo>
                  <a:lnTo>
                    <a:pt x="49" y="6"/>
                  </a:lnTo>
                  <a:lnTo>
                    <a:pt x="50" y="7"/>
                  </a:lnTo>
                  <a:lnTo>
                    <a:pt x="49" y="7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3" y="3"/>
                  </a:lnTo>
                  <a:lnTo>
                    <a:pt x="44" y="3"/>
                  </a:lnTo>
                  <a:lnTo>
                    <a:pt x="45" y="3"/>
                  </a:lnTo>
                  <a:lnTo>
                    <a:pt x="45" y="2"/>
                  </a:lnTo>
                  <a:lnTo>
                    <a:pt x="44" y="1"/>
                  </a:lnTo>
                  <a:lnTo>
                    <a:pt x="42" y="0"/>
                  </a:lnTo>
                  <a:lnTo>
                    <a:pt x="39" y="1"/>
                  </a:lnTo>
                  <a:lnTo>
                    <a:pt x="36" y="0"/>
                  </a:lnTo>
                  <a:lnTo>
                    <a:pt x="36" y="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0" name="Faroe Islands">
              <a:extLst>
                <a:ext uri="{FF2B5EF4-FFF2-40B4-BE49-F238E27FC236}">
                  <a16:creationId xmlns:a16="http://schemas.microsoft.com/office/drawing/2014/main" id="{83AE3694-375A-4D3D-A62F-219AD80FA3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01519" y="1746024"/>
              <a:ext cx="26987" cy="31750"/>
            </a:xfrm>
            <a:custGeom>
              <a:avLst/>
              <a:gdLst>
                <a:gd name="T0" fmla="*/ 11 w 17"/>
                <a:gd name="T1" fmla="*/ 19 h 20"/>
                <a:gd name="T2" fmla="*/ 11 w 17"/>
                <a:gd name="T3" fmla="*/ 17 h 20"/>
                <a:gd name="T4" fmla="*/ 9 w 17"/>
                <a:gd name="T5" fmla="*/ 17 h 20"/>
                <a:gd name="T6" fmla="*/ 8 w 17"/>
                <a:gd name="T7" fmla="*/ 16 h 20"/>
                <a:gd name="T8" fmla="*/ 9 w 17"/>
                <a:gd name="T9" fmla="*/ 19 h 20"/>
                <a:gd name="T10" fmla="*/ 11 w 17"/>
                <a:gd name="T11" fmla="*/ 20 h 20"/>
                <a:gd name="T12" fmla="*/ 11 w 17"/>
                <a:gd name="T13" fmla="*/ 20 h 20"/>
                <a:gd name="T14" fmla="*/ 13 w 17"/>
                <a:gd name="T15" fmla="*/ 12 h 20"/>
                <a:gd name="T16" fmla="*/ 12 w 17"/>
                <a:gd name="T17" fmla="*/ 11 h 20"/>
                <a:gd name="T18" fmla="*/ 9 w 17"/>
                <a:gd name="T19" fmla="*/ 10 h 20"/>
                <a:gd name="T20" fmla="*/ 9 w 17"/>
                <a:gd name="T21" fmla="*/ 11 h 20"/>
                <a:gd name="T22" fmla="*/ 11 w 17"/>
                <a:gd name="T23" fmla="*/ 12 h 20"/>
                <a:gd name="T24" fmla="*/ 13 w 17"/>
                <a:gd name="T25" fmla="*/ 13 h 20"/>
                <a:gd name="T26" fmla="*/ 13 w 17"/>
                <a:gd name="T27" fmla="*/ 12 h 20"/>
                <a:gd name="T28" fmla="*/ 4 w 17"/>
                <a:gd name="T29" fmla="*/ 5 h 20"/>
                <a:gd name="T30" fmla="*/ 0 w 17"/>
                <a:gd name="T31" fmla="*/ 6 h 20"/>
                <a:gd name="T32" fmla="*/ 3 w 17"/>
                <a:gd name="T33" fmla="*/ 7 h 20"/>
                <a:gd name="T34" fmla="*/ 6 w 17"/>
                <a:gd name="T35" fmla="*/ 7 h 20"/>
                <a:gd name="T36" fmla="*/ 6 w 17"/>
                <a:gd name="T37" fmla="*/ 6 h 20"/>
                <a:gd name="T38" fmla="*/ 4 w 17"/>
                <a:gd name="T39" fmla="*/ 6 h 20"/>
                <a:gd name="T40" fmla="*/ 10 w 17"/>
                <a:gd name="T41" fmla="*/ 3 h 20"/>
                <a:gd name="T42" fmla="*/ 5 w 17"/>
                <a:gd name="T43" fmla="*/ 2 h 20"/>
                <a:gd name="T44" fmla="*/ 10 w 17"/>
                <a:gd name="T45" fmla="*/ 8 h 20"/>
                <a:gd name="T46" fmla="*/ 11 w 17"/>
                <a:gd name="T47" fmla="*/ 9 h 20"/>
                <a:gd name="T48" fmla="*/ 10 w 17"/>
                <a:gd name="T49" fmla="*/ 6 h 20"/>
                <a:gd name="T50" fmla="*/ 9 w 17"/>
                <a:gd name="T51" fmla="*/ 6 h 20"/>
                <a:gd name="T52" fmla="*/ 11 w 17"/>
                <a:gd name="T53" fmla="*/ 6 h 20"/>
                <a:gd name="T54" fmla="*/ 13 w 17"/>
                <a:gd name="T55" fmla="*/ 6 h 20"/>
                <a:gd name="T56" fmla="*/ 13 w 17"/>
                <a:gd name="T57" fmla="*/ 4 h 20"/>
                <a:gd name="T58" fmla="*/ 16 w 17"/>
                <a:gd name="T59" fmla="*/ 2 h 20"/>
                <a:gd name="T60" fmla="*/ 15 w 17"/>
                <a:gd name="T61" fmla="*/ 2 h 20"/>
                <a:gd name="T62" fmla="*/ 15 w 17"/>
                <a:gd name="T63" fmla="*/ 4 h 20"/>
                <a:gd name="T64" fmla="*/ 16 w 17"/>
                <a:gd name="T65" fmla="*/ 4 h 20"/>
                <a:gd name="T66" fmla="*/ 17 w 17"/>
                <a:gd name="T67" fmla="*/ 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7" h="20">
                  <a:moveTo>
                    <a:pt x="11" y="20"/>
                  </a:moveTo>
                  <a:lnTo>
                    <a:pt x="11" y="19"/>
                  </a:lnTo>
                  <a:lnTo>
                    <a:pt x="11" y="18"/>
                  </a:lnTo>
                  <a:lnTo>
                    <a:pt x="11" y="17"/>
                  </a:lnTo>
                  <a:lnTo>
                    <a:pt x="10" y="17"/>
                  </a:lnTo>
                  <a:lnTo>
                    <a:pt x="9" y="17"/>
                  </a:lnTo>
                  <a:lnTo>
                    <a:pt x="9" y="16"/>
                  </a:lnTo>
                  <a:lnTo>
                    <a:pt x="8" y="16"/>
                  </a:lnTo>
                  <a:lnTo>
                    <a:pt x="8" y="17"/>
                  </a:lnTo>
                  <a:lnTo>
                    <a:pt x="9" y="19"/>
                  </a:lnTo>
                  <a:lnTo>
                    <a:pt x="10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close/>
                  <a:moveTo>
                    <a:pt x="13" y="12"/>
                  </a:moveTo>
                  <a:lnTo>
                    <a:pt x="13" y="12"/>
                  </a:lnTo>
                  <a:lnTo>
                    <a:pt x="12" y="11"/>
                  </a:lnTo>
                  <a:lnTo>
                    <a:pt x="10" y="10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11" y="12"/>
                  </a:lnTo>
                  <a:lnTo>
                    <a:pt x="12" y="13"/>
                  </a:lnTo>
                  <a:lnTo>
                    <a:pt x="13" y="13"/>
                  </a:lnTo>
                  <a:lnTo>
                    <a:pt x="13" y="12"/>
                  </a:lnTo>
                  <a:lnTo>
                    <a:pt x="13" y="12"/>
                  </a:lnTo>
                  <a:close/>
                  <a:moveTo>
                    <a:pt x="4" y="6"/>
                  </a:moveTo>
                  <a:lnTo>
                    <a:pt x="4" y="5"/>
                  </a:lnTo>
                  <a:lnTo>
                    <a:pt x="2" y="6"/>
                  </a:lnTo>
                  <a:lnTo>
                    <a:pt x="0" y="6"/>
                  </a:lnTo>
                  <a:lnTo>
                    <a:pt x="1" y="6"/>
                  </a:lnTo>
                  <a:lnTo>
                    <a:pt x="3" y="7"/>
                  </a:lnTo>
                  <a:lnTo>
                    <a:pt x="4" y="7"/>
                  </a:lnTo>
                  <a:lnTo>
                    <a:pt x="6" y="7"/>
                  </a:lnTo>
                  <a:lnTo>
                    <a:pt x="6" y="6"/>
                  </a:lnTo>
                  <a:lnTo>
                    <a:pt x="6" y="6"/>
                  </a:lnTo>
                  <a:lnTo>
                    <a:pt x="4" y="6"/>
                  </a:lnTo>
                  <a:lnTo>
                    <a:pt x="4" y="6"/>
                  </a:lnTo>
                  <a:close/>
                  <a:moveTo>
                    <a:pt x="13" y="4"/>
                  </a:moveTo>
                  <a:lnTo>
                    <a:pt x="10" y="3"/>
                  </a:lnTo>
                  <a:lnTo>
                    <a:pt x="9" y="2"/>
                  </a:lnTo>
                  <a:lnTo>
                    <a:pt x="5" y="2"/>
                  </a:lnTo>
                  <a:lnTo>
                    <a:pt x="8" y="6"/>
                  </a:lnTo>
                  <a:lnTo>
                    <a:pt x="10" y="8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8"/>
                  </a:lnTo>
                  <a:lnTo>
                    <a:pt x="10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10" y="6"/>
                  </a:lnTo>
                  <a:lnTo>
                    <a:pt x="11" y="6"/>
                  </a:lnTo>
                  <a:lnTo>
                    <a:pt x="12" y="6"/>
                  </a:lnTo>
                  <a:lnTo>
                    <a:pt x="13" y="6"/>
                  </a:lnTo>
                  <a:lnTo>
                    <a:pt x="13" y="4"/>
                  </a:lnTo>
                  <a:lnTo>
                    <a:pt x="13" y="4"/>
                  </a:lnTo>
                  <a:close/>
                  <a:moveTo>
                    <a:pt x="17" y="3"/>
                  </a:moveTo>
                  <a:lnTo>
                    <a:pt x="16" y="2"/>
                  </a:lnTo>
                  <a:lnTo>
                    <a:pt x="15" y="0"/>
                  </a:lnTo>
                  <a:lnTo>
                    <a:pt x="15" y="2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6" y="4"/>
                  </a:lnTo>
                  <a:lnTo>
                    <a:pt x="17" y="3"/>
                  </a:lnTo>
                  <a:lnTo>
                    <a:pt x="17" y="3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1" name="Grenada">
              <a:extLst>
                <a:ext uri="{FF2B5EF4-FFF2-40B4-BE49-F238E27FC236}">
                  <a16:creationId xmlns:a16="http://schemas.microsoft.com/office/drawing/2014/main" id="{E864BC74-128F-4FC9-886A-5BBCF68612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0494" y="3600224"/>
              <a:ext cx="6350" cy="9525"/>
            </a:xfrm>
            <a:custGeom>
              <a:avLst/>
              <a:gdLst>
                <a:gd name="T0" fmla="*/ 1 w 4"/>
                <a:gd name="T1" fmla="*/ 6 h 6"/>
                <a:gd name="T2" fmla="*/ 3 w 4"/>
                <a:gd name="T3" fmla="*/ 5 h 6"/>
                <a:gd name="T4" fmla="*/ 4 w 4"/>
                <a:gd name="T5" fmla="*/ 1 h 6"/>
                <a:gd name="T6" fmla="*/ 3 w 4"/>
                <a:gd name="T7" fmla="*/ 0 h 6"/>
                <a:gd name="T8" fmla="*/ 2 w 4"/>
                <a:gd name="T9" fmla="*/ 1 h 6"/>
                <a:gd name="T10" fmla="*/ 1 w 4"/>
                <a:gd name="T11" fmla="*/ 3 h 6"/>
                <a:gd name="T12" fmla="*/ 1 w 4"/>
                <a:gd name="T13" fmla="*/ 5 h 6"/>
                <a:gd name="T14" fmla="*/ 0 w 4"/>
                <a:gd name="T15" fmla="*/ 6 h 6"/>
                <a:gd name="T16" fmla="*/ 1 w 4"/>
                <a:gd name="T17" fmla="*/ 6 h 6"/>
                <a:gd name="T18" fmla="*/ 1 w 4"/>
                <a:gd name="T1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6">
                  <a:moveTo>
                    <a:pt x="1" y="6"/>
                  </a:moveTo>
                  <a:lnTo>
                    <a:pt x="3" y="5"/>
                  </a:lnTo>
                  <a:lnTo>
                    <a:pt x="4" y="1"/>
                  </a:lnTo>
                  <a:lnTo>
                    <a:pt x="3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1" y="5"/>
                  </a:lnTo>
                  <a:lnTo>
                    <a:pt x="0" y="6"/>
                  </a:lnTo>
                  <a:lnTo>
                    <a:pt x="1" y="6"/>
                  </a:lnTo>
                  <a:lnTo>
                    <a:pt x="1" y="6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2" name="Hong-Kong">
              <a:extLst>
                <a:ext uri="{FF2B5EF4-FFF2-40B4-BE49-F238E27FC236}">
                  <a16:creationId xmlns:a16="http://schemas.microsoft.com/office/drawing/2014/main" id="{F3ED8115-C4BB-436E-B7B0-5891FE8CF6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06769" y="3209698"/>
              <a:ext cx="15875" cy="15875"/>
            </a:xfrm>
            <a:custGeom>
              <a:avLst/>
              <a:gdLst>
                <a:gd name="T0" fmla="*/ 9 w 10"/>
                <a:gd name="T1" fmla="*/ 10 h 10"/>
                <a:gd name="T2" fmla="*/ 9 w 10"/>
                <a:gd name="T3" fmla="*/ 9 h 10"/>
                <a:gd name="T4" fmla="*/ 9 w 10"/>
                <a:gd name="T5" fmla="*/ 8 h 10"/>
                <a:gd name="T6" fmla="*/ 7 w 10"/>
                <a:gd name="T7" fmla="*/ 7 h 10"/>
                <a:gd name="T8" fmla="*/ 6 w 10"/>
                <a:gd name="T9" fmla="*/ 7 h 10"/>
                <a:gd name="T10" fmla="*/ 6 w 10"/>
                <a:gd name="T11" fmla="*/ 8 h 10"/>
                <a:gd name="T12" fmla="*/ 8 w 10"/>
                <a:gd name="T13" fmla="*/ 10 h 10"/>
                <a:gd name="T14" fmla="*/ 9 w 10"/>
                <a:gd name="T15" fmla="*/ 10 h 10"/>
                <a:gd name="T16" fmla="*/ 9 w 10"/>
                <a:gd name="T17" fmla="*/ 10 h 10"/>
                <a:gd name="T18" fmla="*/ 3 w 10"/>
                <a:gd name="T19" fmla="*/ 10 h 10"/>
                <a:gd name="T20" fmla="*/ 3 w 10"/>
                <a:gd name="T21" fmla="*/ 8 h 10"/>
                <a:gd name="T22" fmla="*/ 4 w 10"/>
                <a:gd name="T23" fmla="*/ 6 h 10"/>
                <a:gd name="T24" fmla="*/ 0 w 10"/>
                <a:gd name="T25" fmla="*/ 8 h 10"/>
                <a:gd name="T26" fmla="*/ 0 w 10"/>
                <a:gd name="T27" fmla="*/ 9 h 10"/>
                <a:gd name="T28" fmla="*/ 0 w 10"/>
                <a:gd name="T29" fmla="*/ 9 h 10"/>
                <a:gd name="T30" fmla="*/ 1 w 10"/>
                <a:gd name="T31" fmla="*/ 10 h 10"/>
                <a:gd name="T32" fmla="*/ 3 w 10"/>
                <a:gd name="T33" fmla="*/ 10 h 10"/>
                <a:gd name="T34" fmla="*/ 3 w 10"/>
                <a:gd name="T35" fmla="*/ 10 h 10"/>
                <a:gd name="T36" fmla="*/ 10 w 10"/>
                <a:gd name="T37" fmla="*/ 5 h 10"/>
                <a:gd name="T38" fmla="*/ 9 w 10"/>
                <a:gd name="T39" fmla="*/ 4 h 10"/>
                <a:gd name="T40" fmla="*/ 9 w 10"/>
                <a:gd name="T41" fmla="*/ 3 h 10"/>
                <a:gd name="T42" fmla="*/ 8 w 10"/>
                <a:gd name="T43" fmla="*/ 2 h 10"/>
                <a:gd name="T44" fmla="*/ 8 w 10"/>
                <a:gd name="T45" fmla="*/ 1 h 10"/>
                <a:gd name="T46" fmla="*/ 8 w 10"/>
                <a:gd name="T47" fmla="*/ 1 h 10"/>
                <a:gd name="T48" fmla="*/ 7 w 10"/>
                <a:gd name="T49" fmla="*/ 1 h 10"/>
                <a:gd name="T50" fmla="*/ 6 w 10"/>
                <a:gd name="T51" fmla="*/ 0 h 10"/>
                <a:gd name="T52" fmla="*/ 4 w 10"/>
                <a:gd name="T53" fmla="*/ 0 h 10"/>
                <a:gd name="T54" fmla="*/ 4 w 10"/>
                <a:gd name="T55" fmla="*/ 1 h 10"/>
                <a:gd name="T56" fmla="*/ 3 w 10"/>
                <a:gd name="T57" fmla="*/ 1 h 10"/>
                <a:gd name="T58" fmla="*/ 2 w 10"/>
                <a:gd name="T59" fmla="*/ 2 h 10"/>
                <a:gd name="T60" fmla="*/ 2 w 10"/>
                <a:gd name="T61" fmla="*/ 2 h 10"/>
                <a:gd name="T62" fmla="*/ 2 w 10"/>
                <a:gd name="T63" fmla="*/ 2 h 10"/>
                <a:gd name="T64" fmla="*/ 0 w 10"/>
                <a:gd name="T65" fmla="*/ 4 h 10"/>
                <a:gd name="T66" fmla="*/ 0 w 10"/>
                <a:gd name="T67" fmla="*/ 5 h 10"/>
                <a:gd name="T68" fmla="*/ 1 w 10"/>
                <a:gd name="T69" fmla="*/ 6 h 10"/>
                <a:gd name="T70" fmla="*/ 3 w 10"/>
                <a:gd name="T71" fmla="*/ 5 h 10"/>
                <a:gd name="T72" fmla="*/ 6 w 10"/>
                <a:gd name="T73" fmla="*/ 6 h 10"/>
                <a:gd name="T74" fmla="*/ 9 w 10"/>
                <a:gd name="T75" fmla="*/ 7 h 10"/>
                <a:gd name="T76" fmla="*/ 9 w 10"/>
                <a:gd name="T77" fmla="*/ 6 h 10"/>
                <a:gd name="T78" fmla="*/ 9 w 10"/>
                <a:gd name="T79" fmla="*/ 5 h 10"/>
                <a:gd name="T80" fmla="*/ 10 w 10"/>
                <a:gd name="T81" fmla="*/ 5 h 10"/>
                <a:gd name="T82" fmla="*/ 10 w 10"/>
                <a:gd name="T83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0" h="10">
                  <a:moveTo>
                    <a:pt x="9" y="10"/>
                  </a:moveTo>
                  <a:lnTo>
                    <a:pt x="9" y="9"/>
                  </a:lnTo>
                  <a:lnTo>
                    <a:pt x="9" y="8"/>
                  </a:lnTo>
                  <a:lnTo>
                    <a:pt x="7" y="7"/>
                  </a:lnTo>
                  <a:lnTo>
                    <a:pt x="6" y="7"/>
                  </a:lnTo>
                  <a:lnTo>
                    <a:pt x="6" y="8"/>
                  </a:lnTo>
                  <a:lnTo>
                    <a:pt x="8" y="10"/>
                  </a:lnTo>
                  <a:lnTo>
                    <a:pt x="9" y="10"/>
                  </a:lnTo>
                  <a:lnTo>
                    <a:pt x="9" y="10"/>
                  </a:lnTo>
                  <a:close/>
                  <a:moveTo>
                    <a:pt x="3" y="10"/>
                  </a:moveTo>
                  <a:lnTo>
                    <a:pt x="3" y="8"/>
                  </a:lnTo>
                  <a:lnTo>
                    <a:pt x="4" y="6"/>
                  </a:lnTo>
                  <a:lnTo>
                    <a:pt x="0" y="8"/>
                  </a:lnTo>
                  <a:lnTo>
                    <a:pt x="0" y="9"/>
                  </a:lnTo>
                  <a:lnTo>
                    <a:pt x="0" y="9"/>
                  </a:lnTo>
                  <a:lnTo>
                    <a:pt x="1" y="10"/>
                  </a:lnTo>
                  <a:lnTo>
                    <a:pt x="3" y="10"/>
                  </a:lnTo>
                  <a:lnTo>
                    <a:pt x="3" y="10"/>
                  </a:lnTo>
                  <a:close/>
                  <a:moveTo>
                    <a:pt x="10" y="5"/>
                  </a:moveTo>
                  <a:lnTo>
                    <a:pt x="9" y="4"/>
                  </a:lnTo>
                  <a:lnTo>
                    <a:pt x="9" y="3"/>
                  </a:lnTo>
                  <a:lnTo>
                    <a:pt x="8" y="2"/>
                  </a:lnTo>
                  <a:lnTo>
                    <a:pt x="8" y="1"/>
                  </a:lnTo>
                  <a:lnTo>
                    <a:pt x="8" y="1"/>
                  </a:lnTo>
                  <a:lnTo>
                    <a:pt x="7" y="1"/>
                  </a:lnTo>
                  <a:lnTo>
                    <a:pt x="6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3" y="1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5"/>
                  </a:lnTo>
                  <a:lnTo>
                    <a:pt x="1" y="6"/>
                  </a:lnTo>
                  <a:lnTo>
                    <a:pt x="3" y="5"/>
                  </a:lnTo>
                  <a:lnTo>
                    <a:pt x="6" y="6"/>
                  </a:lnTo>
                  <a:lnTo>
                    <a:pt x="9" y="7"/>
                  </a:lnTo>
                  <a:lnTo>
                    <a:pt x="9" y="6"/>
                  </a:lnTo>
                  <a:lnTo>
                    <a:pt x="9" y="5"/>
                  </a:lnTo>
                  <a:lnTo>
                    <a:pt x="10" y="5"/>
                  </a:lnTo>
                  <a:lnTo>
                    <a:pt x="10" y="5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3" name="Saint Kitts and Nevis">
              <a:extLst>
                <a:ext uri="{FF2B5EF4-FFF2-40B4-BE49-F238E27FC236}">
                  <a16:creationId xmlns:a16="http://schemas.microsoft.com/office/drawing/2014/main" id="{BD291FF2-F6E1-401D-8543-67B5601C77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29856" y="3406549"/>
              <a:ext cx="9525" cy="11113"/>
            </a:xfrm>
            <a:custGeom>
              <a:avLst/>
              <a:gdLst>
                <a:gd name="T0" fmla="*/ 6 w 6"/>
                <a:gd name="T1" fmla="*/ 6 h 7"/>
                <a:gd name="T2" fmla="*/ 6 w 6"/>
                <a:gd name="T3" fmla="*/ 5 h 7"/>
                <a:gd name="T4" fmla="*/ 6 w 6"/>
                <a:gd name="T5" fmla="*/ 4 h 7"/>
                <a:gd name="T6" fmla="*/ 5 w 6"/>
                <a:gd name="T7" fmla="*/ 4 h 7"/>
                <a:gd name="T8" fmla="*/ 5 w 6"/>
                <a:gd name="T9" fmla="*/ 6 h 7"/>
                <a:gd name="T10" fmla="*/ 5 w 6"/>
                <a:gd name="T11" fmla="*/ 7 h 7"/>
                <a:gd name="T12" fmla="*/ 6 w 6"/>
                <a:gd name="T13" fmla="*/ 6 h 7"/>
                <a:gd name="T14" fmla="*/ 5 w 6"/>
                <a:gd name="T15" fmla="*/ 3 h 7"/>
                <a:gd name="T16" fmla="*/ 4 w 6"/>
                <a:gd name="T17" fmla="*/ 2 h 7"/>
                <a:gd name="T18" fmla="*/ 4 w 6"/>
                <a:gd name="T19" fmla="*/ 2 h 7"/>
                <a:gd name="T20" fmla="*/ 3 w 6"/>
                <a:gd name="T21" fmla="*/ 1 h 7"/>
                <a:gd name="T22" fmla="*/ 1 w 6"/>
                <a:gd name="T23" fmla="*/ 0 h 7"/>
                <a:gd name="T24" fmla="*/ 1 w 6"/>
                <a:gd name="T25" fmla="*/ 0 h 7"/>
                <a:gd name="T26" fmla="*/ 0 w 6"/>
                <a:gd name="T27" fmla="*/ 1 h 7"/>
                <a:gd name="T28" fmla="*/ 0 w 6"/>
                <a:gd name="T29" fmla="*/ 1 h 7"/>
                <a:gd name="T30" fmla="*/ 0 w 6"/>
                <a:gd name="T31" fmla="*/ 1 h 7"/>
                <a:gd name="T32" fmla="*/ 1 w 6"/>
                <a:gd name="T33" fmla="*/ 2 h 7"/>
                <a:gd name="T34" fmla="*/ 3 w 6"/>
                <a:gd name="T35" fmla="*/ 2 h 7"/>
                <a:gd name="T36" fmla="*/ 4 w 6"/>
                <a:gd name="T37" fmla="*/ 3 h 7"/>
                <a:gd name="T38" fmla="*/ 5 w 6"/>
                <a:gd name="T39" fmla="*/ 3 h 7"/>
                <a:gd name="T40" fmla="*/ 5 w 6"/>
                <a:gd name="T41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" h="7">
                  <a:moveTo>
                    <a:pt x="6" y="6"/>
                  </a:moveTo>
                  <a:lnTo>
                    <a:pt x="6" y="5"/>
                  </a:lnTo>
                  <a:lnTo>
                    <a:pt x="6" y="4"/>
                  </a:lnTo>
                  <a:lnTo>
                    <a:pt x="5" y="4"/>
                  </a:lnTo>
                  <a:lnTo>
                    <a:pt x="5" y="6"/>
                  </a:lnTo>
                  <a:lnTo>
                    <a:pt x="5" y="7"/>
                  </a:lnTo>
                  <a:lnTo>
                    <a:pt x="6" y="6"/>
                  </a:lnTo>
                  <a:close/>
                  <a:moveTo>
                    <a:pt x="5" y="3"/>
                  </a:moveTo>
                  <a:lnTo>
                    <a:pt x="4" y="2"/>
                  </a:lnTo>
                  <a:lnTo>
                    <a:pt x="4" y="2"/>
                  </a:lnTo>
                  <a:lnTo>
                    <a:pt x="3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2"/>
                  </a:lnTo>
                  <a:lnTo>
                    <a:pt x="3" y="2"/>
                  </a:lnTo>
                  <a:lnTo>
                    <a:pt x="4" y="3"/>
                  </a:lnTo>
                  <a:lnTo>
                    <a:pt x="5" y="3"/>
                  </a:lnTo>
                  <a:lnTo>
                    <a:pt x="5" y="3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4" name="Saint Lucia">
              <a:extLst>
                <a:ext uri="{FF2B5EF4-FFF2-40B4-BE49-F238E27FC236}">
                  <a16:creationId xmlns:a16="http://schemas.microsoft.com/office/drawing/2014/main" id="{0DD617A0-3FE7-4FD2-83FE-B34AD43A6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9069" y="3530374"/>
              <a:ext cx="4762" cy="14288"/>
            </a:xfrm>
            <a:custGeom>
              <a:avLst/>
              <a:gdLst>
                <a:gd name="T0" fmla="*/ 3 w 3"/>
                <a:gd name="T1" fmla="*/ 7 h 9"/>
                <a:gd name="T2" fmla="*/ 3 w 3"/>
                <a:gd name="T3" fmla="*/ 2 h 9"/>
                <a:gd name="T4" fmla="*/ 3 w 3"/>
                <a:gd name="T5" fmla="*/ 0 h 9"/>
                <a:gd name="T6" fmla="*/ 3 w 3"/>
                <a:gd name="T7" fmla="*/ 0 h 9"/>
                <a:gd name="T8" fmla="*/ 2 w 3"/>
                <a:gd name="T9" fmla="*/ 2 h 9"/>
                <a:gd name="T10" fmla="*/ 0 w 3"/>
                <a:gd name="T11" fmla="*/ 4 h 9"/>
                <a:gd name="T12" fmla="*/ 0 w 3"/>
                <a:gd name="T13" fmla="*/ 6 h 9"/>
                <a:gd name="T14" fmla="*/ 0 w 3"/>
                <a:gd name="T15" fmla="*/ 8 h 9"/>
                <a:gd name="T16" fmla="*/ 2 w 3"/>
                <a:gd name="T17" fmla="*/ 9 h 9"/>
                <a:gd name="T18" fmla="*/ 3 w 3"/>
                <a:gd name="T19" fmla="*/ 7 h 9"/>
                <a:gd name="T20" fmla="*/ 3 w 3"/>
                <a:gd name="T21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" h="9">
                  <a:moveTo>
                    <a:pt x="3" y="7"/>
                  </a:moveTo>
                  <a:lnTo>
                    <a:pt x="3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8"/>
                  </a:lnTo>
                  <a:lnTo>
                    <a:pt x="2" y="9"/>
                  </a:lnTo>
                  <a:lnTo>
                    <a:pt x="3" y="7"/>
                  </a:lnTo>
                  <a:lnTo>
                    <a:pt x="3" y="7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5" name="Liechtenstein">
              <a:extLst>
                <a:ext uri="{FF2B5EF4-FFF2-40B4-BE49-F238E27FC236}">
                  <a16:creationId xmlns:a16="http://schemas.microsoft.com/office/drawing/2014/main" id="{6F7DF6DF-D64D-4B71-8207-53BF108CB6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4594" y="2284187"/>
              <a:ext cx="4762" cy="7938"/>
            </a:xfrm>
            <a:custGeom>
              <a:avLst/>
              <a:gdLst>
                <a:gd name="T0" fmla="*/ 3 w 3"/>
                <a:gd name="T1" fmla="*/ 5 h 5"/>
                <a:gd name="T2" fmla="*/ 3 w 3"/>
                <a:gd name="T3" fmla="*/ 5 h 5"/>
                <a:gd name="T4" fmla="*/ 3 w 3"/>
                <a:gd name="T5" fmla="*/ 4 h 5"/>
                <a:gd name="T6" fmla="*/ 3 w 3"/>
                <a:gd name="T7" fmla="*/ 3 h 5"/>
                <a:gd name="T8" fmla="*/ 2 w 3"/>
                <a:gd name="T9" fmla="*/ 3 h 5"/>
                <a:gd name="T10" fmla="*/ 2 w 3"/>
                <a:gd name="T11" fmla="*/ 2 h 5"/>
                <a:gd name="T12" fmla="*/ 2 w 3"/>
                <a:gd name="T13" fmla="*/ 1 h 5"/>
                <a:gd name="T14" fmla="*/ 1 w 3"/>
                <a:gd name="T15" fmla="*/ 1 h 5"/>
                <a:gd name="T16" fmla="*/ 1 w 3"/>
                <a:gd name="T17" fmla="*/ 0 h 5"/>
                <a:gd name="T18" fmla="*/ 1 w 3"/>
                <a:gd name="T19" fmla="*/ 0 h 5"/>
                <a:gd name="T20" fmla="*/ 0 w 3"/>
                <a:gd name="T21" fmla="*/ 2 h 5"/>
                <a:gd name="T22" fmla="*/ 0 w 3"/>
                <a:gd name="T23" fmla="*/ 4 h 5"/>
                <a:gd name="T24" fmla="*/ 1 w 3"/>
                <a:gd name="T25" fmla="*/ 5 h 5"/>
                <a:gd name="T26" fmla="*/ 1 w 3"/>
                <a:gd name="T27" fmla="*/ 5 h 5"/>
                <a:gd name="T28" fmla="*/ 3 w 3"/>
                <a:gd name="T29" fmla="*/ 5 h 5"/>
                <a:gd name="T30" fmla="*/ 3 w 3"/>
                <a:gd name="T3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" h="5">
                  <a:moveTo>
                    <a:pt x="3" y="5"/>
                  </a:moveTo>
                  <a:lnTo>
                    <a:pt x="3" y="5"/>
                  </a:lnTo>
                  <a:lnTo>
                    <a:pt x="3" y="4"/>
                  </a:lnTo>
                  <a:lnTo>
                    <a:pt x="3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1" y="5"/>
                  </a:lnTo>
                  <a:lnTo>
                    <a:pt x="1" y="5"/>
                  </a:lnTo>
                  <a:lnTo>
                    <a:pt x="3" y="5"/>
                  </a:lnTo>
                  <a:lnTo>
                    <a:pt x="3" y="5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6" name="Maldives">
              <a:extLst>
                <a:ext uri="{FF2B5EF4-FFF2-40B4-BE49-F238E27FC236}">
                  <a16:creationId xmlns:a16="http://schemas.microsoft.com/office/drawing/2014/main" id="{4B7F57DA-3220-4968-A1D3-D3F9956499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39944" y="3901849"/>
              <a:ext cx="3175" cy="38100"/>
            </a:xfrm>
            <a:custGeom>
              <a:avLst/>
              <a:gdLst>
                <a:gd name="T0" fmla="*/ 0 w 2"/>
                <a:gd name="T1" fmla="*/ 24 h 24"/>
                <a:gd name="T2" fmla="*/ 1 w 2"/>
                <a:gd name="T3" fmla="*/ 24 h 24"/>
                <a:gd name="T4" fmla="*/ 1 w 2"/>
                <a:gd name="T5" fmla="*/ 23 h 24"/>
                <a:gd name="T6" fmla="*/ 0 w 2"/>
                <a:gd name="T7" fmla="*/ 23 h 24"/>
                <a:gd name="T8" fmla="*/ 0 w 2"/>
                <a:gd name="T9" fmla="*/ 23 h 24"/>
                <a:gd name="T10" fmla="*/ 0 w 2"/>
                <a:gd name="T11" fmla="*/ 24 h 24"/>
                <a:gd name="T12" fmla="*/ 0 w 2"/>
                <a:gd name="T13" fmla="*/ 24 h 24"/>
                <a:gd name="T14" fmla="*/ 0 w 2"/>
                <a:gd name="T15" fmla="*/ 24 h 24"/>
                <a:gd name="T16" fmla="*/ 0 w 2"/>
                <a:gd name="T17" fmla="*/ 24 h 24"/>
                <a:gd name="T18" fmla="*/ 2 w 2"/>
                <a:gd name="T19" fmla="*/ 2 h 24"/>
                <a:gd name="T20" fmla="*/ 2 w 2"/>
                <a:gd name="T21" fmla="*/ 1 h 24"/>
                <a:gd name="T22" fmla="*/ 2 w 2"/>
                <a:gd name="T23" fmla="*/ 1 h 24"/>
                <a:gd name="T24" fmla="*/ 2 w 2"/>
                <a:gd name="T25" fmla="*/ 0 h 24"/>
                <a:gd name="T26" fmla="*/ 2 w 2"/>
                <a:gd name="T27" fmla="*/ 0 h 24"/>
                <a:gd name="T28" fmla="*/ 2 w 2"/>
                <a:gd name="T29" fmla="*/ 0 h 24"/>
                <a:gd name="T30" fmla="*/ 2 w 2"/>
                <a:gd name="T31" fmla="*/ 0 h 24"/>
                <a:gd name="T32" fmla="*/ 1 w 2"/>
                <a:gd name="T33" fmla="*/ 1 h 24"/>
                <a:gd name="T34" fmla="*/ 1 w 2"/>
                <a:gd name="T35" fmla="*/ 1 h 24"/>
                <a:gd name="T36" fmla="*/ 1 w 2"/>
                <a:gd name="T37" fmla="*/ 1 h 24"/>
                <a:gd name="T38" fmla="*/ 1 w 2"/>
                <a:gd name="T39" fmla="*/ 2 h 24"/>
                <a:gd name="T40" fmla="*/ 1 w 2"/>
                <a:gd name="T41" fmla="*/ 2 h 24"/>
                <a:gd name="T42" fmla="*/ 2 w 2"/>
                <a:gd name="T43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" h="24">
                  <a:moveTo>
                    <a:pt x="0" y="24"/>
                  </a:moveTo>
                  <a:lnTo>
                    <a:pt x="1" y="24"/>
                  </a:lnTo>
                  <a:lnTo>
                    <a:pt x="1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close/>
                  <a:moveTo>
                    <a:pt x="2" y="2"/>
                  </a:move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2"/>
                  </a:lnTo>
                  <a:lnTo>
                    <a:pt x="1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7" name="Malta">
              <a:extLst>
                <a:ext uri="{FF2B5EF4-FFF2-40B4-BE49-F238E27FC236}">
                  <a16:creationId xmlns:a16="http://schemas.microsoft.com/office/drawing/2014/main" id="{DE27C1DA-2933-4436-B145-D6A28E2735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39694" y="2700112"/>
              <a:ext cx="11112" cy="11113"/>
            </a:xfrm>
            <a:custGeom>
              <a:avLst/>
              <a:gdLst>
                <a:gd name="T0" fmla="*/ 7 w 7"/>
                <a:gd name="T1" fmla="*/ 6 h 7"/>
                <a:gd name="T2" fmla="*/ 7 w 7"/>
                <a:gd name="T3" fmla="*/ 5 h 7"/>
                <a:gd name="T4" fmla="*/ 5 w 7"/>
                <a:gd name="T5" fmla="*/ 3 h 7"/>
                <a:gd name="T6" fmla="*/ 3 w 7"/>
                <a:gd name="T7" fmla="*/ 3 h 7"/>
                <a:gd name="T8" fmla="*/ 3 w 7"/>
                <a:gd name="T9" fmla="*/ 5 h 7"/>
                <a:gd name="T10" fmla="*/ 5 w 7"/>
                <a:gd name="T11" fmla="*/ 7 h 7"/>
                <a:gd name="T12" fmla="*/ 7 w 7"/>
                <a:gd name="T13" fmla="*/ 7 h 7"/>
                <a:gd name="T14" fmla="*/ 7 w 7"/>
                <a:gd name="T15" fmla="*/ 6 h 7"/>
                <a:gd name="T16" fmla="*/ 7 w 7"/>
                <a:gd name="T17" fmla="*/ 6 h 7"/>
                <a:gd name="T18" fmla="*/ 2 w 7"/>
                <a:gd name="T19" fmla="*/ 1 h 7"/>
                <a:gd name="T20" fmla="*/ 2 w 7"/>
                <a:gd name="T21" fmla="*/ 1 h 7"/>
                <a:gd name="T22" fmla="*/ 2 w 7"/>
                <a:gd name="T23" fmla="*/ 0 h 7"/>
                <a:gd name="T24" fmla="*/ 1 w 7"/>
                <a:gd name="T25" fmla="*/ 0 h 7"/>
                <a:gd name="T26" fmla="*/ 0 w 7"/>
                <a:gd name="T27" fmla="*/ 0 h 7"/>
                <a:gd name="T28" fmla="*/ 0 w 7"/>
                <a:gd name="T29" fmla="*/ 1 h 7"/>
                <a:gd name="T30" fmla="*/ 1 w 7"/>
                <a:gd name="T31" fmla="*/ 2 h 7"/>
                <a:gd name="T32" fmla="*/ 2 w 7"/>
                <a:gd name="T33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" h="7">
                  <a:moveTo>
                    <a:pt x="7" y="6"/>
                  </a:moveTo>
                  <a:lnTo>
                    <a:pt x="7" y="5"/>
                  </a:lnTo>
                  <a:lnTo>
                    <a:pt x="5" y="3"/>
                  </a:lnTo>
                  <a:lnTo>
                    <a:pt x="3" y="3"/>
                  </a:lnTo>
                  <a:lnTo>
                    <a:pt x="3" y="5"/>
                  </a:lnTo>
                  <a:lnTo>
                    <a:pt x="5" y="7"/>
                  </a:lnTo>
                  <a:lnTo>
                    <a:pt x="7" y="7"/>
                  </a:lnTo>
                  <a:lnTo>
                    <a:pt x="7" y="6"/>
                  </a:lnTo>
                  <a:lnTo>
                    <a:pt x="7" y="6"/>
                  </a:lnTo>
                  <a:close/>
                  <a:moveTo>
                    <a:pt x="2" y="1"/>
                  </a:moveTo>
                  <a:lnTo>
                    <a:pt x="2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1" y="2"/>
                  </a:lnTo>
                  <a:lnTo>
                    <a:pt x="2" y="1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8" name="Montserrat">
              <a:extLst>
                <a:ext uri="{FF2B5EF4-FFF2-40B4-BE49-F238E27FC236}">
                  <a16:creationId xmlns:a16="http://schemas.microsoft.com/office/drawing/2014/main" id="{E7A81B5D-0814-4848-9B06-83FF9AAC9D4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8906" y="3428774"/>
              <a:ext cx="1587" cy="3175"/>
            </a:xfrm>
            <a:custGeom>
              <a:avLst/>
              <a:gdLst>
                <a:gd name="T0" fmla="*/ 1 w 1"/>
                <a:gd name="T1" fmla="*/ 2 h 2"/>
                <a:gd name="T2" fmla="*/ 1 w 1"/>
                <a:gd name="T3" fmla="*/ 0 h 2"/>
                <a:gd name="T4" fmla="*/ 0 w 1"/>
                <a:gd name="T5" fmla="*/ 0 h 2"/>
                <a:gd name="T6" fmla="*/ 0 w 1"/>
                <a:gd name="T7" fmla="*/ 1 h 2"/>
                <a:gd name="T8" fmla="*/ 0 w 1"/>
                <a:gd name="T9" fmla="*/ 2 h 2"/>
                <a:gd name="T10" fmla="*/ 1 w 1"/>
                <a:gd name="T11" fmla="*/ 2 h 2"/>
                <a:gd name="T12" fmla="*/ 1 w 1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9" name="Mauritius">
              <a:extLst>
                <a:ext uri="{FF2B5EF4-FFF2-40B4-BE49-F238E27FC236}">
                  <a16:creationId xmlns:a16="http://schemas.microsoft.com/office/drawing/2014/main" id="{445BA902-C4AA-4BF0-A3DA-68E1E65F7A00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1619" y="4816248"/>
              <a:ext cx="14287" cy="20638"/>
            </a:xfrm>
            <a:custGeom>
              <a:avLst/>
              <a:gdLst>
                <a:gd name="T0" fmla="*/ 6 w 9"/>
                <a:gd name="T1" fmla="*/ 12 h 13"/>
                <a:gd name="T2" fmla="*/ 7 w 9"/>
                <a:gd name="T3" fmla="*/ 11 h 13"/>
                <a:gd name="T4" fmla="*/ 8 w 9"/>
                <a:gd name="T5" fmla="*/ 9 h 13"/>
                <a:gd name="T6" fmla="*/ 9 w 9"/>
                <a:gd name="T7" fmla="*/ 8 h 13"/>
                <a:gd name="T8" fmla="*/ 9 w 9"/>
                <a:gd name="T9" fmla="*/ 5 h 13"/>
                <a:gd name="T10" fmla="*/ 9 w 9"/>
                <a:gd name="T11" fmla="*/ 2 h 13"/>
                <a:gd name="T12" fmla="*/ 7 w 9"/>
                <a:gd name="T13" fmla="*/ 0 h 13"/>
                <a:gd name="T14" fmla="*/ 5 w 9"/>
                <a:gd name="T15" fmla="*/ 1 h 13"/>
                <a:gd name="T16" fmla="*/ 4 w 9"/>
                <a:gd name="T17" fmla="*/ 1 h 13"/>
                <a:gd name="T18" fmla="*/ 3 w 9"/>
                <a:gd name="T19" fmla="*/ 3 h 13"/>
                <a:gd name="T20" fmla="*/ 1 w 9"/>
                <a:gd name="T21" fmla="*/ 4 h 13"/>
                <a:gd name="T22" fmla="*/ 1 w 9"/>
                <a:gd name="T23" fmla="*/ 6 h 13"/>
                <a:gd name="T24" fmla="*/ 0 w 9"/>
                <a:gd name="T25" fmla="*/ 8 h 13"/>
                <a:gd name="T26" fmla="*/ 0 w 9"/>
                <a:gd name="T27" fmla="*/ 10 h 13"/>
                <a:gd name="T28" fmla="*/ 0 w 9"/>
                <a:gd name="T29" fmla="*/ 10 h 13"/>
                <a:gd name="T30" fmla="*/ 0 w 9"/>
                <a:gd name="T31" fmla="*/ 11 h 13"/>
                <a:gd name="T32" fmla="*/ 0 w 9"/>
                <a:gd name="T33" fmla="*/ 12 h 13"/>
                <a:gd name="T34" fmla="*/ 3 w 9"/>
                <a:gd name="T35" fmla="*/ 13 h 13"/>
                <a:gd name="T36" fmla="*/ 6 w 9"/>
                <a:gd name="T37" fmla="*/ 12 h 13"/>
                <a:gd name="T38" fmla="*/ 6 w 9"/>
                <a:gd name="T39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" h="13">
                  <a:moveTo>
                    <a:pt x="6" y="12"/>
                  </a:moveTo>
                  <a:lnTo>
                    <a:pt x="7" y="11"/>
                  </a:lnTo>
                  <a:lnTo>
                    <a:pt x="8" y="9"/>
                  </a:lnTo>
                  <a:lnTo>
                    <a:pt x="9" y="8"/>
                  </a:lnTo>
                  <a:lnTo>
                    <a:pt x="9" y="5"/>
                  </a:lnTo>
                  <a:lnTo>
                    <a:pt x="9" y="2"/>
                  </a:lnTo>
                  <a:lnTo>
                    <a:pt x="7" y="0"/>
                  </a:lnTo>
                  <a:lnTo>
                    <a:pt x="5" y="1"/>
                  </a:lnTo>
                  <a:lnTo>
                    <a:pt x="4" y="1"/>
                  </a:lnTo>
                  <a:lnTo>
                    <a:pt x="3" y="3"/>
                  </a:lnTo>
                  <a:lnTo>
                    <a:pt x="1" y="4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1"/>
                  </a:lnTo>
                  <a:lnTo>
                    <a:pt x="0" y="12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0" name="New Caledonia">
              <a:extLst>
                <a:ext uri="{FF2B5EF4-FFF2-40B4-BE49-F238E27FC236}">
                  <a16:creationId xmlns:a16="http://schemas.microsoft.com/office/drawing/2014/main" id="{666D3F3D-BC5B-4DF1-8370-02DCC5F4BF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35531" y="4782911"/>
              <a:ext cx="249237" cy="133350"/>
            </a:xfrm>
            <a:custGeom>
              <a:avLst/>
              <a:gdLst>
                <a:gd name="T0" fmla="*/ 136 w 157"/>
                <a:gd name="T1" fmla="*/ 81 h 84"/>
                <a:gd name="T2" fmla="*/ 136 w 157"/>
                <a:gd name="T3" fmla="*/ 84 h 84"/>
                <a:gd name="T4" fmla="*/ 137 w 157"/>
                <a:gd name="T5" fmla="*/ 83 h 84"/>
                <a:gd name="T6" fmla="*/ 154 w 157"/>
                <a:gd name="T7" fmla="*/ 53 h 84"/>
                <a:gd name="T8" fmla="*/ 151 w 157"/>
                <a:gd name="T9" fmla="*/ 54 h 84"/>
                <a:gd name="T10" fmla="*/ 152 w 157"/>
                <a:gd name="T11" fmla="*/ 59 h 84"/>
                <a:gd name="T12" fmla="*/ 156 w 157"/>
                <a:gd name="T13" fmla="*/ 60 h 84"/>
                <a:gd name="T14" fmla="*/ 155 w 157"/>
                <a:gd name="T15" fmla="*/ 55 h 84"/>
                <a:gd name="T16" fmla="*/ 145 w 157"/>
                <a:gd name="T17" fmla="*/ 47 h 84"/>
                <a:gd name="T18" fmla="*/ 143 w 157"/>
                <a:gd name="T19" fmla="*/ 42 h 84"/>
                <a:gd name="T20" fmla="*/ 142 w 157"/>
                <a:gd name="T21" fmla="*/ 37 h 84"/>
                <a:gd name="T22" fmla="*/ 140 w 157"/>
                <a:gd name="T23" fmla="*/ 39 h 84"/>
                <a:gd name="T24" fmla="*/ 137 w 157"/>
                <a:gd name="T25" fmla="*/ 43 h 84"/>
                <a:gd name="T26" fmla="*/ 141 w 157"/>
                <a:gd name="T27" fmla="*/ 48 h 84"/>
                <a:gd name="T28" fmla="*/ 129 w 157"/>
                <a:gd name="T29" fmla="*/ 38 h 84"/>
                <a:gd name="T30" fmla="*/ 131 w 157"/>
                <a:gd name="T31" fmla="*/ 35 h 84"/>
                <a:gd name="T32" fmla="*/ 133 w 157"/>
                <a:gd name="T33" fmla="*/ 32 h 84"/>
                <a:gd name="T34" fmla="*/ 131 w 157"/>
                <a:gd name="T35" fmla="*/ 32 h 84"/>
                <a:gd name="T36" fmla="*/ 128 w 157"/>
                <a:gd name="T37" fmla="*/ 38 h 84"/>
                <a:gd name="T38" fmla="*/ 83 w 157"/>
                <a:gd name="T39" fmla="*/ 27 h 84"/>
                <a:gd name="T40" fmla="*/ 80 w 157"/>
                <a:gd name="T41" fmla="*/ 27 h 84"/>
                <a:gd name="T42" fmla="*/ 81 w 157"/>
                <a:gd name="T43" fmla="*/ 29 h 84"/>
                <a:gd name="T44" fmla="*/ 83 w 157"/>
                <a:gd name="T45" fmla="*/ 36 h 84"/>
                <a:gd name="T46" fmla="*/ 87 w 157"/>
                <a:gd name="T47" fmla="*/ 43 h 84"/>
                <a:gd name="T48" fmla="*/ 91 w 157"/>
                <a:gd name="T49" fmla="*/ 51 h 84"/>
                <a:gd name="T50" fmla="*/ 99 w 157"/>
                <a:gd name="T51" fmla="*/ 59 h 84"/>
                <a:gd name="T52" fmla="*/ 105 w 157"/>
                <a:gd name="T53" fmla="*/ 64 h 84"/>
                <a:gd name="T54" fmla="*/ 112 w 157"/>
                <a:gd name="T55" fmla="*/ 68 h 84"/>
                <a:gd name="T56" fmla="*/ 113 w 157"/>
                <a:gd name="T57" fmla="*/ 71 h 84"/>
                <a:gd name="T58" fmla="*/ 118 w 157"/>
                <a:gd name="T59" fmla="*/ 74 h 84"/>
                <a:gd name="T60" fmla="*/ 119 w 157"/>
                <a:gd name="T61" fmla="*/ 75 h 84"/>
                <a:gd name="T62" fmla="*/ 126 w 157"/>
                <a:gd name="T63" fmla="*/ 78 h 84"/>
                <a:gd name="T64" fmla="*/ 129 w 157"/>
                <a:gd name="T65" fmla="*/ 71 h 84"/>
                <a:gd name="T66" fmla="*/ 122 w 157"/>
                <a:gd name="T67" fmla="*/ 65 h 84"/>
                <a:gd name="T68" fmla="*/ 114 w 157"/>
                <a:gd name="T69" fmla="*/ 56 h 84"/>
                <a:gd name="T70" fmla="*/ 110 w 157"/>
                <a:gd name="T71" fmla="*/ 53 h 84"/>
                <a:gd name="T72" fmla="*/ 106 w 157"/>
                <a:gd name="T73" fmla="*/ 50 h 84"/>
                <a:gd name="T74" fmla="*/ 104 w 157"/>
                <a:gd name="T75" fmla="*/ 45 h 84"/>
                <a:gd name="T76" fmla="*/ 101 w 157"/>
                <a:gd name="T77" fmla="*/ 40 h 84"/>
                <a:gd name="T78" fmla="*/ 96 w 157"/>
                <a:gd name="T79" fmla="*/ 37 h 84"/>
                <a:gd name="T80" fmla="*/ 85 w 157"/>
                <a:gd name="T81" fmla="*/ 29 h 84"/>
                <a:gd name="T82" fmla="*/ 1 w 157"/>
                <a:gd name="T83" fmla="*/ 5 h 84"/>
                <a:gd name="T84" fmla="*/ 1 w 157"/>
                <a:gd name="T85" fmla="*/ 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7" h="84">
                  <a:moveTo>
                    <a:pt x="137" y="83"/>
                  </a:moveTo>
                  <a:lnTo>
                    <a:pt x="137" y="82"/>
                  </a:lnTo>
                  <a:lnTo>
                    <a:pt x="136" y="81"/>
                  </a:lnTo>
                  <a:lnTo>
                    <a:pt x="135" y="83"/>
                  </a:lnTo>
                  <a:lnTo>
                    <a:pt x="135" y="84"/>
                  </a:lnTo>
                  <a:lnTo>
                    <a:pt x="136" y="84"/>
                  </a:lnTo>
                  <a:lnTo>
                    <a:pt x="136" y="84"/>
                  </a:lnTo>
                  <a:lnTo>
                    <a:pt x="137" y="83"/>
                  </a:lnTo>
                  <a:lnTo>
                    <a:pt x="137" y="83"/>
                  </a:lnTo>
                  <a:close/>
                  <a:moveTo>
                    <a:pt x="155" y="55"/>
                  </a:moveTo>
                  <a:lnTo>
                    <a:pt x="154" y="55"/>
                  </a:lnTo>
                  <a:lnTo>
                    <a:pt x="154" y="53"/>
                  </a:lnTo>
                  <a:lnTo>
                    <a:pt x="155" y="53"/>
                  </a:lnTo>
                  <a:lnTo>
                    <a:pt x="153" y="53"/>
                  </a:lnTo>
                  <a:lnTo>
                    <a:pt x="151" y="54"/>
                  </a:lnTo>
                  <a:lnTo>
                    <a:pt x="151" y="57"/>
                  </a:lnTo>
                  <a:lnTo>
                    <a:pt x="151" y="59"/>
                  </a:lnTo>
                  <a:lnTo>
                    <a:pt x="152" y="59"/>
                  </a:lnTo>
                  <a:lnTo>
                    <a:pt x="152" y="61"/>
                  </a:lnTo>
                  <a:lnTo>
                    <a:pt x="153" y="61"/>
                  </a:lnTo>
                  <a:lnTo>
                    <a:pt x="156" y="60"/>
                  </a:lnTo>
                  <a:lnTo>
                    <a:pt x="157" y="55"/>
                  </a:lnTo>
                  <a:lnTo>
                    <a:pt x="155" y="55"/>
                  </a:lnTo>
                  <a:lnTo>
                    <a:pt x="155" y="55"/>
                  </a:lnTo>
                  <a:lnTo>
                    <a:pt x="155" y="55"/>
                  </a:lnTo>
                  <a:close/>
                  <a:moveTo>
                    <a:pt x="144" y="49"/>
                  </a:moveTo>
                  <a:lnTo>
                    <a:pt x="145" y="47"/>
                  </a:lnTo>
                  <a:lnTo>
                    <a:pt x="145" y="46"/>
                  </a:lnTo>
                  <a:lnTo>
                    <a:pt x="144" y="44"/>
                  </a:lnTo>
                  <a:lnTo>
                    <a:pt x="143" y="42"/>
                  </a:lnTo>
                  <a:lnTo>
                    <a:pt x="144" y="38"/>
                  </a:lnTo>
                  <a:lnTo>
                    <a:pt x="144" y="38"/>
                  </a:lnTo>
                  <a:lnTo>
                    <a:pt x="142" y="37"/>
                  </a:lnTo>
                  <a:lnTo>
                    <a:pt x="139" y="38"/>
                  </a:lnTo>
                  <a:lnTo>
                    <a:pt x="138" y="39"/>
                  </a:lnTo>
                  <a:lnTo>
                    <a:pt x="140" y="39"/>
                  </a:lnTo>
                  <a:lnTo>
                    <a:pt x="141" y="40"/>
                  </a:lnTo>
                  <a:lnTo>
                    <a:pt x="139" y="43"/>
                  </a:lnTo>
                  <a:lnTo>
                    <a:pt x="137" y="43"/>
                  </a:lnTo>
                  <a:lnTo>
                    <a:pt x="138" y="45"/>
                  </a:lnTo>
                  <a:lnTo>
                    <a:pt x="138" y="47"/>
                  </a:lnTo>
                  <a:lnTo>
                    <a:pt x="141" y="48"/>
                  </a:lnTo>
                  <a:lnTo>
                    <a:pt x="142" y="49"/>
                  </a:lnTo>
                  <a:lnTo>
                    <a:pt x="144" y="49"/>
                  </a:lnTo>
                  <a:close/>
                  <a:moveTo>
                    <a:pt x="129" y="38"/>
                  </a:moveTo>
                  <a:lnTo>
                    <a:pt x="130" y="36"/>
                  </a:lnTo>
                  <a:lnTo>
                    <a:pt x="131" y="36"/>
                  </a:lnTo>
                  <a:lnTo>
                    <a:pt x="131" y="35"/>
                  </a:lnTo>
                  <a:lnTo>
                    <a:pt x="131" y="34"/>
                  </a:lnTo>
                  <a:lnTo>
                    <a:pt x="132" y="33"/>
                  </a:lnTo>
                  <a:lnTo>
                    <a:pt x="133" y="32"/>
                  </a:lnTo>
                  <a:lnTo>
                    <a:pt x="132" y="31"/>
                  </a:lnTo>
                  <a:lnTo>
                    <a:pt x="131" y="31"/>
                  </a:lnTo>
                  <a:lnTo>
                    <a:pt x="131" y="32"/>
                  </a:lnTo>
                  <a:lnTo>
                    <a:pt x="130" y="35"/>
                  </a:lnTo>
                  <a:lnTo>
                    <a:pt x="130" y="36"/>
                  </a:lnTo>
                  <a:lnTo>
                    <a:pt x="128" y="38"/>
                  </a:lnTo>
                  <a:lnTo>
                    <a:pt x="129" y="38"/>
                  </a:lnTo>
                  <a:lnTo>
                    <a:pt x="129" y="38"/>
                  </a:lnTo>
                  <a:close/>
                  <a:moveTo>
                    <a:pt x="83" y="27"/>
                  </a:moveTo>
                  <a:lnTo>
                    <a:pt x="80" y="24"/>
                  </a:lnTo>
                  <a:lnTo>
                    <a:pt x="80" y="25"/>
                  </a:lnTo>
                  <a:lnTo>
                    <a:pt x="80" y="27"/>
                  </a:lnTo>
                  <a:lnTo>
                    <a:pt x="80" y="28"/>
                  </a:lnTo>
                  <a:lnTo>
                    <a:pt x="81" y="29"/>
                  </a:lnTo>
                  <a:lnTo>
                    <a:pt x="81" y="29"/>
                  </a:lnTo>
                  <a:lnTo>
                    <a:pt x="81" y="31"/>
                  </a:lnTo>
                  <a:lnTo>
                    <a:pt x="81" y="33"/>
                  </a:lnTo>
                  <a:lnTo>
                    <a:pt x="83" y="36"/>
                  </a:lnTo>
                  <a:lnTo>
                    <a:pt x="84" y="38"/>
                  </a:lnTo>
                  <a:lnTo>
                    <a:pt x="85" y="41"/>
                  </a:lnTo>
                  <a:lnTo>
                    <a:pt x="87" y="43"/>
                  </a:lnTo>
                  <a:lnTo>
                    <a:pt x="88" y="45"/>
                  </a:lnTo>
                  <a:lnTo>
                    <a:pt x="91" y="50"/>
                  </a:lnTo>
                  <a:lnTo>
                    <a:pt x="91" y="51"/>
                  </a:lnTo>
                  <a:lnTo>
                    <a:pt x="93" y="53"/>
                  </a:lnTo>
                  <a:lnTo>
                    <a:pt x="97" y="57"/>
                  </a:lnTo>
                  <a:lnTo>
                    <a:pt x="99" y="59"/>
                  </a:lnTo>
                  <a:lnTo>
                    <a:pt x="100" y="60"/>
                  </a:lnTo>
                  <a:lnTo>
                    <a:pt x="104" y="63"/>
                  </a:lnTo>
                  <a:lnTo>
                    <a:pt x="105" y="64"/>
                  </a:lnTo>
                  <a:lnTo>
                    <a:pt x="106" y="65"/>
                  </a:lnTo>
                  <a:lnTo>
                    <a:pt x="109" y="66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70"/>
                  </a:lnTo>
                  <a:lnTo>
                    <a:pt x="113" y="71"/>
                  </a:lnTo>
                  <a:lnTo>
                    <a:pt x="115" y="72"/>
                  </a:lnTo>
                  <a:lnTo>
                    <a:pt x="117" y="74"/>
                  </a:lnTo>
                  <a:lnTo>
                    <a:pt x="118" y="74"/>
                  </a:lnTo>
                  <a:lnTo>
                    <a:pt x="118" y="75"/>
                  </a:lnTo>
                  <a:lnTo>
                    <a:pt x="119" y="75"/>
                  </a:lnTo>
                  <a:lnTo>
                    <a:pt x="119" y="75"/>
                  </a:lnTo>
                  <a:lnTo>
                    <a:pt x="123" y="78"/>
                  </a:lnTo>
                  <a:lnTo>
                    <a:pt x="125" y="78"/>
                  </a:lnTo>
                  <a:lnTo>
                    <a:pt x="126" y="78"/>
                  </a:lnTo>
                  <a:lnTo>
                    <a:pt x="128" y="77"/>
                  </a:lnTo>
                  <a:lnTo>
                    <a:pt x="129" y="75"/>
                  </a:lnTo>
                  <a:lnTo>
                    <a:pt x="129" y="71"/>
                  </a:lnTo>
                  <a:lnTo>
                    <a:pt x="127" y="69"/>
                  </a:lnTo>
                  <a:lnTo>
                    <a:pt x="124" y="67"/>
                  </a:lnTo>
                  <a:lnTo>
                    <a:pt x="122" y="65"/>
                  </a:lnTo>
                  <a:lnTo>
                    <a:pt x="121" y="64"/>
                  </a:lnTo>
                  <a:lnTo>
                    <a:pt x="118" y="60"/>
                  </a:lnTo>
                  <a:lnTo>
                    <a:pt x="114" y="56"/>
                  </a:lnTo>
                  <a:lnTo>
                    <a:pt x="112" y="55"/>
                  </a:lnTo>
                  <a:lnTo>
                    <a:pt x="111" y="54"/>
                  </a:lnTo>
                  <a:lnTo>
                    <a:pt x="110" y="53"/>
                  </a:lnTo>
                  <a:lnTo>
                    <a:pt x="109" y="52"/>
                  </a:lnTo>
                  <a:lnTo>
                    <a:pt x="107" y="51"/>
                  </a:lnTo>
                  <a:lnTo>
                    <a:pt x="106" y="50"/>
                  </a:lnTo>
                  <a:lnTo>
                    <a:pt x="104" y="47"/>
                  </a:lnTo>
                  <a:lnTo>
                    <a:pt x="104" y="46"/>
                  </a:lnTo>
                  <a:lnTo>
                    <a:pt x="104" y="45"/>
                  </a:lnTo>
                  <a:lnTo>
                    <a:pt x="104" y="44"/>
                  </a:lnTo>
                  <a:lnTo>
                    <a:pt x="102" y="42"/>
                  </a:lnTo>
                  <a:lnTo>
                    <a:pt x="101" y="40"/>
                  </a:lnTo>
                  <a:lnTo>
                    <a:pt x="101" y="39"/>
                  </a:lnTo>
                  <a:lnTo>
                    <a:pt x="99" y="38"/>
                  </a:lnTo>
                  <a:lnTo>
                    <a:pt x="96" y="37"/>
                  </a:lnTo>
                  <a:lnTo>
                    <a:pt x="90" y="30"/>
                  </a:lnTo>
                  <a:lnTo>
                    <a:pt x="88" y="28"/>
                  </a:lnTo>
                  <a:lnTo>
                    <a:pt x="85" y="29"/>
                  </a:lnTo>
                  <a:lnTo>
                    <a:pt x="83" y="27"/>
                  </a:lnTo>
                  <a:lnTo>
                    <a:pt x="83" y="27"/>
                  </a:lnTo>
                  <a:close/>
                  <a:moveTo>
                    <a:pt x="1" y="5"/>
                  </a:moveTo>
                  <a:lnTo>
                    <a:pt x="2" y="3"/>
                  </a:lnTo>
                  <a:lnTo>
                    <a:pt x="2" y="0"/>
                  </a:lnTo>
                  <a:lnTo>
                    <a:pt x="1" y="2"/>
                  </a:lnTo>
                  <a:lnTo>
                    <a:pt x="0" y="6"/>
                  </a:lnTo>
                  <a:lnTo>
                    <a:pt x="1" y="5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1" name="Marshall Islands">
              <a:extLst>
                <a:ext uri="{FF2B5EF4-FFF2-40B4-BE49-F238E27FC236}">
                  <a16:creationId xmlns:a16="http://schemas.microsoft.com/office/drawing/2014/main" id="{10AB641A-6FB8-4C2C-84ED-3E6D0BA483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57794" y="4081237"/>
              <a:ext cx="0" cy="1588"/>
            </a:xfrm>
            <a:custGeom>
              <a:avLst/>
              <a:gdLst>
                <a:gd name="T0" fmla="*/ 0 h 1"/>
                <a:gd name="T1" fmla="*/ 0 h 1"/>
                <a:gd name="T2" fmla="*/ 0 h 1"/>
                <a:gd name="T3" fmla="*/ 0 h 1"/>
                <a:gd name="T4" fmla="*/ 0 h 1"/>
                <a:gd name="T5" fmla="*/ 0 h 1"/>
                <a:gd name="T6" fmla="*/ 1 h 1"/>
                <a:gd name="T7" fmla="*/ 0 h 1"/>
                <a:gd name="T8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2" name="Pitcaim Islands">
              <a:extLst>
                <a:ext uri="{FF2B5EF4-FFF2-40B4-BE49-F238E27FC236}">
                  <a16:creationId xmlns:a16="http://schemas.microsoft.com/office/drawing/2014/main" id="{75FD5B6F-64E2-4260-B366-00E0186D65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006" y="4979761"/>
              <a:ext cx="3175" cy="3175"/>
            </a:xfrm>
            <a:custGeom>
              <a:avLst/>
              <a:gdLst>
                <a:gd name="T0" fmla="*/ 2 w 2"/>
                <a:gd name="T1" fmla="*/ 2 h 2"/>
                <a:gd name="T2" fmla="*/ 2 w 2"/>
                <a:gd name="T3" fmla="*/ 1 h 2"/>
                <a:gd name="T4" fmla="*/ 1 w 2"/>
                <a:gd name="T5" fmla="*/ 0 h 2"/>
                <a:gd name="T6" fmla="*/ 1 w 2"/>
                <a:gd name="T7" fmla="*/ 0 h 2"/>
                <a:gd name="T8" fmla="*/ 0 w 2"/>
                <a:gd name="T9" fmla="*/ 0 h 2"/>
                <a:gd name="T10" fmla="*/ 1 w 2"/>
                <a:gd name="T11" fmla="*/ 1 h 2"/>
                <a:gd name="T12" fmla="*/ 1 w 2"/>
                <a:gd name="T13" fmla="*/ 2 h 2"/>
                <a:gd name="T14" fmla="*/ 2 w 2"/>
                <a:gd name="T15" fmla="*/ 2 h 2"/>
                <a:gd name="T16" fmla="*/ 2 w 2"/>
                <a:gd name="T1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2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1" y="1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3" name="Puerto Rico">
              <a:extLst>
                <a:ext uri="{FF2B5EF4-FFF2-40B4-BE49-F238E27FC236}">
                  <a16:creationId xmlns:a16="http://schemas.microsoft.com/office/drawing/2014/main" id="{63BC6EEE-957E-446E-A244-B1D6FE1BDE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4756" y="3363686"/>
              <a:ext cx="85725" cy="22225"/>
            </a:xfrm>
            <a:custGeom>
              <a:avLst/>
              <a:gdLst>
                <a:gd name="T0" fmla="*/ 1 w 54"/>
                <a:gd name="T1" fmla="*/ 11 h 14"/>
                <a:gd name="T2" fmla="*/ 2 w 54"/>
                <a:gd name="T3" fmla="*/ 11 h 14"/>
                <a:gd name="T4" fmla="*/ 2 w 54"/>
                <a:gd name="T5" fmla="*/ 10 h 14"/>
                <a:gd name="T6" fmla="*/ 2 w 54"/>
                <a:gd name="T7" fmla="*/ 10 h 14"/>
                <a:gd name="T8" fmla="*/ 2 w 54"/>
                <a:gd name="T9" fmla="*/ 10 h 14"/>
                <a:gd name="T10" fmla="*/ 0 w 54"/>
                <a:gd name="T11" fmla="*/ 10 h 14"/>
                <a:gd name="T12" fmla="*/ 0 w 54"/>
                <a:gd name="T13" fmla="*/ 10 h 14"/>
                <a:gd name="T14" fmla="*/ 1 w 54"/>
                <a:gd name="T15" fmla="*/ 11 h 14"/>
                <a:gd name="T16" fmla="*/ 1 w 54"/>
                <a:gd name="T17" fmla="*/ 11 h 14"/>
                <a:gd name="T18" fmla="*/ 53 w 54"/>
                <a:gd name="T19" fmla="*/ 10 h 14"/>
                <a:gd name="T20" fmla="*/ 54 w 54"/>
                <a:gd name="T21" fmla="*/ 9 h 14"/>
                <a:gd name="T22" fmla="*/ 51 w 54"/>
                <a:gd name="T23" fmla="*/ 8 h 14"/>
                <a:gd name="T24" fmla="*/ 50 w 54"/>
                <a:gd name="T25" fmla="*/ 10 h 14"/>
                <a:gd name="T26" fmla="*/ 53 w 54"/>
                <a:gd name="T27" fmla="*/ 10 h 14"/>
                <a:gd name="T28" fmla="*/ 38 w 54"/>
                <a:gd name="T29" fmla="*/ 1 h 14"/>
                <a:gd name="T30" fmla="*/ 25 w 54"/>
                <a:gd name="T31" fmla="*/ 1 h 14"/>
                <a:gd name="T32" fmla="*/ 18 w 54"/>
                <a:gd name="T33" fmla="*/ 1 h 14"/>
                <a:gd name="T34" fmla="*/ 17 w 54"/>
                <a:gd name="T35" fmla="*/ 2 h 14"/>
                <a:gd name="T36" fmla="*/ 15 w 54"/>
                <a:gd name="T37" fmla="*/ 3 h 14"/>
                <a:gd name="T38" fmla="*/ 15 w 54"/>
                <a:gd name="T39" fmla="*/ 5 h 14"/>
                <a:gd name="T40" fmla="*/ 16 w 54"/>
                <a:gd name="T41" fmla="*/ 9 h 14"/>
                <a:gd name="T42" fmla="*/ 16 w 54"/>
                <a:gd name="T43" fmla="*/ 14 h 14"/>
                <a:gd name="T44" fmla="*/ 20 w 54"/>
                <a:gd name="T45" fmla="*/ 14 h 14"/>
                <a:gd name="T46" fmla="*/ 23 w 54"/>
                <a:gd name="T47" fmla="*/ 14 h 14"/>
                <a:gd name="T48" fmla="*/ 27 w 54"/>
                <a:gd name="T49" fmla="*/ 13 h 14"/>
                <a:gd name="T50" fmla="*/ 32 w 54"/>
                <a:gd name="T51" fmla="*/ 14 h 14"/>
                <a:gd name="T52" fmla="*/ 34 w 54"/>
                <a:gd name="T53" fmla="*/ 14 h 14"/>
                <a:gd name="T54" fmla="*/ 38 w 54"/>
                <a:gd name="T55" fmla="*/ 14 h 14"/>
                <a:gd name="T56" fmla="*/ 43 w 54"/>
                <a:gd name="T57" fmla="*/ 11 h 14"/>
                <a:gd name="T58" fmla="*/ 46 w 54"/>
                <a:gd name="T59" fmla="*/ 8 h 14"/>
                <a:gd name="T60" fmla="*/ 49 w 54"/>
                <a:gd name="T61" fmla="*/ 3 h 14"/>
                <a:gd name="T62" fmla="*/ 43 w 54"/>
                <a:gd name="T63" fmla="*/ 1 h 14"/>
                <a:gd name="T64" fmla="*/ 39 w 54"/>
                <a:gd name="T65" fmla="*/ 1 h 14"/>
                <a:gd name="T66" fmla="*/ 39 w 54"/>
                <a:gd name="T67" fmla="*/ 2 h 14"/>
                <a:gd name="T68" fmla="*/ 39 w 54"/>
                <a:gd name="T69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" h="14">
                  <a:moveTo>
                    <a:pt x="1" y="11"/>
                  </a:moveTo>
                  <a:lnTo>
                    <a:pt x="1" y="11"/>
                  </a:lnTo>
                  <a:lnTo>
                    <a:pt x="1" y="11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1"/>
                  </a:lnTo>
                  <a:close/>
                  <a:moveTo>
                    <a:pt x="53" y="10"/>
                  </a:moveTo>
                  <a:lnTo>
                    <a:pt x="54" y="9"/>
                  </a:lnTo>
                  <a:lnTo>
                    <a:pt x="54" y="9"/>
                  </a:lnTo>
                  <a:lnTo>
                    <a:pt x="53" y="8"/>
                  </a:lnTo>
                  <a:lnTo>
                    <a:pt x="51" y="8"/>
                  </a:lnTo>
                  <a:lnTo>
                    <a:pt x="49" y="9"/>
                  </a:lnTo>
                  <a:lnTo>
                    <a:pt x="50" y="10"/>
                  </a:lnTo>
                  <a:lnTo>
                    <a:pt x="51" y="10"/>
                  </a:lnTo>
                  <a:lnTo>
                    <a:pt x="53" y="10"/>
                  </a:lnTo>
                  <a:close/>
                  <a:moveTo>
                    <a:pt x="39" y="1"/>
                  </a:moveTo>
                  <a:lnTo>
                    <a:pt x="38" y="1"/>
                  </a:lnTo>
                  <a:lnTo>
                    <a:pt x="38" y="1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18" y="1"/>
                  </a:lnTo>
                  <a:lnTo>
                    <a:pt x="17" y="1"/>
                  </a:lnTo>
                  <a:lnTo>
                    <a:pt x="17" y="2"/>
                  </a:lnTo>
                  <a:lnTo>
                    <a:pt x="16" y="2"/>
                  </a:lnTo>
                  <a:lnTo>
                    <a:pt x="15" y="3"/>
                  </a:lnTo>
                  <a:lnTo>
                    <a:pt x="15" y="4"/>
                  </a:lnTo>
                  <a:lnTo>
                    <a:pt x="15" y="5"/>
                  </a:lnTo>
                  <a:lnTo>
                    <a:pt x="16" y="7"/>
                  </a:lnTo>
                  <a:lnTo>
                    <a:pt x="16" y="9"/>
                  </a:lnTo>
                  <a:lnTo>
                    <a:pt x="15" y="13"/>
                  </a:lnTo>
                  <a:lnTo>
                    <a:pt x="16" y="14"/>
                  </a:lnTo>
                  <a:lnTo>
                    <a:pt x="19" y="13"/>
                  </a:lnTo>
                  <a:lnTo>
                    <a:pt x="20" y="14"/>
                  </a:lnTo>
                  <a:lnTo>
                    <a:pt x="21" y="14"/>
                  </a:lnTo>
                  <a:lnTo>
                    <a:pt x="23" y="14"/>
                  </a:lnTo>
                  <a:lnTo>
                    <a:pt x="25" y="13"/>
                  </a:lnTo>
                  <a:lnTo>
                    <a:pt x="27" y="13"/>
                  </a:lnTo>
                  <a:lnTo>
                    <a:pt x="29" y="13"/>
                  </a:lnTo>
                  <a:lnTo>
                    <a:pt x="32" y="14"/>
                  </a:lnTo>
                  <a:lnTo>
                    <a:pt x="33" y="14"/>
                  </a:lnTo>
                  <a:lnTo>
                    <a:pt x="34" y="14"/>
                  </a:lnTo>
                  <a:lnTo>
                    <a:pt x="35" y="14"/>
                  </a:lnTo>
                  <a:lnTo>
                    <a:pt x="38" y="14"/>
                  </a:lnTo>
                  <a:lnTo>
                    <a:pt x="40" y="13"/>
                  </a:lnTo>
                  <a:lnTo>
                    <a:pt x="43" y="11"/>
                  </a:lnTo>
                  <a:lnTo>
                    <a:pt x="45" y="9"/>
                  </a:lnTo>
                  <a:lnTo>
                    <a:pt x="46" y="8"/>
                  </a:lnTo>
                  <a:lnTo>
                    <a:pt x="49" y="6"/>
                  </a:lnTo>
                  <a:lnTo>
                    <a:pt x="49" y="3"/>
                  </a:lnTo>
                  <a:lnTo>
                    <a:pt x="46" y="2"/>
                  </a:lnTo>
                  <a:lnTo>
                    <a:pt x="43" y="1"/>
                  </a:lnTo>
                  <a:lnTo>
                    <a:pt x="39" y="1"/>
                  </a:lnTo>
                  <a:lnTo>
                    <a:pt x="39" y="1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9" y="1"/>
                  </a:lnTo>
                  <a:lnTo>
                    <a:pt x="39" y="1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4" name="Singapore">
              <a:extLst>
                <a:ext uri="{FF2B5EF4-FFF2-40B4-BE49-F238E27FC236}">
                  <a16:creationId xmlns:a16="http://schemas.microsoft.com/office/drawing/2014/main" id="{75D0C9B4-0190-45C2-9C55-1968D9AD9CC4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9594" y="4008212"/>
              <a:ext cx="9525" cy="4763"/>
            </a:xfrm>
            <a:custGeom>
              <a:avLst/>
              <a:gdLst>
                <a:gd name="T0" fmla="*/ 6 w 6"/>
                <a:gd name="T1" fmla="*/ 3 h 3"/>
                <a:gd name="T2" fmla="*/ 6 w 6"/>
                <a:gd name="T3" fmla="*/ 2 h 3"/>
                <a:gd name="T4" fmla="*/ 6 w 6"/>
                <a:gd name="T5" fmla="*/ 1 h 3"/>
                <a:gd name="T6" fmla="*/ 5 w 6"/>
                <a:gd name="T7" fmla="*/ 1 h 3"/>
                <a:gd name="T8" fmla="*/ 3 w 6"/>
                <a:gd name="T9" fmla="*/ 0 h 3"/>
                <a:gd name="T10" fmla="*/ 1 w 6"/>
                <a:gd name="T11" fmla="*/ 0 h 3"/>
                <a:gd name="T12" fmla="*/ 0 w 6"/>
                <a:gd name="T13" fmla="*/ 3 h 3"/>
                <a:gd name="T14" fmla="*/ 3 w 6"/>
                <a:gd name="T15" fmla="*/ 3 h 3"/>
                <a:gd name="T16" fmla="*/ 6 w 6"/>
                <a:gd name="T17" fmla="*/ 3 h 3"/>
                <a:gd name="T18" fmla="*/ 6 w 6"/>
                <a:gd name="T1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3">
                  <a:moveTo>
                    <a:pt x="6" y="3"/>
                  </a:moveTo>
                  <a:lnTo>
                    <a:pt x="6" y="2"/>
                  </a:lnTo>
                  <a:lnTo>
                    <a:pt x="6" y="1"/>
                  </a:lnTo>
                  <a:lnTo>
                    <a:pt x="5" y="1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3"/>
                  </a:lnTo>
                  <a:lnTo>
                    <a:pt x="6" y="3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5" name="Solomon Islands">
              <a:extLst>
                <a:ext uri="{FF2B5EF4-FFF2-40B4-BE49-F238E27FC236}">
                  <a16:creationId xmlns:a16="http://schemas.microsoft.com/office/drawing/2014/main" id="{EA940FDE-26B6-4819-8DD7-6878F96F26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70444" y="4311423"/>
              <a:ext cx="352425" cy="196850"/>
            </a:xfrm>
            <a:custGeom>
              <a:avLst/>
              <a:gdLst>
                <a:gd name="T0" fmla="*/ 220 w 222"/>
                <a:gd name="T1" fmla="*/ 121 h 124"/>
                <a:gd name="T2" fmla="*/ 88 w 222"/>
                <a:gd name="T3" fmla="*/ 121 h 124"/>
                <a:gd name="T4" fmla="*/ 80 w 222"/>
                <a:gd name="T5" fmla="*/ 119 h 124"/>
                <a:gd name="T6" fmla="*/ 87 w 222"/>
                <a:gd name="T7" fmla="*/ 123 h 124"/>
                <a:gd name="T8" fmla="*/ 210 w 222"/>
                <a:gd name="T9" fmla="*/ 97 h 124"/>
                <a:gd name="T10" fmla="*/ 202 w 222"/>
                <a:gd name="T11" fmla="*/ 98 h 124"/>
                <a:gd name="T12" fmla="*/ 207 w 222"/>
                <a:gd name="T13" fmla="*/ 99 h 124"/>
                <a:gd name="T14" fmla="*/ 117 w 222"/>
                <a:gd name="T15" fmla="*/ 89 h 124"/>
                <a:gd name="T16" fmla="*/ 112 w 222"/>
                <a:gd name="T17" fmla="*/ 89 h 124"/>
                <a:gd name="T18" fmla="*/ 121 w 222"/>
                <a:gd name="T19" fmla="*/ 99 h 124"/>
                <a:gd name="T20" fmla="*/ 129 w 222"/>
                <a:gd name="T21" fmla="*/ 99 h 124"/>
                <a:gd name="T22" fmla="*/ 120 w 222"/>
                <a:gd name="T23" fmla="*/ 91 h 124"/>
                <a:gd name="T24" fmla="*/ 114 w 222"/>
                <a:gd name="T25" fmla="*/ 67 h 124"/>
                <a:gd name="T26" fmla="*/ 117 w 222"/>
                <a:gd name="T27" fmla="*/ 75 h 124"/>
                <a:gd name="T28" fmla="*/ 76 w 222"/>
                <a:gd name="T29" fmla="*/ 66 h 124"/>
                <a:gd name="T30" fmla="*/ 80 w 222"/>
                <a:gd name="T31" fmla="*/ 76 h 124"/>
                <a:gd name="T32" fmla="*/ 101 w 222"/>
                <a:gd name="T33" fmla="*/ 78 h 124"/>
                <a:gd name="T34" fmla="*/ 95 w 222"/>
                <a:gd name="T35" fmla="*/ 69 h 124"/>
                <a:gd name="T36" fmla="*/ 89 w 222"/>
                <a:gd name="T37" fmla="*/ 57 h 124"/>
                <a:gd name="T38" fmla="*/ 91 w 222"/>
                <a:gd name="T39" fmla="*/ 61 h 124"/>
                <a:gd name="T40" fmla="*/ 90 w 222"/>
                <a:gd name="T41" fmla="*/ 57 h 124"/>
                <a:gd name="T42" fmla="*/ 69 w 222"/>
                <a:gd name="T43" fmla="*/ 57 h 124"/>
                <a:gd name="T44" fmla="*/ 67 w 222"/>
                <a:gd name="T45" fmla="*/ 59 h 124"/>
                <a:gd name="T46" fmla="*/ 35 w 222"/>
                <a:gd name="T47" fmla="*/ 50 h 124"/>
                <a:gd name="T48" fmla="*/ 37 w 222"/>
                <a:gd name="T49" fmla="*/ 52 h 124"/>
                <a:gd name="T50" fmla="*/ 47 w 222"/>
                <a:gd name="T51" fmla="*/ 52 h 124"/>
                <a:gd name="T52" fmla="*/ 47 w 222"/>
                <a:gd name="T53" fmla="*/ 48 h 124"/>
                <a:gd name="T54" fmla="*/ 43 w 222"/>
                <a:gd name="T55" fmla="*/ 47 h 124"/>
                <a:gd name="T56" fmla="*/ 47 w 222"/>
                <a:gd name="T57" fmla="*/ 50 h 124"/>
                <a:gd name="T58" fmla="*/ 33 w 222"/>
                <a:gd name="T59" fmla="*/ 43 h 124"/>
                <a:gd name="T60" fmla="*/ 32 w 222"/>
                <a:gd name="T61" fmla="*/ 50 h 124"/>
                <a:gd name="T62" fmla="*/ 78 w 222"/>
                <a:gd name="T63" fmla="*/ 42 h 124"/>
                <a:gd name="T64" fmla="*/ 103 w 222"/>
                <a:gd name="T65" fmla="*/ 40 h 124"/>
                <a:gd name="T66" fmla="*/ 102 w 222"/>
                <a:gd name="T67" fmla="*/ 46 h 124"/>
                <a:gd name="T68" fmla="*/ 110 w 222"/>
                <a:gd name="T69" fmla="*/ 66 h 124"/>
                <a:gd name="T70" fmla="*/ 112 w 222"/>
                <a:gd name="T71" fmla="*/ 61 h 124"/>
                <a:gd name="T72" fmla="*/ 106 w 222"/>
                <a:gd name="T73" fmla="*/ 52 h 124"/>
                <a:gd name="T74" fmla="*/ 41 w 222"/>
                <a:gd name="T75" fmla="*/ 38 h 124"/>
                <a:gd name="T76" fmla="*/ 33 w 222"/>
                <a:gd name="T77" fmla="*/ 36 h 124"/>
                <a:gd name="T78" fmla="*/ 32 w 222"/>
                <a:gd name="T79" fmla="*/ 39 h 124"/>
                <a:gd name="T80" fmla="*/ 40 w 222"/>
                <a:gd name="T81" fmla="*/ 46 h 124"/>
                <a:gd name="T82" fmla="*/ 41 w 222"/>
                <a:gd name="T83" fmla="*/ 38 h 124"/>
                <a:gd name="T84" fmla="*/ 16 w 222"/>
                <a:gd name="T85" fmla="*/ 33 h 124"/>
                <a:gd name="T86" fmla="*/ 30 w 222"/>
                <a:gd name="T87" fmla="*/ 34 h 124"/>
                <a:gd name="T88" fmla="*/ 24 w 222"/>
                <a:gd name="T89" fmla="*/ 34 h 124"/>
                <a:gd name="T90" fmla="*/ 19 w 222"/>
                <a:gd name="T91" fmla="*/ 30 h 124"/>
                <a:gd name="T92" fmla="*/ 16 w 222"/>
                <a:gd name="T93" fmla="*/ 24 h 124"/>
                <a:gd name="T94" fmla="*/ 19 w 222"/>
                <a:gd name="T95" fmla="*/ 31 h 124"/>
                <a:gd name="T96" fmla="*/ 76 w 222"/>
                <a:gd name="T97" fmla="*/ 34 h 124"/>
                <a:gd name="T98" fmla="*/ 67 w 222"/>
                <a:gd name="T99" fmla="*/ 28 h 124"/>
                <a:gd name="T100" fmla="*/ 60 w 222"/>
                <a:gd name="T101" fmla="*/ 27 h 124"/>
                <a:gd name="T102" fmla="*/ 69 w 222"/>
                <a:gd name="T103" fmla="*/ 36 h 124"/>
                <a:gd name="T104" fmla="*/ 84 w 222"/>
                <a:gd name="T105" fmla="*/ 46 h 124"/>
                <a:gd name="T106" fmla="*/ 0 w 222"/>
                <a:gd name="T107" fmla="*/ 9 h 124"/>
                <a:gd name="T108" fmla="*/ 36 w 222"/>
                <a:gd name="T109" fmla="*/ 17 h 124"/>
                <a:gd name="T110" fmla="*/ 28 w 222"/>
                <a:gd name="T111" fmla="*/ 7 h 124"/>
                <a:gd name="T112" fmla="*/ 18 w 222"/>
                <a:gd name="T113" fmla="*/ 4 h 124"/>
                <a:gd name="T114" fmla="*/ 33 w 222"/>
                <a:gd name="T115" fmla="*/ 18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2" h="124">
                  <a:moveTo>
                    <a:pt x="222" y="121"/>
                  </a:moveTo>
                  <a:lnTo>
                    <a:pt x="222" y="120"/>
                  </a:lnTo>
                  <a:lnTo>
                    <a:pt x="221" y="118"/>
                  </a:lnTo>
                  <a:lnTo>
                    <a:pt x="220" y="118"/>
                  </a:lnTo>
                  <a:lnTo>
                    <a:pt x="219" y="119"/>
                  </a:lnTo>
                  <a:lnTo>
                    <a:pt x="220" y="121"/>
                  </a:lnTo>
                  <a:lnTo>
                    <a:pt x="220" y="121"/>
                  </a:lnTo>
                  <a:lnTo>
                    <a:pt x="222" y="121"/>
                  </a:lnTo>
                  <a:lnTo>
                    <a:pt x="222" y="121"/>
                  </a:lnTo>
                  <a:close/>
                  <a:moveTo>
                    <a:pt x="89" y="123"/>
                  </a:moveTo>
                  <a:lnTo>
                    <a:pt x="89" y="122"/>
                  </a:lnTo>
                  <a:lnTo>
                    <a:pt x="88" y="121"/>
                  </a:lnTo>
                  <a:lnTo>
                    <a:pt x="80" y="116"/>
                  </a:lnTo>
                  <a:lnTo>
                    <a:pt x="78" y="116"/>
                  </a:lnTo>
                  <a:lnTo>
                    <a:pt x="78" y="116"/>
                  </a:lnTo>
                  <a:lnTo>
                    <a:pt x="78" y="117"/>
                  </a:lnTo>
                  <a:lnTo>
                    <a:pt x="78" y="118"/>
                  </a:lnTo>
                  <a:lnTo>
                    <a:pt x="80" y="119"/>
                  </a:lnTo>
                  <a:lnTo>
                    <a:pt x="80" y="119"/>
                  </a:lnTo>
                  <a:lnTo>
                    <a:pt x="81" y="120"/>
                  </a:lnTo>
                  <a:lnTo>
                    <a:pt x="84" y="121"/>
                  </a:lnTo>
                  <a:lnTo>
                    <a:pt x="86" y="122"/>
                  </a:lnTo>
                  <a:lnTo>
                    <a:pt x="86" y="123"/>
                  </a:lnTo>
                  <a:lnTo>
                    <a:pt x="87" y="123"/>
                  </a:lnTo>
                  <a:lnTo>
                    <a:pt x="88" y="124"/>
                  </a:lnTo>
                  <a:lnTo>
                    <a:pt x="89" y="123"/>
                  </a:lnTo>
                  <a:lnTo>
                    <a:pt x="89" y="123"/>
                  </a:lnTo>
                  <a:close/>
                  <a:moveTo>
                    <a:pt x="209" y="98"/>
                  </a:moveTo>
                  <a:lnTo>
                    <a:pt x="209" y="98"/>
                  </a:lnTo>
                  <a:lnTo>
                    <a:pt x="210" y="97"/>
                  </a:lnTo>
                  <a:lnTo>
                    <a:pt x="209" y="96"/>
                  </a:lnTo>
                  <a:lnTo>
                    <a:pt x="207" y="96"/>
                  </a:lnTo>
                  <a:lnTo>
                    <a:pt x="204" y="96"/>
                  </a:lnTo>
                  <a:lnTo>
                    <a:pt x="203" y="97"/>
                  </a:lnTo>
                  <a:lnTo>
                    <a:pt x="202" y="98"/>
                  </a:lnTo>
                  <a:lnTo>
                    <a:pt x="202" y="98"/>
                  </a:lnTo>
                  <a:lnTo>
                    <a:pt x="202" y="99"/>
                  </a:lnTo>
                  <a:lnTo>
                    <a:pt x="202" y="101"/>
                  </a:lnTo>
                  <a:lnTo>
                    <a:pt x="203" y="100"/>
                  </a:lnTo>
                  <a:lnTo>
                    <a:pt x="203" y="101"/>
                  </a:lnTo>
                  <a:lnTo>
                    <a:pt x="205" y="99"/>
                  </a:lnTo>
                  <a:lnTo>
                    <a:pt x="207" y="99"/>
                  </a:lnTo>
                  <a:lnTo>
                    <a:pt x="207" y="99"/>
                  </a:lnTo>
                  <a:lnTo>
                    <a:pt x="209" y="98"/>
                  </a:lnTo>
                  <a:lnTo>
                    <a:pt x="209" y="98"/>
                  </a:lnTo>
                  <a:close/>
                  <a:moveTo>
                    <a:pt x="117" y="90"/>
                  </a:moveTo>
                  <a:lnTo>
                    <a:pt x="117" y="89"/>
                  </a:lnTo>
                  <a:lnTo>
                    <a:pt x="117" y="89"/>
                  </a:lnTo>
                  <a:lnTo>
                    <a:pt x="114" y="86"/>
                  </a:lnTo>
                  <a:lnTo>
                    <a:pt x="112" y="85"/>
                  </a:lnTo>
                  <a:lnTo>
                    <a:pt x="110" y="85"/>
                  </a:lnTo>
                  <a:lnTo>
                    <a:pt x="109" y="87"/>
                  </a:lnTo>
                  <a:lnTo>
                    <a:pt x="109" y="89"/>
                  </a:lnTo>
                  <a:lnTo>
                    <a:pt x="112" y="89"/>
                  </a:lnTo>
                  <a:lnTo>
                    <a:pt x="113" y="89"/>
                  </a:lnTo>
                  <a:lnTo>
                    <a:pt x="113" y="92"/>
                  </a:lnTo>
                  <a:lnTo>
                    <a:pt x="114" y="93"/>
                  </a:lnTo>
                  <a:lnTo>
                    <a:pt x="114" y="94"/>
                  </a:lnTo>
                  <a:lnTo>
                    <a:pt x="118" y="97"/>
                  </a:lnTo>
                  <a:lnTo>
                    <a:pt x="121" y="99"/>
                  </a:lnTo>
                  <a:lnTo>
                    <a:pt x="123" y="99"/>
                  </a:lnTo>
                  <a:lnTo>
                    <a:pt x="125" y="100"/>
                  </a:lnTo>
                  <a:lnTo>
                    <a:pt x="127" y="100"/>
                  </a:lnTo>
                  <a:lnTo>
                    <a:pt x="129" y="100"/>
                  </a:lnTo>
                  <a:lnTo>
                    <a:pt x="131" y="100"/>
                  </a:lnTo>
                  <a:lnTo>
                    <a:pt x="129" y="99"/>
                  </a:lnTo>
                  <a:lnTo>
                    <a:pt x="129" y="97"/>
                  </a:lnTo>
                  <a:lnTo>
                    <a:pt x="127" y="93"/>
                  </a:lnTo>
                  <a:lnTo>
                    <a:pt x="126" y="92"/>
                  </a:lnTo>
                  <a:lnTo>
                    <a:pt x="124" y="92"/>
                  </a:lnTo>
                  <a:lnTo>
                    <a:pt x="122" y="91"/>
                  </a:lnTo>
                  <a:lnTo>
                    <a:pt x="120" y="91"/>
                  </a:lnTo>
                  <a:lnTo>
                    <a:pt x="117" y="90"/>
                  </a:lnTo>
                  <a:lnTo>
                    <a:pt x="117" y="90"/>
                  </a:lnTo>
                  <a:close/>
                  <a:moveTo>
                    <a:pt x="117" y="72"/>
                  </a:moveTo>
                  <a:lnTo>
                    <a:pt x="114" y="66"/>
                  </a:lnTo>
                  <a:lnTo>
                    <a:pt x="114" y="66"/>
                  </a:lnTo>
                  <a:lnTo>
                    <a:pt x="114" y="67"/>
                  </a:lnTo>
                  <a:lnTo>
                    <a:pt x="114" y="69"/>
                  </a:lnTo>
                  <a:lnTo>
                    <a:pt x="114" y="71"/>
                  </a:lnTo>
                  <a:lnTo>
                    <a:pt x="114" y="73"/>
                  </a:lnTo>
                  <a:lnTo>
                    <a:pt x="114" y="74"/>
                  </a:lnTo>
                  <a:lnTo>
                    <a:pt x="115" y="73"/>
                  </a:lnTo>
                  <a:lnTo>
                    <a:pt x="117" y="75"/>
                  </a:lnTo>
                  <a:lnTo>
                    <a:pt x="117" y="74"/>
                  </a:lnTo>
                  <a:lnTo>
                    <a:pt x="117" y="72"/>
                  </a:lnTo>
                  <a:close/>
                  <a:moveTo>
                    <a:pt x="80" y="64"/>
                  </a:moveTo>
                  <a:lnTo>
                    <a:pt x="78" y="63"/>
                  </a:lnTo>
                  <a:lnTo>
                    <a:pt x="77" y="65"/>
                  </a:lnTo>
                  <a:lnTo>
                    <a:pt x="76" y="66"/>
                  </a:lnTo>
                  <a:lnTo>
                    <a:pt x="76" y="68"/>
                  </a:lnTo>
                  <a:lnTo>
                    <a:pt x="76" y="69"/>
                  </a:lnTo>
                  <a:lnTo>
                    <a:pt x="77" y="72"/>
                  </a:lnTo>
                  <a:lnTo>
                    <a:pt x="78" y="74"/>
                  </a:lnTo>
                  <a:lnTo>
                    <a:pt x="80" y="75"/>
                  </a:lnTo>
                  <a:lnTo>
                    <a:pt x="80" y="76"/>
                  </a:lnTo>
                  <a:lnTo>
                    <a:pt x="84" y="76"/>
                  </a:lnTo>
                  <a:lnTo>
                    <a:pt x="90" y="77"/>
                  </a:lnTo>
                  <a:lnTo>
                    <a:pt x="93" y="78"/>
                  </a:lnTo>
                  <a:lnTo>
                    <a:pt x="97" y="79"/>
                  </a:lnTo>
                  <a:lnTo>
                    <a:pt x="99" y="79"/>
                  </a:lnTo>
                  <a:lnTo>
                    <a:pt x="101" y="78"/>
                  </a:lnTo>
                  <a:lnTo>
                    <a:pt x="101" y="78"/>
                  </a:lnTo>
                  <a:lnTo>
                    <a:pt x="101" y="75"/>
                  </a:lnTo>
                  <a:lnTo>
                    <a:pt x="100" y="74"/>
                  </a:lnTo>
                  <a:lnTo>
                    <a:pt x="98" y="73"/>
                  </a:lnTo>
                  <a:lnTo>
                    <a:pt x="97" y="71"/>
                  </a:lnTo>
                  <a:lnTo>
                    <a:pt x="95" y="69"/>
                  </a:lnTo>
                  <a:lnTo>
                    <a:pt x="92" y="66"/>
                  </a:lnTo>
                  <a:lnTo>
                    <a:pt x="86" y="66"/>
                  </a:lnTo>
                  <a:lnTo>
                    <a:pt x="84" y="67"/>
                  </a:lnTo>
                  <a:lnTo>
                    <a:pt x="80" y="64"/>
                  </a:lnTo>
                  <a:lnTo>
                    <a:pt x="80" y="64"/>
                  </a:lnTo>
                  <a:close/>
                  <a:moveTo>
                    <a:pt x="89" y="57"/>
                  </a:moveTo>
                  <a:lnTo>
                    <a:pt x="88" y="57"/>
                  </a:lnTo>
                  <a:lnTo>
                    <a:pt x="88" y="59"/>
                  </a:lnTo>
                  <a:lnTo>
                    <a:pt x="89" y="59"/>
                  </a:lnTo>
                  <a:lnTo>
                    <a:pt x="90" y="60"/>
                  </a:lnTo>
                  <a:lnTo>
                    <a:pt x="91" y="61"/>
                  </a:lnTo>
                  <a:lnTo>
                    <a:pt x="91" y="61"/>
                  </a:lnTo>
                  <a:lnTo>
                    <a:pt x="91" y="61"/>
                  </a:lnTo>
                  <a:lnTo>
                    <a:pt x="93" y="61"/>
                  </a:lnTo>
                  <a:lnTo>
                    <a:pt x="94" y="60"/>
                  </a:lnTo>
                  <a:lnTo>
                    <a:pt x="92" y="58"/>
                  </a:lnTo>
                  <a:lnTo>
                    <a:pt x="91" y="57"/>
                  </a:lnTo>
                  <a:lnTo>
                    <a:pt x="90" y="57"/>
                  </a:lnTo>
                  <a:lnTo>
                    <a:pt x="89" y="57"/>
                  </a:lnTo>
                  <a:lnTo>
                    <a:pt x="89" y="57"/>
                  </a:lnTo>
                  <a:close/>
                  <a:moveTo>
                    <a:pt x="69" y="60"/>
                  </a:moveTo>
                  <a:lnTo>
                    <a:pt x="70" y="59"/>
                  </a:lnTo>
                  <a:lnTo>
                    <a:pt x="70" y="57"/>
                  </a:lnTo>
                  <a:lnTo>
                    <a:pt x="69" y="57"/>
                  </a:lnTo>
                  <a:lnTo>
                    <a:pt x="68" y="57"/>
                  </a:lnTo>
                  <a:lnTo>
                    <a:pt x="67" y="5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6" y="59"/>
                  </a:lnTo>
                  <a:lnTo>
                    <a:pt x="67" y="59"/>
                  </a:lnTo>
                  <a:lnTo>
                    <a:pt x="68" y="60"/>
                  </a:lnTo>
                  <a:lnTo>
                    <a:pt x="69" y="60"/>
                  </a:lnTo>
                  <a:lnTo>
                    <a:pt x="69" y="60"/>
                  </a:lnTo>
                  <a:close/>
                  <a:moveTo>
                    <a:pt x="37" y="52"/>
                  </a:moveTo>
                  <a:lnTo>
                    <a:pt x="37" y="51"/>
                  </a:lnTo>
                  <a:lnTo>
                    <a:pt x="35" y="50"/>
                  </a:lnTo>
                  <a:lnTo>
                    <a:pt x="35" y="50"/>
                  </a:lnTo>
                  <a:lnTo>
                    <a:pt x="33" y="50"/>
                  </a:lnTo>
                  <a:lnTo>
                    <a:pt x="33" y="51"/>
                  </a:lnTo>
                  <a:lnTo>
                    <a:pt x="35" y="52"/>
                  </a:lnTo>
                  <a:lnTo>
                    <a:pt x="37" y="52"/>
                  </a:lnTo>
                  <a:lnTo>
                    <a:pt x="37" y="52"/>
                  </a:lnTo>
                  <a:lnTo>
                    <a:pt x="37" y="52"/>
                  </a:lnTo>
                  <a:close/>
                  <a:moveTo>
                    <a:pt x="48" y="52"/>
                  </a:moveTo>
                  <a:lnTo>
                    <a:pt x="50" y="52"/>
                  </a:lnTo>
                  <a:lnTo>
                    <a:pt x="49" y="52"/>
                  </a:lnTo>
                  <a:lnTo>
                    <a:pt x="49" y="50"/>
                  </a:lnTo>
                  <a:lnTo>
                    <a:pt x="47" y="52"/>
                  </a:lnTo>
                  <a:lnTo>
                    <a:pt x="48" y="52"/>
                  </a:lnTo>
                  <a:lnTo>
                    <a:pt x="48" y="52"/>
                  </a:lnTo>
                  <a:close/>
                  <a:moveTo>
                    <a:pt x="47" y="50"/>
                  </a:moveTo>
                  <a:lnTo>
                    <a:pt x="47" y="49"/>
                  </a:lnTo>
                  <a:lnTo>
                    <a:pt x="47" y="48"/>
                  </a:lnTo>
                  <a:lnTo>
                    <a:pt x="47" y="48"/>
                  </a:lnTo>
                  <a:lnTo>
                    <a:pt x="47" y="46"/>
                  </a:lnTo>
                  <a:lnTo>
                    <a:pt x="47" y="46"/>
                  </a:lnTo>
                  <a:lnTo>
                    <a:pt x="45" y="45"/>
                  </a:lnTo>
                  <a:lnTo>
                    <a:pt x="45" y="46"/>
                  </a:lnTo>
                  <a:lnTo>
                    <a:pt x="44" y="46"/>
                  </a:lnTo>
                  <a:lnTo>
                    <a:pt x="43" y="47"/>
                  </a:lnTo>
                  <a:lnTo>
                    <a:pt x="43" y="47"/>
                  </a:lnTo>
                  <a:lnTo>
                    <a:pt x="43" y="49"/>
                  </a:lnTo>
                  <a:lnTo>
                    <a:pt x="43" y="51"/>
                  </a:lnTo>
                  <a:lnTo>
                    <a:pt x="45" y="52"/>
                  </a:lnTo>
                  <a:lnTo>
                    <a:pt x="47" y="50"/>
                  </a:lnTo>
                  <a:lnTo>
                    <a:pt x="47" y="50"/>
                  </a:lnTo>
                  <a:close/>
                  <a:moveTo>
                    <a:pt x="32" y="50"/>
                  </a:moveTo>
                  <a:lnTo>
                    <a:pt x="31" y="49"/>
                  </a:lnTo>
                  <a:lnTo>
                    <a:pt x="32" y="47"/>
                  </a:lnTo>
                  <a:lnTo>
                    <a:pt x="32" y="46"/>
                  </a:lnTo>
                  <a:lnTo>
                    <a:pt x="33" y="44"/>
                  </a:lnTo>
                  <a:lnTo>
                    <a:pt x="33" y="43"/>
                  </a:lnTo>
                  <a:lnTo>
                    <a:pt x="32" y="43"/>
                  </a:lnTo>
                  <a:lnTo>
                    <a:pt x="29" y="46"/>
                  </a:lnTo>
                  <a:lnTo>
                    <a:pt x="29" y="47"/>
                  </a:lnTo>
                  <a:lnTo>
                    <a:pt x="31" y="50"/>
                  </a:lnTo>
                  <a:lnTo>
                    <a:pt x="32" y="51"/>
                  </a:lnTo>
                  <a:lnTo>
                    <a:pt x="32" y="50"/>
                  </a:lnTo>
                  <a:lnTo>
                    <a:pt x="32" y="50"/>
                  </a:lnTo>
                  <a:close/>
                  <a:moveTo>
                    <a:pt x="80" y="45"/>
                  </a:moveTo>
                  <a:lnTo>
                    <a:pt x="80" y="44"/>
                  </a:lnTo>
                  <a:lnTo>
                    <a:pt x="80" y="43"/>
                  </a:lnTo>
                  <a:lnTo>
                    <a:pt x="78" y="42"/>
                  </a:lnTo>
                  <a:lnTo>
                    <a:pt x="78" y="42"/>
                  </a:lnTo>
                  <a:lnTo>
                    <a:pt x="77" y="44"/>
                  </a:lnTo>
                  <a:lnTo>
                    <a:pt x="78" y="44"/>
                  </a:lnTo>
                  <a:lnTo>
                    <a:pt x="79" y="46"/>
                  </a:lnTo>
                  <a:lnTo>
                    <a:pt x="80" y="45"/>
                  </a:lnTo>
                  <a:lnTo>
                    <a:pt x="80" y="45"/>
                  </a:lnTo>
                  <a:close/>
                  <a:moveTo>
                    <a:pt x="103" y="40"/>
                  </a:moveTo>
                  <a:lnTo>
                    <a:pt x="103" y="40"/>
                  </a:lnTo>
                  <a:lnTo>
                    <a:pt x="102" y="41"/>
                  </a:lnTo>
                  <a:lnTo>
                    <a:pt x="101" y="41"/>
                  </a:lnTo>
                  <a:lnTo>
                    <a:pt x="100" y="41"/>
                  </a:lnTo>
                  <a:lnTo>
                    <a:pt x="100" y="42"/>
                  </a:lnTo>
                  <a:lnTo>
                    <a:pt x="102" y="46"/>
                  </a:lnTo>
                  <a:lnTo>
                    <a:pt x="101" y="48"/>
                  </a:lnTo>
                  <a:lnTo>
                    <a:pt x="103" y="56"/>
                  </a:lnTo>
                  <a:lnTo>
                    <a:pt x="103" y="61"/>
                  </a:lnTo>
                  <a:lnTo>
                    <a:pt x="106" y="64"/>
                  </a:lnTo>
                  <a:lnTo>
                    <a:pt x="106" y="65"/>
                  </a:lnTo>
                  <a:lnTo>
                    <a:pt x="110" y="66"/>
                  </a:lnTo>
                  <a:lnTo>
                    <a:pt x="112" y="71"/>
                  </a:lnTo>
                  <a:lnTo>
                    <a:pt x="113" y="71"/>
                  </a:lnTo>
                  <a:lnTo>
                    <a:pt x="113" y="70"/>
                  </a:lnTo>
                  <a:lnTo>
                    <a:pt x="113" y="68"/>
                  </a:lnTo>
                  <a:lnTo>
                    <a:pt x="111" y="65"/>
                  </a:lnTo>
                  <a:lnTo>
                    <a:pt x="112" y="61"/>
                  </a:lnTo>
                  <a:lnTo>
                    <a:pt x="111" y="60"/>
                  </a:lnTo>
                  <a:lnTo>
                    <a:pt x="111" y="59"/>
                  </a:lnTo>
                  <a:lnTo>
                    <a:pt x="110" y="56"/>
                  </a:lnTo>
                  <a:lnTo>
                    <a:pt x="108" y="53"/>
                  </a:lnTo>
                  <a:lnTo>
                    <a:pt x="106" y="53"/>
                  </a:lnTo>
                  <a:lnTo>
                    <a:pt x="106" y="52"/>
                  </a:lnTo>
                  <a:lnTo>
                    <a:pt x="106" y="50"/>
                  </a:lnTo>
                  <a:lnTo>
                    <a:pt x="107" y="49"/>
                  </a:lnTo>
                  <a:lnTo>
                    <a:pt x="108" y="48"/>
                  </a:lnTo>
                  <a:lnTo>
                    <a:pt x="103" y="40"/>
                  </a:lnTo>
                  <a:lnTo>
                    <a:pt x="103" y="40"/>
                  </a:lnTo>
                  <a:close/>
                  <a:moveTo>
                    <a:pt x="41" y="38"/>
                  </a:moveTo>
                  <a:lnTo>
                    <a:pt x="39" y="38"/>
                  </a:lnTo>
                  <a:lnTo>
                    <a:pt x="38" y="37"/>
                  </a:lnTo>
                  <a:lnTo>
                    <a:pt x="38" y="33"/>
                  </a:lnTo>
                  <a:lnTo>
                    <a:pt x="35" y="32"/>
                  </a:lnTo>
                  <a:lnTo>
                    <a:pt x="34" y="33"/>
                  </a:lnTo>
                  <a:lnTo>
                    <a:pt x="33" y="36"/>
                  </a:lnTo>
                  <a:lnTo>
                    <a:pt x="32" y="37"/>
                  </a:lnTo>
                  <a:lnTo>
                    <a:pt x="30" y="38"/>
                  </a:lnTo>
                  <a:lnTo>
                    <a:pt x="30" y="39"/>
                  </a:lnTo>
                  <a:lnTo>
                    <a:pt x="30" y="40"/>
                  </a:lnTo>
                  <a:lnTo>
                    <a:pt x="31" y="41"/>
                  </a:lnTo>
                  <a:lnTo>
                    <a:pt x="32" y="39"/>
                  </a:lnTo>
                  <a:lnTo>
                    <a:pt x="35" y="39"/>
                  </a:lnTo>
                  <a:lnTo>
                    <a:pt x="36" y="39"/>
                  </a:lnTo>
                  <a:lnTo>
                    <a:pt x="36" y="41"/>
                  </a:lnTo>
                  <a:lnTo>
                    <a:pt x="37" y="44"/>
                  </a:lnTo>
                  <a:lnTo>
                    <a:pt x="38" y="45"/>
                  </a:lnTo>
                  <a:lnTo>
                    <a:pt x="40" y="46"/>
                  </a:lnTo>
                  <a:lnTo>
                    <a:pt x="41" y="48"/>
                  </a:lnTo>
                  <a:lnTo>
                    <a:pt x="42" y="47"/>
                  </a:lnTo>
                  <a:lnTo>
                    <a:pt x="43" y="47"/>
                  </a:lnTo>
                  <a:lnTo>
                    <a:pt x="43" y="45"/>
                  </a:lnTo>
                  <a:lnTo>
                    <a:pt x="42" y="40"/>
                  </a:lnTo>
                  <a:lnTo>
                    <a:pt x="41" y="38"/>
                  </a:lnTo>
                  <a:lnTo>
                    <a:pt x="41" y="38"/>
                  </a:lnTo>
                  <a:close/>
                  <a:moveTo>
                    <a:pt x="17" y="38"/>
                  </a:moveTo>
                  <a:lnTo>
                    <a:pt x="17" y="36"/>
                  </a:lnTo>
                  <a:lnTo>
                    <a:pt x="17" y="32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6" y="35"/>
                  </a:lnTo>
                  <a:lnTo>
                    <a:pt x="17" y="38"/>
                  </a:lnTo>
                  <a:lnTo>
                    <a:pt x="17" y="38"/>
                  </a:lnTo>
                  <a:close/>
                  <a:moveTo>
                    <a:pt x="29" y="36"/>
                  </a:moveTo>
                  <a:lnTo>
                    <a:pt x="30" y="35"/>
                  </a:lnTo>
                  <a:lnTo>
                    <a:pt x="30" y="34"/>
                  </a:lnTo>
                  <a:lnTo>
                    <a:pt x="30" y="32"/>
                  </a:lnTo>
                  <a:lnTo>
                    <a:pt x="29" y="30"/>
                  </a:lnTo>
                  <a:lnTo>
                    <a:pt x="28" y="29"/>
                  </a:lnTo>
                  <a:lnTo>
                    <a:pt x="26" y="30"/>
                  </a:lnTo>
                  <a:lnTo>
                    <a:pt x="24" y="32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28" y="36"/>
                  </a:lnTo>
                  <a:lnTo>
                    <a:pt x="29" y="36"/>
                  </a:lnTo>
                  <a:lnTo>
                    <a:pt x="29" y="36"/>
                  </a:lnTo>
                  <a:close/>
                  <a:moveTo>
                    <a:pt x="19" y="31"/>
                  </a:moveTo>
                  <a:lnTo>
                    <a:pt x="19" y="30"/>
                  </a:lnTo>
                  <a:lnTo>
                    <a:pt x="21" y="27"/>
                  </a:lnTo>
                  <a:lnTo>
                    <a:pt x="22" y="26"/>
                  </a:lnTo>
                  <a:lnTo>
                    <a:pt x="20" y="25"/>
                  </a:lnTo>
                  <a:lnTo>
                    <a:pt x="19" y="24"/>
                  </a:lnTo>
                  <a:lnTo>
                    <a:pt x="17" y="24"/>
                  </a:lnTo>
                  <a:lnTo>
                    <a:pt x="16" y="24"/>
                  </a:lnTo>
                  <a:lnTo>
                    <a:pt x="16" y="26"/>
                  </a:lnTo>
                  <a:lnTo>
                    <a:pt x="18" y="28"/>
                  </a:lnTo>
                  <a:lnTo>
                    <a:pt x="18" y="30"/>
                  </a:lnTo>
                  <a:lnTo>
                    <a:pt x="19" y="30"/>
                  </a:lnTo>
                  <a:lnTo>
                    <a:pt x="19" y="32"/>
                  </a:lnTo>
                  <a:lnTo>
                    <a:pt x="19" y="31"/>
                  </a:lnTo>
                  <a:lnTo>
                    <a:pt x="19" y="31"/>
                  </a:lnTo>
                  <a:close/>
                  <a:moveTo>
                    <a:pt x="84" y="46"/>
                  </a:moveTo>
                  <a:lnTo>
                    <a:pt x="84" y="44"/>
                  </a:lnTo>
                  <a:lnTo>
                    <a:pt x="83" y="42"/>
                  </a:lnTo>
                  <a:lnTo>
                    <a:pt x="84" y="40"/>
                  </a:lnTo>
                  <a:lnTo>
                    <a:pt x="76" y="34"/>
                  </a:lnTo>
                  <a:lnTo>
                    <a:pt x="75" y="33"/>
                  </a:lnTo>
                  <a:lnTo>
                    <a:pt x="74" y="33"/>
                  </a:lnTo>
                  <a:lnTo>
                    <a:pt x="72" y="31"/>
                  </a:lnTo>
                  <a:lnTo>
                    <a:pt x="70" y="31"/>
                  </a:lnTo>
                  <a:lnTo>
                    <a:pt x="68" y="29"/>
                  </a:lnTo>
                  <a:lnTo>
                    <a:pt x="67" y="28"/>
                  </a:lnTo>
                  <a:lnTo>
                    <a:pt x="65" y="26"/>
                  </a:lnTo>
                  <a:lnTo>
                    <a:pt x="62" y="24"/>
                  </a:lnTo>
                  <a:lnTo>
                    <a:pt x="57" y="23"/>
                  </a:lnTo>
                  <a:lnTo>
                    <a:pt x="58" y="24"/>
                  </a:lnTo>
                  <a:lnTo>
                    <a:pt x="59" y="24"/>
                  </a:lnTo>
                  <a:lnTo>
                    <a:pt x="60" y="27"/>
                  </a:lnTo>
                  <a:lnTo>
                    <a:pt x="61" y="29"/>
                  </a:lnTo>
                  <a:lnTo>
                    <a:pt x="63" y="31"/>
                  </a:lnTo>
                  <a:lnTo>
                    <a:pt x="63" y="31"/>
                  </a:lnTo>
                  <a:lnTo>
                    <a:pt x="64" y="32"/>
                  </a:lnTo>
                  <a:lnTo>
                    <a:pt x="66" y="34"/>
                  </a:lnTo>
                  <a:lnTo>
                    <a:pt x="69" y="36"/>
                  </a:lnTo>
                  <a:lnTo>
                    <a:pt x="72" y="38"/>
                  </a:lnTo>
                  <a:lnTo>
                    <a:pt x="73" y="38"/>
                  </a:lnTo>
                  <a:lnTo>
                    <a:pt x="75" y="39"/>
                  </a:lnTo>
                  <a:lnTo>
                    <a:pt x="80" y="42"/>
                  </a:lnTo>
                  <a:lnTo>
                    <a:pt x="82" y="44"/>
                  </a:lnTo>
                  <a:lnTo>
                    <a:pt x="84" y="46"/>
                  </a:lnTo>
                  <a:lnTo>
                    <a:pt x="84" y="46"/>
                  </a:lnTo>
                  <a:lnTo>
                    <a:pt x="84" y="46"/>
                  </a:lnTo>
                  <a:close/>
                  <a:moveTo>
                    <a:pt x="3" y="11"/>
                  </a:moveTo>
                  <a:lnTo>
                    <a:pt x="4" y="10"/>
                  </a:lnTo>
                  <a:lnTo>
                    <a:pt x="1" y="9"/>
                  </a:lnTo>
                  <a:lnTo>
                    <a:pt x="0" y="9"/>
                  </a:lnTo>
                  <a:lnTo>
                    <a:pt x="0" y="11"/>
                  </a:lnTo>
                  <a:lnTo>
                    <a:pt x="1" y="12"/>
                  </a:lnTo>
                  <a:lnTo>
                    <a:pt x="3" y="11"/>
                  </a:lnTo>
                  <a:lnTo>
                    <a:pt x="3" y="11"/>
                  </a:lnTo>
                  <a:close/>
                  <a:moveTo>
                    <a:pt x="37" y="17"/>
                  </a:moveTo>
                  <a:lnTo>
                    <a:pt x="36" y="17"/>
                  </a:lnTo>
                  <a:lnTo>
                    <a:pt x="35" y="17"/>
                  </a:lnTo>
                  <a:lnTo>
                    <a:pt x="33" y="16"/>
                  </a:lnTo>
                  <a:lnTo>
                    <a:pt x="32" y="13"/>
                  </a:lnTo>
                  <a:lnTo>
                    <a:pt x="31" y="12"/>
                  </a:lnTo>
                  <a:lnTo>
                    <a:pt x="30" y="9"/>
                  </a:lnTo>
                  <a:lnTo>
                    <a:pt x="28" y="7"/>
                  </a:lnTo>
                  <a:lnTo>
                    <a:pt x="23" y="4"/>
                  </a:lnTo>
                  <a:lnTo>
                    <a:pt x="20" y="1"/>
                  </a:lnTo>
                  <a:lnTo>
                    <a:pt x="18" y="0"/>
                  </a:lnTo>
                  <a:lnTo>
                    <a:pt x="17" y="1"/>
                  </a:lnTo>
                  <a:lnTo>
                    <a:pt x="17" y="3"/>
                  </a:lnTo>
                  <a:lnTo>
                    <a:pt x="18" y="4"/>
                  </a:lnTo>
                  <a:lnTo>
                    <a:pt x="21" y="7"/>
                  </a:lnTo>
                  <a:lnTo>
                    <a:pt x="25" y="13"/>
                  </a:lnTo>
                  <a:lnTo>
                    <a:pt x="29" y="17"/>
                  </a:lnTo>
                  <a:lnTo>
                    <a:pt x="32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9"/>
                  </a:lnTo>
                  <a:lnTo>
                    <a:pt x="35" y="20"/>
                  </a:lnTo>
                  <a:lnTo>
                    <a:pt x="37" y="18"/>
                  </a:lnTo>
                  <a:lnTo>
                    <a:pt x="37" y="17"/>
                  </a:lnTo>
                  <a:lnTo>
                    <a:pt x="37" y="17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6" name="Sao Tome and Principe">
              <a:extLst>
                <a:ext uri="{FF2B5EF4-FFF2-40B4-BE49-F238E27FC236}">
                  <a16:creationId xmlns:a16="http://schemas.microsoft.com/office/drawing/2014/main" id="{1737E53C-95AA-4E3A-B7B0-D434531DF0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11094" y="3998687"/>
              <a:ext cx="31750" cy="61913"/>
            </a:xfrm>
            <a:custGeom>
              <a:avLst/>
              <a:gdLst>
                <a:gd name="T0" fmla="*/ 4 w 20"/>
                <a:gd name="T1" fmla="*/ 37 h 39"/>
                <a:gd name="T2" fmla="*/ 5 w 20"/>
                <a:gd name="T3" fmla="*/ 34 h 39"/>
                <a:gd name="T4" fmla="*/ 5 w 20"/>
                <a:gd name="T5" fmla="*/ 32 h 39"/>
                <a:gd name="T6" fmla="*/ 4 w 20"/>
                <a:gd name="T7" fmla="*/ 30 h 39"/>
                <a:gd name="T8" fmla="*/ 4 w 20"/>
                <a:gd name="T9" fmla="*/ 30 h 39"/>
                <a:gd name="T10" fmla="*/ 2 w 20"/>
                <a:gd name="T11" fmla="*/ 32 h 39"/>
                <a:gd name="T12" fmla="*/ 0 w 20"/>
                <a:gd name="T13" fmla="*/ 34 h 39"/>
                <a:gd name="T14" fmla="*/ 0 w 20"/>
                <a:gd name="T15" fmla="*/ 35 h 39"/>
                <a:gd name="T16" fmla="*/ 1 w 20"/>
                <a:gd name="T17" fmla="*/ 37 h 39"/>
                <a:gd name="T18" fmla="*/ 1 w 20"/>
                <a:gd name="T19" fmla="*/ 38 h 39"/>
                <a:gd name="T20" fmla="*/ 2 w 20"/>
                <a:gd name="T21" fmla="*/ 39 h 39"/>
                <a:gd name="T22" fmla="*/ 4 w 20"/>
                <a:gd name="T23" fmla="*/ 37 h 39"/>
                <a:gd name="T24" fmla="*/ 4 w 20"/>
                <a:gd name="T25" fmla="*/ 37 h 39"/>
                <a:gd name="T26" fmla="*/ 20 w 20"/>
                <a:gd name="T27" fmla="*/ 3 h 39"/>
                <a:gd name="T28" fmla="*/ 20 w 20"/>
                <a:gd name="T29" fmla="*/ 1 h 39"/>
                <a:gd name="T30" fmla="*/ 20 w 20"/>
                <a:gd name="T31" fmla="*/ 0 h 39"/>
                <a:gd name="T32" fmla="*/ 20 w 20"/>
                <a:gd name="T33" fmla="*/ 0 h 39"/>
                <a:gd name="T34" fmla="*/ 20 w 20"/>
                <a:gd name="T35" fmla="*/ 0 h 39"/>
                <a:gd name="T36" fmla="*/ 19 w 20"/>
                <a:gd name="T37" fmla="*/ 0 h 39"/>
                <a:gd name="T38" fmla="*/ 18 w 20"/>
                <a:gd name="T39" fmla="*/ 2 h 39"/>
                <a:gd name="T40" fmla="*/ 18 w 20"/>
                <a:gd name="T41" fmla="*/ 3 h 39"/>
                <a:gd name="T42" fmla="*/ 19 w 20"/>
                <a:gd name="T43" fmla="*/ 4 h 39"/>
                <a:gd name="T44" fmla="*/ 20 w 20"/>
                <a:gd name="T45" fmla="*/ 3 h 39"/>
                <a:gd name="T46" fmla="*/ 20 w 20"/>
                <a:gd name="T47" fmla="*/ 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0" h="39">
                  <a:moveTo>
                    <a:pt x="4" y="37"/>
                  </a:moveTo>
                  <a:lnTo>
                    <a:pt x="5" y="34"/>
                  </a:lnTo>
                  <a:lnTo>
                    <a:pt x="5" y="32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2" y="32"/>
                  </a:lnTo>
                  <a:lnTo>
                    <a:pt x="0" y="34"/>
                  </a:lnTo>
                  <a:lnTo>
                    <a:pt x="0" y="35"/>
                  </a:lnTo>
                  <a:lnTo>
                    <a:pt x="1" y="37"/>
                  </a:lnTo>
                  <a:lnTo>
                    <a:pt x="1" y="38"/>
                  </a:lnTo>
                  <a:lnTo>
                    <a:pt x="2" y="39"/>
                  </a:lnTo>
                  <a:lnTo>
                    <a:pt x="4" y="37"/>
                  </a:lnTo>
                  <a:lnTo>
                    <a:pt x="4" y="37"/>
                  </a:lnTo>
                  <a:close/>
                  <a:moveTo>
                    <a:pt x="20" y="3"/>
                  </a:moveTo>
                  <a:lnTo>
                    <a:pt x="20" y="1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9" y="0"/>
                  </a:lnTo>
                  <a:lnTo>
                    <a:pt x="18" y="2"/>
                  </a:lnTo>
                  <a:lnTo>
                    <a:pt x="18" y="3"/>
                  </a:lnTo>
                  <a:lnTo>
                    <a:pt x="19" y="4"/>
                  </a:lnTo>
                  <a:lnTo>
                    <a:pt x="20" y="3"/>
                  </a:lnTo>
                  <a:lnTo>
                    <a:pt x="20" y="3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427" name="Anguilla">
              <a:extLst>
                <a:ext uri="{FF2B5EF4-FFF2-40B4-BE49-F238E27FC236}">
                  <a16:creationId xmlns:a16="http://schemas.microsoft.com/office/drawing/2014/main" id="{A7FBC071-426C-4D4C-B229-3C70FDD6E724}"/>
                </a:ext>
              </a:extLst>
            </p:cNvPr>
            <p:cNvGrpSpPr/>
            <p:nvPr/>
          </p:nvGrpSpPr>
          <p:grpSpPr>
            <a:xfrm>
              <a:off x="3921919" y="3373212"/>
              <a:ext cx="6350" cy="9525"/>
              <a:chOff x="3927475" y="3794126"/>
              <a:chExt cx="6350" cy="9525"/>
            </a:xfrm>
            <a:grpFill/>
          </p:grpSpPr>
          <p:sp>
            <p:nvSpPr>
              <p:cNvPr id="445" name="Freeform 2013">
                <a:extLst>
                  <a:ext uri="{FF2B5EF4-FFF2-40B4-BE49-F238E27FC236}">
                    <a16:creationId xmlns:a16="http://schemas.microsoft.com/office/drawing/2014/main" id="{2FDB1ADD-80AA-47F0-8697-3F9AB86C13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7475" y="3794126"/>
                <a:ext cx="6350" cy="3175"/>
              </a:xfrm>
              <a:custGeom>
                <a:avLst/>
                <a:gdLst>
                  <a:gd name="T0" fmla="*/ 4 w 4"/>
                  <a:gd name="T1" fmla="*/ 1 h 2"/>
                  <a:gd name="T2" fmla="*/ 4 w 4"/>
                  <a:gd name="T3" fmla="*/ 0 h 2"/>
                  <a:gd name="T4" fmla="*/ 3 w 4"/>
                  <a:gd name="T5" fmla="*/ 0 h 2"/>
                  <a:gd name="T6" fmla="*/ 0 w 4"/>
                  <a:gd name="T7" fmla="*/ 2 h 2"/>
                  <a:gd name="T8" fmla="*/ 0 w 4"/>
                  <a:gd name="T9" fmla="*/ 2 h 2"/>
                  <a:gd name="T10" fmla="*/ 4 w 4"/>
                  <a:gd name="T11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2">
                    <a:moveTo>
                      <a:pt x="4" y="1"/>
                    </a:moveTo>
                    <a:lnTo>
                      <a:pt x="4" y="0"/>
                    </a:lnTo>
                    <a:lnTo>
                      <a:pt x="3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1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6" name="Freeform 202">
                <a:extLst>
                  <a:ext uri="{FF2B5EF4-FFF2-40B4-BE49-F238E27FC236}">
                    <a16:creationId xmlns:a16="http://schemas.microsoft.com/office/drawing/2014/main" id="{04BABCC6-EC2F-4B9A-88A4-008E8C2E25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7475" y="3802063"/>
                <a:ext cx="4762" cy="1588"/>
              </a:xfrm>
              <a:custGeom>
                <a:avLst/>
                <a:gdLst>
                  <a:gd name="T0" fmla="*/ 0 w 3"/>
                  <a:gd name="T1" fmla="*/ 0 h 1"/>
                  <a:gd name="T2" fmla="*/ 0 w 3"/>
                  <a:gd name="T3" fmla="*/ 0 h 1"/>
                  <a:gd name="T4" fmla="*/ 1 w 3"/>
                  <a:gd name="T5" fmla="*/ 1 h 1"/>
                  <a:gd name="T6" fmla="*/ 2 w 3"/>
                  <a:gd name="T7" fmla="*/ 1 h 1"/>
                  <a:gd name="T8" fmla="*/ 3 w 3"/>
                  <a:gd name="T9" fmla="*/ 1 h 1"/>
                  <a:gd name="T10" fmla="*/ 3 w 3"/>
                  <a:gd name="T11" fmla="*/ 0 h 1"/>
                  <a:gd name="T12" fmla="*/ 0 w 3"/>
                  <a:gd name="T13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1">
                    <a:moveTo>
                      <a:pt x="0" y="0"/>
                    </a:moveTo>
                    <a:lnTo>
                      <a:pt x="0" y="0"/>
                    </a:lnTo>
                    <a:lnTo>
                      <a:pt x="1" y="1"/>
                    </a:lnTo>
                    <a:lnTo>
                      <a:pt x="2" y="1"/>
                    </a:lnTo>
                    <a:lnTo>
                      <a:pt x="3" y="1"/>
                    </a:ln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428" name="Seychelles">
              <a:extLst>
                <a:ext uri="{FF2B5EF4-FFF2-40B4-BE49-F238E27FC236}">
                  <a16:creationId xmlns:a16="http://schemas.microsoft.com/office/drawing/2014/main" id="{35EDDF38-385E-4BBE-B823-B3BE4ADC1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8281" y="4235223"/>
              <a:ext cx="6350" cy="6350"/>
            </a:xfrm>
            <a:custGeom>
              <a:avLst/>
              <a:gdLst>
                <a:gd name="T0" fmla="*/ 4 w 4"/>
                <a:gd name="T1" fmla="*/ 2 h 4"/>
                <a:gd name="T2" fmla="*/ 2 w 4"/>
                <a:gd name="T3" fmla="*/ 0 h 4"/>
                <a:gd name="T4" fmla="*/ 0 w 4"/>
                <a:gd name="T5" fmla="*/ 1 h 4"/>
                <a:gd name="T6" fmla="*/ 1 w 4"/>
                <a:gd name="T7" fmla="*/ 1 h 4"/>
                <a:gd name="T8" fmla="*/ 2 w 4"/>
                <a:gd name="T9" fmla="*/ 2 h 4"/>
                <a:gd name="T10" fmla="*/ 3 w 4"/>
                <a:gd name="T11" fmla="*/ 4 h 4"/>
                <a:gd name="T12" fmla="*/ 4 w 4"/>
                <a:gd name="T13" fmla="*/ 4 h 4"/>
                <a:gd name="T14" fmla="*/ 4 w 4"/>
                <a:gd name="T15" fmla="*/ 2 h 4"/>
                <a:gd name="T16" fmla="*/ 4 w 4"/>
                <a:gd name="T17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4">
                  <a:moveTo>
                    <a:pt x="4" y="2"/>
                  </a:moveTo>
                  <a:lnTo>
                    <a:pt x="2" y="0"/>
                  </a:lnTo>
                  <a:lnTo>
                    <a:pt x="0" y="1"/>
                  </a:lnTo>
                  <a:lnTo>
                    <a:pt x="1" y="1"/>
                  </a:lnTo>
                  <a:lnTo>
                    <a:pt x="2" y="2"/>
                  </a:lnTo>
                  <a:lnTo>
                    <a:pt x="3" y="4"/>
                  </a:lnTo>
                  <a:lnTo>
                    <a:pt x="4" y="4"/>
                  </a:lnTo>
                  <a:lnTo>
                    <a:pt x="4" y="2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9" name="Turks and Caicos Islands">
              <a:extLst>
                <a:ext uri="{FF2B5EF4-FFF2-40B4-BE49-F238E27FC236}">
                  <a16:creationId xmlns:a16="http://schemas.microsoft.com/office/drawing/2014/main" id="{CC89159D-B534-4DD9-97FC-A284CBEAE2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4581" y="3233511"/>
              <a:ext cx="23812" cy="7938"/>
            </a:xfrm>
            <a:custGeom>
              <a:avLst/>
              <a:gdLst>
                <a:gd name="T0" fmla="*/ 1 w 15"/>
                <a:gd name="T1" fmla="*/ 2 h 5"/>
                <a:gd name="T2" fmla="*/ 0 w 15"/>
                <a:gd name="T3" fmla="*/ 4 h 5"/>
                <a:gd name="T4" fmla="*/ 0 w 15"/>
                <a:gd name="T5" fmla="*/ 5 h 5"/>
                <a:gd name="T6" fmla="*/ 1 w 15"/>
                <a:gd name="T7" fmla="*/ 5 h 5"/>
                <a:gd name="T8" fmla="*/ 4 w 15"/>
                <a:gd name="T9" fmla="*/ 5 h 5"/>
                <a:gd name="T10" fmla="*/ 4 w 15"/>
                <a:gd name="T11" fmla="*/ 4 h 5"/>
                <a:gd name="T12" fmla="*/ 5 w 15"/>
                <a:gd name="T13" fmla="*/ 4 h 5"/>
                <a:gd name="T14" fmla="*/ 5 w 15"/>
                <a:gd name="T15" fmla="*/ 4 h 5"/>
                <a:gd name="T16" fmla="*/ 3 w 15"/>
                <a:gd name="T17" fmla="*/ 4 h 5"/>
                <a:gd name="T18" fmla="*/ 1 w 15"/>
                <a:gd name="T19" fmla="*/ 2 h 5"/>
                <a:gd name="T20" fmla="*/ 14 w 15"/>
                <a:gd name="T21" fmla="*/ 5 h 5"/>
                <a:gd name="T22" fmla="*/ 15 w 15"/>
                <a:gd name="T23" fmla="*/ 4 h 5"/>
                <a:gd name="T24" fmla="*/ 14 w 15"/>
                <a:gd name="T25" fmla="*/ 3 h 5"/>
                <a:gd name="T26" fmla="*/ 11 w 15"/>
                <a:gd name="T27" fmla="*/ 2 h 5"/>
                <a:gd name="T28" fmla="*/ 11 w 15"/>
                <a:gd name="T29" fmla="*/ 3 h 5"/>
                <a:gd name="T30" fmla="*/ 11 w 15"/>
                <a:gd name="T31" fmla="*/ 4 h 5"/>
                <a:gd name="T32" fmla="*/ 13 w 15"/>
                <a:gd name="T33" fmla="*/ 4 h 5"/>
                <a:gd name="T34" fmla="*/ 14 w 15"/>
                <a:gd name="T35" fmla="*/ 5 h 5"/>
                <a:gd name="T36" fmla="*/ 14 w 15"/>
                <a:gd name="T37" fmla="*/ 5 h 5"/>
                <a:gd name="T38" fmla="*/ 14 w 15"/>
                <a:gd name="T39" fmla="*/ 5 h 5"/>
                <a:gd name="T40" fmla="*/ 10 w 15"/>
                <a:gd name="T41" fmla="*/ 3 h 5"/>
                <a:gd name="T42" fmla="*/ 9 w 15"/>
                <a:gd name="T43" fmla="*/ 2 h 5"/>
                <a:gd name="T44" fmla="*/ 9 w 15"/>
                <a:gd name="T45" fmla="*/ 0 h 5"/>
                <a:gd name="T46" fmla="*/ 8 w 15"/>
                <a:gd name="T47" fmla="*/ 0 h 5"/>
                <a:gd name="T48" fmla="*/ 8 w 15"/>
                <a:gd name="T49" fmla="*/ 1 h 5"/>
                <a:gd name="T50" fmla="*/ 8 w 15"/>
                <a:gd name="T51" fmla="*/ 2 h 5"/>
                <a:gd name="T52" fmla="*/ 9 w 15"/>
                <a:gd name="T53" fmla="*/ 2 h 5"/>
                <a:gd name="T54" fmla="*/ 9 w 15"/>
                <a:gd name="T55" fmla="*/ 2 h 5"/>
                <a:gd name="T56" fmla="*/ 9 w 15"/>
                <a:gd name="T57" fmla="*/ 3 h 5"/>
                <a:gd name="T58" fmla="*/ 10 w 15"/>
                <a:gd name="T59" fmla="*/ 3 h 5"/>
                <a:gd name="T60" fmla="*/ 10 w 15"/>
                <a:gd name="T61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" h="5">
                  <a:moveTo>
                    <a:pt x="1" y="2"/>
                  </a:moveTo>
                  <a:lnTo>
                    <a:pt x="0" y="4"/>
                  </a:lnTo>
                  <a:lnTo>
                    <a:pt x="0" y="5"/>
                  </a:lnTo>
                  <a:lnTo>
                    <a:pt x="1" y="5"/>
                  </a:lnTo>
                  <a:lnTo>
                    <a:pt x="4" y="5"/>
                  </a:lnTo>
                  <a:lnTo>
                    <a:pt x="4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3" y="4"/>
                  </a:lnTo>
                  <a:lnTo>
                    <a:pt x="1" y="2"/>
                  </a:lnTo>
                  <a:close/>
                  <a:moveTo>
                    <a:pt x="14" y="5"/>
                  </a:moveTo>
                  <a:lnTo>
                    <a:pt x="15" y="4"/>
                  </a:lnTo>
                  <a:lnTo>
                    <a:pt x="14" y="3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1" y="4"/>
                  </a:lnTo>
                  <a:lnTo>
                    <a:pt x="13" y="4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close/>
                  <a:moveTo>
                    <a:pt x="10" y="3"/>
                  </a:moveTo>
                  <a:lnTo>
                    <a:pt x="9" y="2"/>
                  </a:lnTo>
                  <a:lnTo>
                    <a:pt x="9" y="0"/>
                  </a:lnTo>
                  <a:lnTo>
                    <a:pt x="8" y="0"/>
                  </a:lnTo>
                  <a:lnTo>
                    <a:pt x="8" y="1"/>
                  </a:lnTo>
                  <a:lnTo>
                    <a:pt x="8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3"/>
                  </a:lnTo>
                  <a:lnTo>
                    <a:pt x="10" y="3"/>
                  </a:lnTo>
                  <a:lnTo>
                    <a:pt x="10" y="3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0" name="Trinidad and Tobago">
              <a:extLst>
                <a:ext uri="{FF2B5EF4-FFF2-40B4-BE49-F238E27FC236}">
                  <a16:creationId xmlns:a16="http://schemas.microsoft.com/office/drawing/2014/main" id="{A25E4CC2-EC8E-40A7-9372-1C47439508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42557" y="3633562"/>
              <a:ext cx="47625" cy="47625"/>
            </a:xfrm>
            <a:custGeom>
              <a:avLst/>
              <a:gdLst>
                <a:gd name="T0" fmla="*/ 19 w 30"/>
                <a:gd name="T1" fmla="*/ 29 h 30"/>
                <a:gd name="T2" fmla="*/ 19 w 30"/>
                <a:gd name="T3" fmla="*/ 28 h 30"/>
                <a:gd name="T4" fmla="*/ 19 w 30"/>
                <a:gd name="T5" fmla="*/ 27 h 30"/>
                <a:gd name="T6" fmla="*/ 20 w 30"/>
                <a:gd name="T7" fmla="*/ 25 h 30"/>
                <a:gd name="T8" fmla="*/ 19 w 30"/>
                <a:gd name="T9" fmla="*/ 23 h 30"/>
                <a:gd name="T10" fmla="*/ 19 w 30"/>
                <a:gd name="T11" fmla="*/ 21 h 30"/>
                <a:gd name="T12" fmla="*/ 19 w 30"/>
                <a:gd name="T13" fmla="*/ 19 h 30"/>
                <a:gd name="T14" fmla="*/ 19 w 30"/>
                <a:gd name="T15" fmla="*/ 16 h 30"/>
                <a:gd name="T16" fmla="*/ 20 w 30"/>
                <a:gd name="T17" fmla="*/ 15 h 30"/>
                <a:gd name="T18" fmla="*/ 22 w 30"/>
                <a:gd name="T19" fmla="*/ 13 h 30"/>
                <a:gd name="T20" fmla="*/ 18 w 30"/>
                <a:gd name="T21" fmla="*/ 13 h 30"/>
                <a:gd name="T22" fmla="*/ 16 w 30"/>
                <a:gd name="T23" fmla="*/ 14 h 30"/>
                <a:gd name="T24" fmla="*/ 12 w 30"/>
                <a:gd name="T25" fmla="*/ 14 h 30"/>
                <a:gd name="T26" fmla="*/ 10 w 30"/>
                <a:gd name="T27" fmla="*/ 14 h 30"/>
                <a:gd name="T28" fmla="*/ 8 w 30"/>
                <a:gd name="T29" fmla="*/ 14 h 30"/>
                <a:gd name="T30" fmla="*/ 6 w 30"/>
                <a:gd name="T31" fmla="*/ 15 h 30"/>
                <a:gd name="T32" fmla="*/ 6 w 30"/>
                <a:gd name="T33" fmla="*/ 15 h 30"/>
                <a:gd name="T34" fmla="*/ 8 w 30"/>
                <a:gd name="T35" fmla="*/ 16 h 30"/>
                <a:gd name="T36" fmla="*/ 9 w 30"/>
                <a:gd name="T37" fmla="*/ 17 h 30"/>
                <a:gd name="T38" fmla="*/ 10 w 30"/>
                <a:gd name="T39" fmla="*/ 18 h 30"/>
                <a:gd name="T40" fmla="*/ 10 w 30"/>
                <a:gd name="T41" fmla="*/ 19 h 30"/>
                <a:gd name="T42" fmla="*/ 9 w 30"/>
                <a:gd name="T43" fmla="*/ 26 h 30"/>
                <a:gd name="T44" fmla="*/ 8 w 30"/>
                <a:gd name="T45" fmla="*/ 27 h 30"/>
                <a:gd name="T46" fmla="*/ 6 w 30"/>
                <a:gd name="T47" fmla="*/ 27 h 30"/>
                <a:gd name="T48" fmla="*/ 5 w 30"/>
                <a:gd name="T49" fmla="*/ 28 h 30"/>
                <a:gd name="T50" fmla="*/ 0 w 30"/>
                <a:gd name="T51" fmla="*/ 30 h 30"/>
                <a:gd name="T52" fmla="*/ 3 w 30"/>
                <a:gd name="T53" fmla="*/ 30 h 30"/>
                <a:gd name="T54" fmla="*/ 6 w 30"/>
                <a:gd name="T55" fmla="*/ 30 h 30"/>
                <a:gd name="T56" fmla="*/ 15 w 30"/>
                <a:gd name="T57" fmla="*/ 30 h 30"/>
                <a:gd name="T58" fmla="*/ 19 w 30"/>
                <a:gd name="T59" fmla="*/ 29 h 30"/>
                <a:gd name="T60" fmla="*/ 19 w 30"/>
                <a:gd name="T61" fmla="*/ 29 h 30"/>
                <a:gd name="T62" fmla="*/ 26 w 30"/>
                <a:gd name="T63" fmla="*/ 4 h 30"/>
                <a:gd name="T64" fmla="*/ 30 w 30"/>
                <a:gd name="T65" fmla="*/ 2 h 30"/>
                <a:gd name="T66" fmla="*/ 30 w 30"/>
                <a:gd name="T67" fmla="*/ 0 h 30"/>
                <a:gd name="T68" fmla="*/ 29 w 30"/>
                <a:gd name="T69" fmla="*/ 0 h 30"/>
                <a:gd name="T70" fmla="*/ 26 w 30"/>
                <a:gd name="T71" fmla="*/ 2 h 30"/>
                <a:gd name="T72" fmla="*/ 25 w 30"/>
                <a:gd name="T73" fmla="*/ 4 h 30"/>
                <a:gd name="T74" fmla="*/ 25 w 30"/>
                <a:gd name="T75" fmla="*/ 4 h 30"/>
                <a:gd name="T76" fmla="*/ 26 w 30"/>
                <a:gd name="T77" fmla="*/ 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0" h="30">
                  <a:moveTo>
                    <a:pt x="19" y="29"/>
                  </a:moveTo>
                  <a:lnTo>
                    <a:pt x="19" y="28"/>
                  </a:lnTo>
                  <a:lnTo>
                    <a:pt x="19" y="27"/>
                  </a:lnTo>
                  <a:lnTo>
                    <a:pt x="20" y="25"/>
                  </a:lnTo>
                  <a:lnTo>
                    <a:pt x="19" y="23"/>
                  </a:lnTo>
                  <a:lnTo>
                    <a:pt x="19" y="21"/>
                  </a:lnTo>
                  <a:lnTo>
                    <a:pt x="19" y="19"/>
                  </a:lnTo>
                  <a:lnTo>
                    <a:pt x="19" y="16"/>
                  </a:lnTo>
                  <a:lnTo>
                    <a:pt x="20" y="15"/>
                  </a:lnTo>
                  <a:lnTo>
                    <a:pt x="22" y="13"/>
                  </a:lnTo>
                  <a:lnTo>
                    <a:pt x="18" y="13"/>
                  </a:lnTo>
                  <a:lnTo>
                    <a:pt x="16" y="14"/>
                  </a:lnTo>
                  <a:lnTo>
                    <a:pt x="12" y="14"/>
                  </a:lnTo>
                  <a:lnTo>
                    <a:pt x="10" y="14"/>
                  </a:lnTo>
                  <a:lnTo>
                    <a:pt x="8" y="14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8" y="16"/>
                  </a:lnTo>
                  <a:lnTo>
                    <a:pt x="9" y="17"/>
                  </a:lnTo>
                  <a:lnTo>
                    <a:pt x="10" y="18"/>
                  </a:lnTo>
                  <a:lnTo>
                    <a:pt x="10" y="19"/>
                  </a:lnTo>
                  <a:lnTo>
                    <a:pt x="9" y="26"/>
                  </a:lnTo>
                  <a:lnTo>
                    <a:pt x="8" y="27"/>
                  </a:lnTo>
                  <a:lnTo>
                    <a:pt x="6" y="27"/>
                  </a:lnTo>
                  <a:lnTo>
                    <a:pt x="5" y="28"/>
                  </a:lnTo>
                  <a:lnTo>
                    <a:pt x="0" y="30"/>
                  </a:lnTo>
                  <a:lnTo>
                    <a:pt x="3" y="30"/>
                  </a:lnTo>
                  <a:lnTo>
                    <a:pt x="6" y="30"/>
                  </a:lnTo>
                  <a:lnTo>
                    <a:pt x="15" y="30"/>
                  </a:lnTo>
                  <a:lnTo>
                    <a:pt x="19" y="29"/>
                  </a:lnTo>
                  <a:lnTo>
                    <a:pt x="19" y="29"/>
                  </a:lnTo>
                  <a:close/>
                  <a:moveTo>
                    <a:pt x="26" y="4"/>
                  </a:moveTo>
                  <a:lnTo>
                    <a:pt x="30" y="2"/>
                  </a:lnTo>
                  <a:lnTo>
                    <a:pt x="30" y="0"/>
                  </a:lnTo>
                  <a:lnTo>
                    <a:pt x="29" y="0"/>
                  </a:lnTo>
                  <a:lnTo>
                    <a:pt x="26" y="2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6" y="4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1" name="Saint Vincent and the Grenadines">
              <a:extLst>
                <a:ext uri="{FF2B5EF4-FFF2-40B4-BE49-F238E27FC236}">
                  <a16:creationId xmlns:a16="http://schemas.microsoft.com/office/drawing/2014/main" id="{DF0A93B5-2AA7-471D-95F3-181D48E5E6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66369" y="3558948"/>
              <a:ext cx="9525" cy="25400"/>
            </a:xfrm>
            <a:custGeom>
              <a:avLst/>
              <a:gdLst>
                <a:gd name="T0" fmla="*/ 0 w 6"/>
                <a:gd name="T1" fmla="*/ 16 h 16"/>
                <a:gd name="T2" fmla="*/ 0 w 6"/>
                <a:gd name="T3" fmla="*/ 16 h 16"/>
                <a:gd name="T4" fmla="*/ 0 w 6"/>
                <a:gd name="T5" fmla="*/ 15 h 16"/>
                <a:gd name="T6" fmla="*/ 0 w 6"/>
                <a:gd name="T7" fmla="*/ 15 h 16"/>
                <a:gd name="T8" fmla="*/ 0 w 6"/>
                <a:gd name="T9" fmla="*/ 15 h 16"/>
                <a:gd name="T10" fmla="*/ 0 w 6"/>
                <a:gd name="T11" fmla="*/ 15 h 16"/>
                <a:gd name="T12" fmla="*/ 0 w 6"/>
                <a:gd name="T13" fmla="*/ 14 h 16"/>
                <a:gd name="T14" fmla="*/ 0 w 6"/>
                <a:gd name="T15" fmla="*/ 14 h 16"/>
                <a:gd name="T16" fmla="*/ 0 w 6"/>
                <a:gd name="T17" fmla="*/ 15 h 16"/>
                <a:gd name="T18" fmla="*/ 0 w 6"/>
                <a:gd name="T19" fmla="*/ 15 h 16"/>
                <a:gd name="T20" fmla="*/ 0 w 6"/>
                <a:gd name="T21" fmla="*/ 15 h 16"/>
                <a:gd name="T22" fmla="*/ 0 w 6"/>
                <a:gd name="T23" fmla="*/ 15 h 16"/>
                <a:gd name="T24" fmla="*/ 0 w 6"/>
                <a:gd name="T25" fmla="*/ 16 h 16"/>
                <a:gd name="T26" fmla="*/ 0 w 6"/>
                <a:gd name="T27" fmla="*/ 16 h 16"/>
                <a:gd name="T28" fmla="*/ 0 w 6"/>
                <a:gd name="T29" fmla="*/ 16 h 16"/>
                <a:gd name="T30" fmla="*/ 0 w 6"/>
                <a:gd name="T31" fmla="*/ 16 h 16"/>
                <a:gd name="T32" fmla="*/ 3 w 6"/>
                <a:gd name="T33" fmla="*/ 8 h 16"/>
                <a:gd name="T34" fmla="*/ 3 w 6"/>
                <a:gd name="T35" fmla="*/ 7 h 16"/>
                <a:gd name="T36" fmla="*/ 4 w 6"/>
                <a:gd name="T37" fmla="*/ 7 h 16"/>
                <a:gd name="T38" fmla="*/ 4 w 6"/>
                <a:gd name="T39" fmla="*/ 7 h 16"/>
                <a:gd name="T40" fmla="*/ 4 w 6"/>
                <a:gd name="T41" fmla="*/ 7 h 16"/>
                <a:gd name="T42" fmla="*/ 3 w 6"/>
                <a:gd name="T43" fmla="*/ 6 h 16"/>
                <a:gd name="T44" fmla="*/ 3 w 6"/>
                <a:gd name="T45" fmla="*/ 6 h 16"/>
                <a:gd name="T46" fmla="*/ 3 w 6"/>
                <a:gd name="T47" fmla="*/ 7 h 16"/>
                <a:gd name="T48" fmla="*/ 2 w 6"/>
                <a:gd name="T49" fmla="*/ 7 h 16"/>
                <a:gd name="T50" fmla="*/ 2 w 6"/>
                <a:gd name="T51" fmla="*/ 7 h 16"/>
                <a:gd name="T52" fmla="*/ 2 w 6"/>
                <a:gd name="T53" fmla="*/ 8 h 16"/>
                <a:gd name="T54" fmla="*/ 2 w 6"/>
                <a:gd name="T55" fmla="*/ 8 h 16"/>
                <a:gd name="T56" fmla="*/ 2 w 6"/>
                <a:gd name="T57" fmla="*/ 8 h 16"/>
                <a:gd name="T58" fmla="*/ 2 w 6"/>
                <a:gd name="T59" fmla="*/ 8 h 16"/>
                <a:gd name="T60" fmla="*/ 2 w 6"/>
                <a:gd name="T61" fmla="*/ 8 h 16"/>
                <a:gd name="T62" fmla="*/ 2 w 6"/>
                <a:gd name="T63" fmla="*/ 8 h 16"/>
                <a:gd name="T64" fmla="*/ 2 w 6"/>
                <a:gd name="T65" fmla="*/ 8 h 16"/>
                <a:gd name="T66" fmla="*/ 2 w 6"/>
                <a:gd name="T67" fmla="*/ 8 h 16"/>
                <a:gd name="T68" fmla="*/ 2 w 6"/>
                <a:gd name="T69" fmla="*/ 8 h 16"/>
                <a:gd name="T70" fmla="*/ 2 w 6"/>
                <a:gd name="T71" fmla="*/ 8 h 16"/>
                <a:gd name="T72" fmla="*/ 2 w 6"/>
                <a:gd name="T73" fmla="*/ 8 h 16"/>
                <a:gd name="T74" fmla="*/ 2 w 6"/>
                <a:gd name="T75" fmla="*/ 8 h 16"/>
                <a:gd name="T76" fmla="*/ 3 w 6"/>
                <a:gd name="T77" fmla="*/ 8 h 16"/>
                <a:gd name="T78" fmla="*/ 3 w 6"/>
                <a:gd name="T79" fmla="*/ 8 h 16"/>
                <a:gd name="T80" fmla="*/ 4 w 6"/>
                <a:gd name="T81" fmla="*/ 5 h 16"/>
                <a:gd name="T82" fmla="*/ 5 w 6"/>
                <a:gd name="T83" fmla="*/ 4 h 16"/>
                <a:gd name="T84" fmla="*/ 6 w 6"/>
                <a:gd name="T85" fmla="*/ 1 h 16"/>
                <a:gd name="T86" fmla="*/ 5 w 6"/>
                <a:gd name="T87" fmla="*/ 0 h 16"/>
                <a:gd name="T88" fmla="*/ 4 w 6"/>
                <a:gd name="T89" fmla="*/ 0 h 16"/>
                <a:gd name="T90" fmla="*/ 3 w 6"/>
                <a:gd name="T91" fmla="*/ 0 h 16"/>
                <a:gd name="T92" fmla="*/ 2 w 6"/>
                <a:gd name="T93" fmla="*/ 1 h 16"/>
                <a:gd name="T94" fmla="*/ 2 w 6"/>
                <a:gd name="T95" fmla="*/ 3 h 16"/>
                <a:gd name="T96" fmla="*/ 4 w 6"/>
                <a:gd name="T97" fmla="*/ 5 h 16"/>
                <a:gd name="T98" fmla="*/ 4 w 6"/>
                <a:gd name="T99" fmla="*/ 5 h 16"/>
                <a:gd name="T100" fmla="*/ 4 w 6"/>
                <a:gd name="T101" fmla="*/ 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" h="16">
                  <a:moveTo>
                    <a:pt x="0" y="16"/>
                  </a:moveTo>
                  <a:lnTo>
                    <a:pt x="0" y="16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close/>
                  <a:moveTo>
                    <a:pt x="3" y="8"/>
                  </a:moveTo>
                  <a:lnTo>
                    <a:pt x="3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3" y="8"/>
                  </a:lnTo>
                  <a:lnTo>
                    <a:pt x="3" y="8"/>
                  </a:lnTo>
                  <a:close/>
                  <a:moveTo>
                    <a:pt x="4" y="5"/>
                  </a:moveTo>
                  <a:lnTo>
                    <a:pt x="5" y="4"/>
                  </a:lnTo>
                  <a:lnTo>
                    <a:pt x="6" y="1"/>
                  </a:lnTo>
                  <a:lnTo>
                    <a:pt x="5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2" y="1"/>
                  </a:lnTo>
                  <a:lnTo>
                    <a:pt x="2" y="3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2" name="British Virgin Islands">
              <a:extLst>
                <a:ext uri="{FF2B5EF4-FFF2-40B4-BE49-F238E27FC236}">
                  <a16:creationId xmlns:a16="http://schemas.microsoft.com/office/drawing/2014/main" id="{CB45564A-F1D7-4993-9FD9-9C61C54AF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72707" y="3355749"/>
              <a:ext cx="14287" cy="11113"/>
            </a:xfrm>
            <a:custGeom>
              <a:avLst/>
              <a:gdLst>
                <a:gd name="T0" fmla="*/ 2 w 9"/>
                <a:gd name="T1" fmla="*/ 7 h 7"/>
                <a:gd name="T2" fmla="*/ 3 w 9"/>
                <a:gd name="T3" fmla="*/ 7 h 7"/>
                <a:gd name="T4" fmla="*/ 2 w 9"/>
                <a:gd name="T5" fmla="*/ 6 h 7"/>
                <a:gd name="T6" fmla="*/ 1 w 9"/>
                <a:gd name="T7" fmla="*/ 6 h 7"/>
                <a:gd name="T8" fmla="*/ 0 w 9"/>
                <a:gd name="T9" fmla="*/ 7 h 7"/>
                <a:gd name="T10" fmla="*/ 0 w 9"/>
                <a:gd name="T11" fmla="*/ 7 h 7"/>
                <a:gd name="T12" fmla="*/ 2 w 9"/>
                <a:gd name="T13" fmla="*/ 7 h 7"/>
                <a:gd name="T14" fmla="*/ 2 w 9"/>
                <a:gd name="T15" fmla="*/ 7 h 7"/>
                <a:gd name="T16" fmla="*/ 6 w 9"/>
                <a:gd name="T17" fmla="*/ 6 h 7"/>
                <a:gd name="T18" fmla="*/ 8 w 9"/>
                <a:gd name="T19" fmla="*/ 5 h 7"/>
                <a:gd name="T20" fmla="*/ 6 w 9"/>
                <a:gd name="T21" fmla="*/ 6 h 7"/>
                <a:gd name="T22" fmla="*/ 5 w 9"/>
                <a:gd name="T23" fmla="*/ 6 h 7"/>
                <a:gd name="T24" fmla="*/ 5 w 9"/>
                <a:gd name="T25" fmla="*/ 6 h 7"/>
                <a:gd name="T26" fmla="*/ 6 w 9"/>
                <a:gd name="T27" fmla="*/ 6 h 7"/>
                <a:gd name="T28" fmla="*/ 6 w 9"/>
                <a:gd name="T29" fmla="*/ 6 h 7"/>
                <a:gd name="T30" fmla="*/ 6 w 9"/>
                <a:gd name="T31" fmla="*/ 6 h 7"/>
                <a:gd name="T32" fmla="*/ 9 w 9"/>
                <a:gd name="T33" fmla="*/ 0 h 7"/>
                <a:gd name="T34" fmla="*/ 9 w 9"/>
                <a:gd name="T35" fmla="*/ 0 h 7"/>
                <a:gd name="T36" fmla="*/ 7 w 9"/>
                <a:gd name="T37" fmla="*/ 0 h 7"/>
                <a:gd name="T38" fmla="*/ 7 w 9"/>
                <a:gd name="T39" fmla="*/ 0 h 7"/>
                <a:gd name="T40" fmla="*/ 7 w 9"/>
                <a:gd name="T41" fmla="*/ 0 h 7"/>
                <a:gd name="T42" fmla="*/ 8 w 9"/>
                <a:gd name="T43" fmla="*/ 0 h 7"/>
                <a:gd name="T44" fmla="*/ 9 w 9"/>
                <a:gd name="T45" fmla="*/ 0 h 7"/>
                <a:gd name="T46" fmla="*/ 9 w 9"/>
                <a:gd name="T47" fmla="*/ 0 h 7"/>
                <a:gd name="T48" fmla="*/ 9 w 9"/>
                <a:gd name="T49" fmla="*/ 0 h 7"/>
                <a:gd name="T50" fmla="*/ 9 w 9"/>
                <a:gd name="T5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" h="7">
                  <a:moveTo>
                    <a:pt x="2" y="7"/>
                  </a:moveTo>
                  <a:lnTo>
                    <a:pt x="3" y="7"/>
                  </a:lnTo>
                  <a:lnTo>
                    <a:pt x="2" y="6"/>
                  </a:lnTo>
                  <a:lnTo>
                    <a:pt x="1" y="6"/>
                  </a:lnTo>
                  <a:lnTo>
                    <a:pt x="0" y="7"/>
                  </a:lnTo>
                  <a:lnTo>
                    <a:pt x="0" y="7"/>
                  </a:lnTo>
                  <a:lnTo>
                    <a:pt x="2" y="7"/>
                  </a:lnTo>
                  <a:lnTo>
                    <a:pt x="2" y="7"/>
                  </a:lnTo>
                  <a:close/>
                  <a:moveTo>
                    <a:pt x="6" y="6"/>
                  </a:moveTo>
                  <a:lnTo>
                    <a:pt x="8" y="5"/>
                  </a:lnTo>
                  <a:lnTo>
                    <a:pt x="6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close/>
                  <a:moveTo>
                    <a:pt x="9" y="0"/>
                  </a:moveTo>
                  <a:lnTo>
                    <a:pt x="9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8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3" name="Virgin Islands">
              <a:extLst>
                <a:ext uri="{FF2B5EF4-FFF2-40B4-BE49-F238E27FC236}">
                  <a16:creationId xmlns:a16="http://schemas.microsoft.com/office/drawing/2014/main" id="{D1C123FF-B877-4933-8B38-6C2A9D0403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61594" y="3368448"/>
              <a:ext cx="12700" cy="25400"/>
            </a:xfrm>
            <a:custGeom>
              <a:avLst/>
              <a:gdLst>
                <a:gd name="T0" fmla="*/ 5 w 8"/>
                <a:gd name="T1" fmla="*/ 14 h 16"/>
                <a:gd name="T2" fmla="*/ 2 w 8"/>
                <a:gd name="T3" fmla="*/ 14 h 16"/>
                <a:gd name="T4" fmla="*/ 1 w 8"/>
                <a:gd name="T5" fmla="*/ 16 h 16"/>
                <a:gd name="T6" fmla="*/ 6 w 8"/>
                <a:gd name="T7" fmla="*/ 16 h 16"/>
                <a:gd name="T8" fmla="*/ 8 w 8"/>
                <a:gd name="T9" fmla="*/ 15 h 16"/>
                <a:gd name="T10" fmla="*/ 6 w 8"/>
                <a:gd name="T11" fmla="*/ 15 h 16"/>
                <a:gd name="T12" fmla="*/ 5 w 8"/>
                <a:gd name="T13" fmla="*/ 14 h 16"/>
                <a:gd name="T14" fmla="*/ 5 w 8"/>
                <a:gd name="T15" fmla="*/ 14 h 16"/>
                <a:gd name="T16" fmla="*/ 7 w 8"/>
                <a:gd name="T17" fmla="*/ 1 h 16"/>
                <a:gd name="T18" fmla="*/ 6 w 8"/>
                <a:gd name="T19" fmla="*/ 0 h 16"/>
                <a:gd name="T20" fmla="*/ 5 w 8"/>
                <a:gd name="T21" fmla="*/ 1 h 16"/>
                <a:gd name="T22" fmla="*/ 5 w 8"/>
                <a:gd name="T23" fmla="*/ 1 h 16"/>
                <a:gd name="T24" fmla="*/ 7 w 8"/>
                <a:gd name="T25" fmla="*/ 1 h 16"/>
                <a:gd name="T26" fmla="*/ 7 w 8"/>
                <a:gd name="T27" fmla="*/ 1 h 16"/>
                <a:gd name="T28" fmla="*/ 4 w 8"/>
                <a:gd name="T29" fmla="*/ 1 h 16"/>
                <a:gd name="T30" fmla="*/ 3 w 8"/>
                <a:gd name="T31" fmla="*/ 0 h 16"/>
                <a:gd name="T32" fmla="*/ 2 w 8"/>
                <a:gd name="T33" fmla="*/ 0 h 16"/>
                <a:gd name="T34" fmla="*/ 0 w 8"/>
                <a:gd name="T35" fmla="*/ 0 h 16"/>
                <a:gd name="T36" fmla="*/ 2 w 8"/>
                <a:gd name="T37" fmla="*/ 1 h 16"/>
                <a:gd name="T38" fmla="*/ 4 w 8"/>
                <a:gd name="T39" fmla="*/ 1 h 16"/>
                <a:gd name="T40" fmla="*/ 4 w 8"/>
                <a:gd name="T41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" h="16">
                  <a:moveTo>
                    <a:pt x="5" y="14"/>
                  </a:moveTo>
                  <a:lnTo>
                    <a:pt x="2" y="14"/>
                  </a:lnTo>
                  <a:lnTo>
                    <a:pt x="1" y="16"/>
                  </a:lnTo>
                  <a:lnTo>
                    <a:pt x="6" y="16"/>
                  </a:lnTo>
                  <a:lnTo>
                    <a:pt x="8" y="15"/>
                  </a:lnTo>
                  <a:lnTo>
                    <a:pt x="6" y="15"/>
                  </a:lnTo>
                  <a:lnTo>
                    <a:pt x="5" y="14"/>
                  </a:lnTo>
                  <a:lnTo>
                    <a:pt x="5" y="14"/>
                  </a:lnTo>
                  <a:close/>
                  <a:moveTo>
                    <a:pt x="7" y="1"/>
                  </a:moveTo>
                  <a:lnTo>
                    <a:pt x="6" y="0"/>
                  </a:lnTo>
                  <a:lnTo>
                    <a:pt x="5" y="1"/>
                  </a:lnTo>
                  <a:lnTo>
                    <a:pt x="5" y="1"/>
                  </a:lnTo>
                  <a:lnTo>
                    <a:pt x="7" y="1"/>
                  </a:lnTo>
                  <a:lnTo>
                    <a:pt x="7" y="1"/>
                  </a:lnTo>
                  <a:close/>
                  <a:moveTo>
                    <a:pt x="4" y="1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1"/>
                  </a:lnTo>
                  <a:lnTo>
                    <a:pt x="4" y="1"/>
                  </a:lnTo>
                  <a:lnTo>
                    <a:pt x="4" y="1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4" name="Cyprus">
              <a:extLst>
                <a:ext uri="{FF2B5EF4-FFF2-40B4-BE49-F238E27FC236}">
                  <a16:creationId xmlns:a16="http://schemas.microsoft.com/office/drawing/2014/main" id="{CCD0323F-25D5-45FF-B160-AD6932A20606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9607" y="2717574"/>
              <a:ext cx="68262" cy="41275"/>
            </a:xfrm>
            <a:custGeom>
              <a:avLst/>
              <a:gdLst>
                <a:gd name="T0" fmla="*/ 8 w 43"/>
                <a:gd name="T1" fmla="*/ 12 h 26"/>
                <a:gd name="T2" fmla="*/ 7 w 43"/>
                <a:gd name="T3" fmla="*/ 11 h 26"/>
                <a:gd name="T4" fmla="*/ 5 w 43"/>
                <a:gd name="T5" fmla="*/ 12 h 26"/>
                <a:gd name="T6" fmla="*/ 4 w 43"/>
                <a:gd name="T7" fmla="*/ 14 h 26"/>
                <a:gd name="T8" fmla="*/ 2 w 43"/>
                <a:gd name="T9" fmla="*/ 14 h 26"/>
                <a:gd name="T10" fmla="*/ 0 w 43"/>
                <a:gd name="T11" fmla="*/ 14 h 26"/>
                <a:gd name="T12" fmla="*/ 1 w 43"/>
                <a:gd name="T13" fmla="*/ 16 h 26"/>
                <a:gd name="T14" fmla="*/ 3 w 43"/>
                <a:gd name="T15" fmla="*/ 21 h 26"/>
                <a:gd name="T16" fmla="*/ 4 w 43"/>
                <a:gd name="T17" fmla="*/ 22 h 26"/>
                <a:gd name="T18" fmla="*/ 5 w 43"/>
                <a:gd name="T19" fmla="*/ 23 h 26"/>
                <a:gd name="T20" fmla="*/ 9 w 43"/>
                <a:gd name="T21" fmla="*/ 24 h 26"/>
                <a:gd name="T22" fmla="*/ 10 w 43"/>
                <a:gd name="T23" fmla="*/ 24 h 26"/>
                <a:gd name="T24" fmla="*/ 12 w 43"/>
                <a:gd name="T25" fmla="*/ 24 h 26"/>
                <a:gd name="T26" fmla="*/ 13 w 43"/>
                <a:gd name="T27" fmla="*/ 24 h 26"/>
                <a:gd name="T28" fmla="*/ 14 w 43"/>
                <a:gd name="T29" fmla="*/ 26 h 26"/>
                <a:gd name="T30" fmla="*/ 16 w 43"/>
                <a:gd name="T31" fmla="*/ 26 h 26"/>
                <a:gd name="T32" fmla="*/ 16 w 43"/>
                <a:gd name="T33" fmla="*/ 25 h 26"/>
                <a:gd name="T34" fmla="*/ 16 w 43"/>
                <a:gd name="T35" fmla="*/ 24 h 26"/>
                <a:gd name="T36" fmla="*/ 16 w 43"/>
                <a:gd name="T37" fmla="*/ 23 h 26"/>
                <a:gd name="T38" fmla="*/ 18 w 43"/>
                <a:gd name="T39" fmla="*/ 23 h 26"/>
                <a:gd name="T40" fmla="*/ 19 w 43"/>
                <a:gd name="T41" fmla="*/ 23 h 26"/>
                <a:gd name="T42" fmla="*/ 21 w 43"/>
                <a:gd name="T43" fmla="*/ 22 h 26"/>
                <a:gd name="T44" fmla="*/ 23 w 43"/>
                <a:gd name="T45" fmla="*/ 21 h 26"/>
                <a:gd name="T46" fmla="*/ 25 w 43"/>
                <a:gd name="T47" fmla="*/ 20 h 26"/>
                <a:gd name="T48" fmla="*/ 28 w 43"/>
                <a:gd name="T49" fmla="*/ 16 h 26"/>
                <a:gd name="T50" fmla="*/ 29 w 43"/>
                <a:gd name="T51" fmla="*/ 16 h 26"/>
                <a:gd name="T52" fmla="*/ 31 w 43"/>
                <a:gd name="T53" fmla="*/ 16 h 26"/>
                <a:gd name="T54" fmla="*/ 33 w 43"/>
                <a:gd name="T55" fmla="*/ 16 h 26"/>
                <a:gd name="T56" fmla="*/ 35 w 43"/>
                <a:gd name="T57" fmla="*/ 15 h 26"/>
                <a:gd name="T58" fmla="*/ 35 w 43"/>
                <a:gd name="T59" fmla="*/ 14 h 26"/>
                <a:gd name="T60" fmla="*/ 34 w 43"/>
                <a:gd name="T61" fmla="*/ 14 h 26"/>
                <a:gd name="T62" fmla="*/ 33 w 43"/>
                <a:gd name="T63" fmla="*/ 12 h 26"/>
                <a:gd name="T64" fmla="*/ 32 w 43"/>
                <a:gd name="T65" fmla="*/ 11 h 26"/>
                <a:gd name="T66" fmla="*/ 32 w 43"/>
                <a:gd name="T67" fmla="*/ 8 h 26"/>
                <a:gd name="T68" fmla="*/ 41 w 43"/>
                <a:gd name="T69" fmla="*/ 1 h 26"/>
                <a:gd name="T70" fmla="*/ 43 w 43"/>
                <a:gd name="T71" fmla="*/ 0 h 26"/>
                <a:gd name="T72" fmla="*/ 40 w 43"/>
                <a:gd name="T73" fmla="*/ 0 h 26"/>
                <a:gd name="T74" fmla="*/ 38 w 43"/>
                <a:gd name="T75" fmla="*/ 1 h 26"/>
                <a:gd name="T76" fmla="*/ 36 w 43"/>
                <a:gd name="T77" fmla="*/ 2 h 26"/>
                <a:gd name="T78" fmla="*/ 34 w 43"/>
                <a:gd name="T79" fmla="*/ 4 h 26"/>
                <a:gd name="T80" fmla="*/ 25 w 43"/>
                <a:gd name="T81" fmla="*/ 7 h 26"/>
                <a:gd name="T82" fmla="*/ 22 w 43"/>
                <a:gd name="T83" fmla="*/ 7 h 26"/>
                <a:gd name="T84" fmla="*/ 20 w 43"/>
                <a:gd name="T85" fmla="*/ 7 h 26"/>
                <a:gd name="T86" fmla="*/ 16 w 43"/>
                <a:gd name="T87" fmla="*/ 7 h 26"/>
                <a:gd name="T88" fmla="*/ 12 w 43"/>
                <a:gd name="T89" fmla="*/ 6 h 26"/>
                <a:gd name="T90" fmla="*/ 12 w 43"/>
                <a:gd name="T91" fmla="*/ 9 h 26"/>
                <a:gd name="T92" fmla="*/ 11 w 43"/>
                <a:gd name="T93" fmla="*/ 11 h 26"/>
                <a:gd name="T94" fmla="*/ 9 w 43"/>
                <a:gd name="T95" fmla="*/ 12 h 26"/>
                <a:gd name="T96" fmla="*/ 8 w 43"/>
                <a:gd name="T97" fmla="*/ 12 h 26"/>
                <a:gd name="T98" fmla="*/ 8 w 43"/>
                <a:gd name="T9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3" h="26">
                  <a:moveTo>
                    <a:pt x="8" y="12"/>
                  </a:moveTo>
                  <a:lnTo>
                    <a:pt x="7" y="11"/>
                  </a:lnTo>
                  <a:lnTo>
                    <a:pt x="5" y="12"/>
                  </a:lnTo>
                  <a:lnTo>
                    <a:pt x="4" y="14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3" y="21"/>
                  </a:lnTo>
                  <a:lnTo>
                    <a:pt x="4" y="22"/>
                  </a:lnTo>
                  <a:lnTo>
                    <a:pt x="5" y="23"/>
                  </a:lnTo>
                  <a:lnTo>
                    <a:pt x="9" y="24"/>
                  </a:lnTo>
                  <a:lnTo>
                    <a:pt x="10" y="24"/>
                  </a:lnTo>
                  <a:lnTo>
                    <a:pt x="12" y="24"/>
                  </a:lnTo>
                  <a:lnTo>
                    <a:pt x="13" y="24"/>
                  </a:lnTo>
                  <a:lnTo>
                    <a:pt x="14" y="26"/>
                  </a:lnTo>
                  <a:lnTo>
                    <a:pt x="16" y="26"/>
                  </a:lnTo>
                  <a:lnTo>
                    <a:pt x="16" y="25"/>
                  </a:lnTo>
                  <a:lnTo>
                    <a:pt x="16" y="24"/>
                  </a:lnTo>
                  <a:lnTo>
                    <a:pt x="16" y="23"/>
                  </a:lnTo>
                  <a:lnTo>
                    <a:pt x="18" y="23"/>
                  </a:lnTo>
                  <a:lnTo>
                    <a:pt x="19" y="23"/>
                  </a:lnTo>
                  <a:lnTo>
                    <a:pt x="21" y="22"/>
                  </a:lnTo>
                  <a:lnTo>
                    <a:pt x="23" y="21"/>
                  </a:lnTo>
                  <a:lnTo>
                    <a:pt x="25" y="20"/>
                  </a:lnTo>
                  <a:lnTo>
                    <a:pt x="28" y="16"/>
                  </a:lnTo>
                  <a:lnTo>
                    <a:pt x="29" y="16"/>
                  </a:lnTo>
                  <a:lnTo>
                    <a:pt x="31" y="16"/>
                  </a:lnTo>
                  <a:lnTo>
                    <a:pt x="33" y="16"/>
                  </a:lnTo>
                  <a:lnTo>
                    <a:pt x="35" y="15"/>
                  </a:lnTo>
                  <a:lnTo>
                    <a:pt x="35" y="14"/>
                  </a:lnTo>
                  <a:lnTo>
                    <a:pt x="34" y="14"/>
                  </a:lnTo>
                  <a:lnTo>
                    <a:pt x="33" y="12"/>
                  </a:lnTo>
                  <a:lnTo>
                    <a:pt x="32" y="11"/>
                  </a:lnTo>
                  <a:lnTo>
                    <a:pt x="32" y="8"/>
                  </a:lnTo>
                  <a:lnTo>
                    <a:pt x="41" y="1"/>
                  </a:lnTo>
                  <a:lnTo>
                    <a:pt x="43" y="0"/>
                  </a:lnTo>
                  <a:lnTo>
                    <a:pt x="40" y="0"/>
                  </a:lnTo>
                  <a:lnTo>
                    <a:pt x="38" y="1"/>
                  </a:lnTo>
                  <a:lnTo>
                    <a:pt x="36" y="2"/>
                  </a:lnTo>
                  <a:lnTo>
                    <a:pt x="34" y="4"/>
                  </a:lnTo>
                  <a:lnTo>
                    <a:pt x="25" y="7"/>
                  </a:lnTo>
                  <a:lnTo>
                    <a:pt x="22" y="7"/>
                  </a:lnTo>
                  <a:lnTo>
                    <a:pt x="20" y="7"/>
                  </a:lnTo>
                  <a:lnTo>
                    <a:pt x="16" y="7"/>
                  </a:lnTo>
                  <a:lnTo>
                    <a:pt x="12" y="6"/>
                  </a:lnTo>
                  <a:lnTo>
                    <a:pt x="12" y="9"/>
                  </a:lnTo>
                  <a:lnTo>
                    <a:pt x="11" y="11"/>
                  </a:lnTo>
                  <a:lnTo>
                    <a:pt x="9" y="12"/>
                  </a:lnTo>
                  <a:lnTo>
                    <a:pt x="8" y="12"/>
                  </a:lnTo>
                  <a:lnTo>
                    <a:pt x="8" y="12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435" name="France">
              <a:extLst>
                <a:ext uri="{FF2B5EF4-FFF2-40B4-BE49-F238E27FC236}">
                  <a16:creationId xmlns:a16="http://schemas.microsoft.com/office/drawing/2014/main" id="{15CC230E-B20E-41A5-AFA9-940C02689A14}"/>
                </a:ext>
              </a:extLst>
            </p:cNvPr>
            <p:cNvGrpSpPr/>
            <p:nvPr/>
          </p:nvGrpSpPr>
          <p:grpSpPr>
            <a:xfrm>
              <a:off x="1008856" y="2141312"/>
              <a:ext cx="6810376" cy="2725737"/>
              <a:chOff x="1014412" y="2562226"/>
              <a:chExt cx="6810376" cy="2725738"/>
            </a:xfrm>
            <a:grpFill/>
          </p:grpSpPr>
          <p:sp>
            <p:nvSpPr>
              <p:cNvPr id="438" name="Freeform 198">
                <a:extLst>
                  <a:ext uri="{FF2B5EF4-FFF2-40B4-BE49-F238E27FC236}">
                    <a16:creationId xmlns:a16="http://schemas.microsoft.com/office/drawing/2014/main" id="{C7C5BD3C-93FD-455E-803F-0B1290A6B7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4412" y="4814888"/>
                <a:ext cx="515937" cy="455613"/>
              </a:xfrm>
              <a:custGeom>
                <a:avLst/>
                <a:gdLst>
                  <a:gd name="T0" fmla="*/ 288 w 325"/>
                  <a:gd name="T1" fmla="*/ 285 h 287"/>
                  <a:gd name="T2" fmla="*/ 290 w 325"/>
                  <a:gd name="T3" fmla="*/ 287 h 287"/>
                  <a:gd name="T4" fmla="*/ 322 w 325"/>
                  <a:gd name="T5" fmla="*/ 230 h 287"/>
                  <a:gd name="T6" fmla="*/ 321 w 325"/>
                  <a:gd name="T7" fmla="*/ 230 h 287"/>
                  <a:gd name="T8" fmla="*/ 325 w 325"/>
                  <a:gd name="T9" fmla="*/ 232 h 287"/>
                  <a:gd name="T10" fmla="*/ 231 w 325"/>
                  <a:gd name="T11" fmla="*/ 226 h 287"/>
                  <a:gd name="T12" fmla="*/ 233 w 325"/>
                  <a:gd name="T13" fmla="*/ 227 h 287"/>
                  <a:gd name="T14" fmla="*/ 307 w 325"/>
                  <a:gd name="T15" fmla="*/ 225 h 287"/>
                  <a:gd name="T16" fmla="*/ 227 w 325"/>
                  <a:gd name="T17" fmla="*/ 222 h 287"/>
                  <a:gd name="T18" fmla="*/ 227 w 325"/>
                  <a:gd name="T19" fmla="*/ 222 h 287"/>
                  <a:gd name="T20" fmla="*/ 227 w 325"/>
                  <a:gd name="T21" fmla="*/ 215 h 287"/>
                  <a:gd name="T22" fmla="*/ 228 w 325"/>
                  <a:gd name="T23" fmla="*/ 212 h 287"/>
                  <a:gd name="T24" fmla="*/ 229 w 325"/>
                  <a:gd name="T25" fmla="*/ 211 h 287"/>
                  <a:gd name="T26" fmla="*/ 227 w 325"/>
                  <a:gd name="T27" fmla="*/ 214 h 287"/>
                  <a:gd name="T28" fmla="*/ 227 w 325"/>
                  <a:gd name="T29" fmla="*/ 215 h 287"/>
                  <a:gd name="T30" fmla="*/ 49 w 325"/>
                  <a:gd name="T31" fmla="*/ 207 h 287"/>
                  <a:gd name="T32" fmla="*/ 44 w 325"/>
                  <a:gd name="T33" fmla="*/ 210 h 287"/>
                  <a:gd name="T34" fmla="*/ 52 w 325"/>
                  <a:gd name="T35" fmla="*/ 214 h 287"/>
                  <a:gd name="T36" fmla="*/ 54 w 325"/>
                  <a:gd name="T37" fmla="*/ 212 h 287"/>
                  <a:gd name="T38" fmla="*/ 41 w 325"/>
                  <a:gd name="T39" fmla="*/ 207 h 287"/>
                  <a:gd name="T40" fmla="*/ 38 w 325"/>
                  <a:gd name="T41" fmla="*/ 208 h 287"/>
                  <a:gd name="T42" fmla="*/ 40 w 325"/>
                  <a:gd name="T43" fmla="*/ 208 h 287"/>
                  <a:gd name="T44" fmla="*/ 2 w 325"/>
                  <a:gd name="T45" fmla="*/ 189 h 287"/>
                  <a:gd name="T46" fmla="*/ 3 w 325"/>
                  <a:gd name="T47" fmla="*/ 192 h 287"/>
                  <a:gd name="T48" fmla="*/ 166 w 325"/>
                  <a:gd name="T49" fmla="*/ 186 h 287"/>
                  <a:gd name="T50" fmla="*/ 168 w 325"/>
                  <a:gd name="T51" fmla="*/ 186 h 287"/>
                  <a:gd name="T52" fmla="*/ 162 w 325"/>
                  <a:gd name="T53" fmla="*/ 185 h 287"/>
                  <a:gd name="T54" fmla="*/ 2 w 325"/>
                  <a:gd name="T55" fmla="*/ 186 h 287"/>
                  <a:gd name="T56" fmla="*/ 1 w 325"/>
                  <a:gd name="T57" fmla="*/ 186 h 287"/>
                  <a:gd name="T58" fmla="*/ 2 w 325"/>
                  <a:gd name="T59" fmla="*/ 186 h 287"/>
                  <a:gd name="T60" fmla="*/ 121 w 325"/>
                  <a:gd name="T61" fmla="*/ 175 h 287"/>
                  <a:gd name="T62" fmla="*/ 121 w 325"/>
                  <a:gd name="T63" fmla="*/ 176 h 287"/>
                  <a:gd name="T64" fmla="*/ 124 w 325"/>
                  <a:gd name="T65" fmla="*/ 180 h 287"/>
                  <a:gd name="T66" fmla="*/ 185 w 325"/>
                  <a:gd name="T67" fmla="*/ 171 h 287"/>
                  <a:gd name="T68" fmla="*/ 185 w 325"/>
                  <a:gd name="T69" fmla="*/ 173 h 287"/>
                  <a:gd name="T70" fmla="*/ 129 w 325"/>
                  <a:gd name="T71" fmla="*/ 166 h 287"/>
                  <a:gd name="T72" fmla="*/ 130 w 325"/>
                  <a:gd name="T73" fmla="*/ 168 h 287"/>
                  <a:gd name="T74" fmla="*/ 246 w 325"/>
                  <a:gd name="T75" fmla="*/ 39 h 287"/>
                  <a:gd name="T76" fmla="*/ 246 w 325"/>
                  <a:gd name="T77" fmla="*/ 41 h 287"/>
                  <a:gd name="T78" fmla="*/ 234 w 325"/>
                  <a:gd name="T79" fmla="*/ 27 h 287"/>
                  <a:gd name="T80" fmla="*/ 236 w 325"/>
                  <a:gd name="T81" fmla="*/ 21 h 287"/>
                  <a:gd name="T82" fmla="*/ 236 w 325"/>
                  <a:gd name="T83" fmla="*/ 24 h 287"/>
                  <a:gd name="T84" fmla="*/ 236 w 325"/>
                  <a:gd name="T85" fmla="*/ 21 h 287"/>
                  <a:gd name="T86" fmla="*/ 213 w 325"/>
                  <a:gd name="T87" fmla="*/ 13 h 287"/>
                  <a:gd name="T88" fmla="*/ 213 w 325"/>
                  <a:gd name="T89" fmla="*/ 14 h 287"/>
                  <a:gd name="T90" fmla="*/ 224 w 325"/>
                  <a:gd name="T91" fmla="*/ 2 h 287"/>
                  <a:gd name="T92" fmla="*/ 222 w 325"/>
                  <a:gd name="T93" fmla="*/ 2 h 287"/>
                  <a:gd name="T94" fmla="*/ 213 w 325"/>
                  <a:gd name="T95" fmla="*/ 3 h 287"/>
                  <a:gd name="T96" fmla="*/ 209 w 325"/>
                  <a:gd name="T97" fmla="*/ 0 h 287"/>
                  <a:gd name="T98" fmla="*/ 211 w 325"/>
                  <a:gd name="T99" fmla="*/ 3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25" h="287">
                    <a:moveTo>
                      <a:pt x="290" y="287"/>
                    </a:moveTo>
                    <a:lnTo>
                      <a:pt x="289" y="285"/>
                    </a:lnTo>
                    <a:lnTo>
                      <a:pt x="289" y="284"/>
                    </a:lnTo>
                    <a:lnTo>
                      <a:pt x="288" y="285"/>
                    </a:lnTo>
                    <a:lnTo>
                      <a:pt x="289" y="285"/>
                    </a:lnTo>
                    <a:lnTo>
                      <a:pt x="289" y="286"/>
                    </a:lnTo>
                    <a:lnTo>
                      <a:pt x="289" y="287"/>
                    </a:lnTo>
                    <a:lnTo>
                      <a:pt x="290" y="287"/>
                    </a:lnTo>
                    <a:close/>
                    <a:moveTo>
                      <a:pt x="325" y="232"/>
                    </a:moveTo>
                    <a:lnTo>
                      <a:pt x="324" y="231"/>
                    </a:lnTo>
                    <a:lnTo>
                      <a:pt x="323" y="230"/>
                    </a:lnTo>
                    <a:lnTo>
                      <a:pt x="322" y="230"/>
                    </a:lnTo>
                    <a:lnTo>
                      <a:pt x="321" y="229"/>
                    </a:lnTo>
                    <a:lnTo>
                      <a:pt x="321" y="230"/>
                    </a:lnTo>
                    <a:lnTo>
                      <a:pt x="321" y="230"/>
                    </a:lnTo>
                    <a:lnTo>
                      <a:pt x="321" y="230"/>
                    </a:lnTo>
                    <a:lnTo>
                      <a:pt x="323" y="231"/>
                    </a:lnTo>
                    <a:lnTo>
                      <a:pt x="324" y="231"/>
                    </a:lnTo>
                    <a:lnTo>
                      <a:pt x="325" y="232"/>
                    </a:lnTo>
                    <a:lnTo>
                      <a:pt x="325" y="232"/>
                    </a:lnTo>
                    <a:lnTo>
                      <a:pt x="325" y="232"/>
                    </a:lnTo>
                    <a:lnTo>
                      <a:pt x="325" y="232"/>
                    </a:lnTo>
                    <a:close/>
                    <a:moveTo>
                      <a:pt x="233" y="227"/>
                    </a:moveTo>
                    <a:lnTo>
                      <a:pt x="231" y="226"/>
                    </a:lnTo>
                    <a:lnTo>
                      <a:pt x="231" y="227"/>
                    </a:lnTo>
                    <a:lnTo>
                      <a:pt x="233" y="228"/>
                    </a:lnTo>
                    <a:lnTo>
                      <a:pt x="233" y="228"/>
                    </a:lnTo>
                    <a:lnTo>
                      <a:pt x="233" y="227"/>
                    </a:lnTo>
                    <a:lnTo>
                      <a:pt x="233" y="227"/>
                    </a:lnTo>
                    <a:close/>
                    <a:moveTo>
                      <a:pt x="310" y="227"/>
                    </a:moveTo>
                    <a:lnTo>
                      <a:pt x="308" y="225"/>
                    </a:lnTo>
                    <a:lnTo>
                      <a:pt x="307" y="225"/>
                    </a:lnTo>
                    <a:lnTo>
                      <a:pt x="310" y="227"/>
                    </a:lnTo>
                    <a:lnTo>
                      <a:pt x="310" y="227"/>
                    </a:lnTo>
                    <a:close/>
                    <a:moveTo>
                      <a:pt x="229" y="224"/>
                    </a:moveTo>
                    <a:lnTo>
                      <a:pt x="227" y="222"/>
                    </a:lnTo>
                    <a:lnTo>
                      <a:pt x="227" y="221"/>
                    </a:lnTo>
                    <a:lnTo>
                      <a:pt x="226" y="220"/>
                    </a:lnTo>
                    <a:lnTo>
                      <a:pt x="226" y="221"/>
                    </a:lnTo>
                    <a:lnTo>
                      <a:pt x="227" y="222"/>
                    </a:lnTo>
                    <a:lnTo>
                      <a:pt x="228" y="224"/>
                    </a:lnTo>
                    <a:lnTo>
                      <a:pt x="229" y="224"/>
                    </a:lnTo>
                    <a:lnTo>
                      <a:pt x="229" y="224"/>
                    </a:lnTo>
                    <a:close/>
                    <a:moveTo>
                      <a:pt x="227" y="215"/>
                    </a:moveTo>
                    <a:lnTo>
                      <a:pt x="227" y="215"/>
                    </a:lnTo>
                    <a:lnTo>
                      <a:pt x="227" y="215"/>
                    </a:lnTo>
                    <a:lnTo>
                      <a:pt x="227" y="214"/>
                    </a:lnTo>
                    <a:lnTo>
                      <a:pt x="228" y="212"/>
                    </a:lnTo>
                    <a:lnTo>
                      <a:pt x="230" y="211"/>
                    </a:lnTo>
                    <a:lnTo>
                      <a:pt x="230" y="211"/>
                    </a:lnTo>
                    <a:lnTo>
                      <a:pt x="230" y="211"/>
                    </a:lnTo>
                    <a:lnTo>
                      <a:pt x="229" y="211"/>
                    </a:lnTo>
                    <a:lnTo>
                      <a:pt x="228" y="212"/>
                    </a:lnTo>
                    <a:lnTo>
                      <a:pt x="227" y="212"/>
                    </a:lnTo>
                    <a:lnTo>
                      <a:pt x="227" y="213"/>
                    </a:lnTo>
                    <a:lnTo>
                      <a:pt x="227" y="214"/>
                    </a:lnTo>
                    <a:lnTo>
                      <a:pt x="227" y="215"/>
                    </a:lnTo>
                    <a:lnTo>
                      <a:pt x="227" y="216"/>
                    </a:lnTo>
                    <a:lnTo>
                      <a:pt x="228" y="216"/>
                    </a:lnTo>
                    <a:lnTo>
                      <a:pt x="227" y="215"/>
                    </a:lnTo>
                    <a:lnTo>
                      <a:pt x="227" y="215"/>
                    </a:lnTo>
                    <a:close/>
                    <a:moveTo>
                      <a:pt x="51" y="211"/>
                    </a:moveTo>
                    <a:lnTo>
                      <a:pt x="50" y="209"/>
                    </a:lnTo>
                    <a:lnTo>
                      <a:pt x="49" y="207"/>
                    </a:lnTo>
                    <a:lnTo>
                      <a:pt x="46" y="207"/>
                    </a:lnTo>
                    <a:lnTo>
                      <a:pt x="44" y="208"/>
                    </a:lnTo>
                    <a:lnTo>
                      <a:pt x="44" y="209"/>
                    </a:lnTo>
                    <a:lnTo>
                      <a:pt x="44" y="210"/>
                    </a:lnTo>
                    <a:lnTo>
                      <a:pt x="46" y="212"/>
                    </a:lnTo>
                    <a:lnTo>
                      <a:pt x="48" y="212"/>
                    </a:lnTo>
                    <a:lnTo>
                      <a:pt x="51" y="212"/>
                    </a:lnTo>
                    <a:lnTo>
                      <a:pt x="52" y="214"/>
                    </a:lnTo>
                    <a:lnTo>
                      <a:pt x="53" y="215"/>
                    </a:lnTo>
                    <a:lnTo>
                      <a:pt x="55" y="215"/>
                    </a:lnTo>
                    <a:lnTo>
                      <a:pt x="55" y="214"/>
                    </a:lnTo>
                    <a:lnTo>
                      <a:pt x="54" y="212"/>
                    </a:lnTo>
                    <a:lnTo>
                      <a:pt x="51" y="211"/>
                    </a:lnTo>
                    <a:lnTo>
                      <a:pt x="51" y="211"/>
                    </a:lnTo>
                    <a:close/>
                    <a:moveTo>
                      <a:pt x="40" y="208"/>
                    </a:moveTo>
                    <a:lnTo>
                      <a:pt x="41" y="207"/>
                    </a:lnTo>
                    <a:lnTo>
                      <a:pt x="40" y="206"/>
                    </a:lnTo>
                    <a:lnTo>
                      <a:pt x="38" y="206"/>
                    </a:lnTo>
                    <a:lnTo>
                      <a:pt x="38" y="207"/>
                    </a:lnTo>
                    <a:lnTo>
                      <a:pt x="38" y="208"/>
                    </a:lnTo>
                    <a:lnTo>
                      <a:pt x="39" y="208"/>
                    </a:lnTo>
                    <a:lnTo>
                      <a:pt x="40" y="209"/>
                    </a:lnTo>
                    <a:lnTo>
                      <a:pt x="40" y="208"/>
                    </a:lnTo>
                    <a:lnTo>
                      <a:pt x="40" y="208"/>
                    </a:lnTo>
                    <a:close/>
                    <a:moveTo>
                      <a:pt x="3" y="192"/>
                    </a:moveTo>
                    <a:lnTo>
                      <a:pt x="4" y="192"/>
                    </a:lnTo>
                    <a:lnTo>
                      <a:pt x="3" y="190"/>
                    </a:lnTo>
                    <a:lnTo>
                      <a:pt x="2" y="189"/>
                    </a:lnTo>
                    <a:lnTo>
                      <a:pt x="2" y="189"/>
                    </a:lnTo>
                    <a:lnTo>
                      <a:pt x="2" y="192"/>
                    </a:lnTo>
                    <a:lnTo>
                      <a:pt x="3" y="192"/>
                    </a:lnTo>
                    <a:lnTo>
                      <a:pt x="3" y="192"/>
                    </a:lnTo>
                    <a:close/>
                    <a:moveTo>
                      <a:pt x="168" y="186"/>
                    </a:moveTo>
                    <a:lnTo>
                      <a:pt x="167" y="186"/>
                    </a:lnTo>
                    <a:lnTo>
                      <a:pt x="166" y="186"/>
                    </a:lnTo>
                    <a:lnTo>
                      <a:pt x="166" y="186"/>
                    </a:lnTo>
                    <a:lnTo>
                      <a:pt x="168" y="186"/>
                    </a:lnTo>
                    <a:lnTo>
                      <a:pt x="169" y="187"/>
                    </a:lnTo>
                    <a:lnTo>
                      <a:pt x="168" y="186"/>
                    </a:lnTo>
                    <a:lnTo>
                      <a:pt x="168" y="186"/>
                    </a:lnTo>
                    <a:close/>
                    <a:moveTo>
                      <a:pt x="165" y="186"/>
                    </a:moveTo>
                    <a:lnTo>
                      <a:pt x="164" y="186"/>
                    </a:lnTo>
                    <a:lnTo>
                      <a:pt x="163" y="185"/>
                    </a:lnTo>
                    <a:lnTo>
                      <a:pt x="162" y="185"/>
                    </a:lnTo>
                    <a:lnTo>
                      <a:pt x="164" y="186"/>
                    </a:lnTo>
                    <a:lnTo>
                      <a:pt x="165" y="186"/>
                    </a:lnTo>
                    <a:lnTo>
                      <a:pt x="165" y="186"/>
                    </a:lnTo>
                    <a:close/>
                    <a:moveTo>
                      <a:pt x="2" y="186"/>
                    </a:moveTo>
                    <a:lnTo>
                      <a:pt x="2" y="186"/>
                    </a:lnTo>
                    <a:lnTo>
                      <a:pt x="2" y="185"/>
                    </a:lnTo>
                    <a:lnTo>
                      <a:pt x="0" y="184"/>
                    </a:lnTo>
                    <a:lnTo>
                      <a:pt x="1" y="186"/>
                    </a:lnTo>
                    <a:lnTo>
                      <a:pt x="1" y="186"/>
                    </a:lnTo>
                    <a:lnTo>
                      <a:pt x="2" y="187"/>
                    </a:lnTo>
                    <a:lnTo>
                      <a:pt x="2" y="186"/>
                    </a:lnTo>
                    <a:lnTo>
                      <a:pt x="2" y="186"/>
                    </a:lnTo>
                    <a:close/>
                    <a:moveTo>
                      <a:pt x="124" y="179"/>
                    </a:moveTo>
                    <a:lnTo>
                      <a:pt x="123" y="178"/>
                    </a:lnTo>
                    <a:lnTo>
                      <a:pt x="122" y="177"/>
                    </a:lnTo>
                    <a:lnTo>
                      <a:pt x="121" y="175"/>
                    </a:lnTo>
                    <a:lnTo>
                      <a:pt x="120" y="173"/>
                    </a:lnTo>
                    <a:lnTo>
                      <a:pt x="120" y="174"/>
                    </a:lnTo>
                    <a:lnTo>
                      <a:pt x="121" y="175"/>
                    </a:lnTo>
                    <a:lnTo>
                      <a:pt x="121" y="176"/>
                    </a:lnTo>
                    <a:lnTo>
                      <a:pt x="122" y="177"/>
                    </a:lnTo>
                    <a:lnTo>
                      <a:pt x="123" y="178"/>
                    </a:lnTo>
                    <a:lnTo>
                      <a:pt x="124" y="180"/>
                    </a:lnTo>
                    <a:lnTo>
                      <a:pt x="124" y="180"/>
                    </a:lnTo>
                    <a:lnTo>
                      <a:pt x="124" y="179"/>
                    </a:lnTo>
                    <a:lnTo>
                      <a:pt x="124" y="179"/>
                    </a:lnTo>
                    <a:close/>
                    <a:moveTo>
                      <a:pt x="185" y="173"/>
                    </a:moveTo>
                    <a:lnTo>
                      <a:pt x="185" y="171"/>
                    </a:lnTo>
                    <a:lnTo>
                      <a:pt x="185" y="171"/>
                    </a:lnTo>
                    <a:lnTo>
                      <a:pt x="185" y="173"/>
                    </a:lnTo>
                    <a:lnTo>
                      <a:pt x="185" y="173"/>
                    </a:lnTo>
                    <a:lnTo>
                      <a:pt x="185" y="173"/>
                    </a:lnTo>
                    <a:close/>
                    <a:moveTo>
                      <a:pt x="130" y="168"/>
                    </a:moveTo>
                    <a:lnTo>
                      <a:pt x="129" y="166"/>
                    </a:lnTo>
                    <a:lnTo>
                      <a:pt x="129" y="166"/>
                    </a:lnTo>
                    <a:lnTo>
                      <a:pt x="129" y="166"/>
                    </a:lnTo>
                    <a:lnTo>
                      <a:pt x="130" y="168"/>
                    </a:lnTo>
                    <a:lnTo>
                      <a:pt x="130" y="169"/>
                    </a:lnTo>
                    <a:lnTo>
                      <a:pt x="130" y="168"/>
                    </a:lnTo>
                    <a:lnTo>
                      <a:pt x="130" y="168"/>
                    </a:lnTo>
                    <a:close/>
                    <a:moveTo>
                      <a:pt x="246" y="41"/>
                    </a:moveTo>
                    <a:lnTo>
                      <a:pt x="246" y="41"/>
                    </a:lnTo>
                    <a:lnTo>
                      <a:pt x="246" y="40"/>
                    </a:lnTo>
                    <a:lnTo>
                      <a:pt x="246" y="39"/>
                    </a:lnTo>
                    <a:lnTo>
                      <a:pt x="244" y="39"/>
                    </a:lnTo>
                    <a:lnTo>
                      <a:pt x="245" y="42"/>
                    </a:lnTo>
                    <a:lnTo>
                      <a:pt x="246" y="41"/>
                    </a:lnTo>
                    <a:lnTo>
                      <a:pt x="246" y="41"/>
                    </a:lnTo>
                    <a:close/>
                    <a:moveTo>
                      <a:pt x="236" y="28"/>
                    </a:moveTo>
                    <a:lnTo>
                      <a:pt x="235" y="27"/>
                    </a:lnTo>
                    <a:lnTo>
                      <a:pt x="235" y="27"/>
                    </a:lnTo>
                    <a:lnTo>
                      <a:pt x="234" y="27"/>
                    </a:lnTo>
                    <a:lnTo>
                      <a:pt x="234" y="28"/>
                    </a:lnTo>
                    <a:lnTo>
                      <a:pt x="236" y="28"/>
                    </a:lnTo>
                    <a:lnTo>
                      <a:pt x="236" y="28"/>
                    </a:lnTo>
                    <a:close/>
                    <a:moveTo>
                      <a:pt x="236" y="21"/>
                    </a:moveTo>
                    <a:lnTo>
                      <a:pt x="233" y="23"/>
                    </a:lnTo>
                    <a:lnTo>
                      <a:pt x="234" y="25"/>
                    </a:lnTo>
                    <a:lnTo>
                      <a:pt x="235" y="25"/>
                    </a:lnTo>
                    <a:lnTo>
                      <a:pt x="236" y="24"/>
                    </a:lnTo>
                    <a:lnTo>
                      <a:pt x="239" y="24"/>
                    </a:lnTo>
                    <a:lnTo>
                      <a:pt x="241" y="22"/>
                    </a:lnTo>
                    <a:lnTo>
                      <a:pt x="239" y="23"/>
                    </a:lnTo>
                    <a:lnTo>
                      <a:pt x="236" y="21"/>
                    </a:lnTo>
                    <a:lnTo>
                      <a:pt x="236" y="21"/>
                    </a:lnTo>
                    <a:close/>
                    <a:moveTo>
                      <a:pt x="213" y="14"/>
                    </a:moveTo>
                    <a:lnTo>
                      <a:pt x="214" y="13"/>
                    </a:lnTo>
                    <a:lnTo>
                      <a:pt x="213" y="13"/>
                    </a:lnTo>
                    <a:lnTo>
                      <a:pt x="212" y="14"/>
                    </a:lnTo>
                    <a:lnTo>
                      <a:pt x="212" y="14"/>
                    </a:lnTo>
                    <a:lnTo>
                      <a:pt x="213" y="15"/>
                    </a:lnTo>
                    <a:lnTo>
                      <a:pt x="213" y="14"/>
                    </a:lnTo>
                    <a:lnTo>
                      <a:pt x="213" y="14"/>
                    </a:lnTo>
                    <a:close/>
                    <a:moveTo>
                      <a:pt x="223" y="3"/>
                    </a:moveTo>
                    <a:lnTo>
                      <a:pt x="224" y="3"/>
                    </a:lnTo>
                    <a:lnTo>
                      <a:pt x="224" y="2"/>
                    </a:lnTo>
                    <a:lnTo>
                      <a:pt x="224" y="1"/>
                    </a:lnTo>
                    <a:lnTo>
                      <a:pt x="222" y="1"/>
                    </a:lnTo>
                    <a:lnTo>
                      <a:pt x="222" y="1"/>
                    </a:lnTo>
                    <a:lnTo>
                      <a:pt x="222" y="2"/>
                    </a:lnTo>
                    <a:lnTo>
                      <a:pt x="222" y="3"/>
                    </a:lnTo>
                    <a:lnTo>
                      <a:pt x="223" y="3"/>
                    </a:lnTo>
                    <a:lnTo>
                      <a:pt x="223" y="3"/>
                    </a:lnTo>
                    <a:close/>
                    <a:moveTo>
                      <a:pt x="213" y="3"/>
                    </a:moveTo>
                    <a:lnTo>
                      <a:pt x="213" y="1"/>
                    </a:lnTo>
                    <a:lnTo>
                      <a:pt x="213" y="1"/>
                    </a:lnTo>
                    <a:lnTo>
                      <a:pt x="213" y="0"/>
                    </a:lnTo>
                    <a:lnTo>
                      <a:pt x="209" y="0"/>
                    </a:lnTo>
                    <a:lnTo>
                      <a:pt x="209" y="0"/>
                    </a:lnTo>
                    <a:lnTo>
                      <a:pt x="209" y="1"/>
                    </a:lnTo>
                    <a:lnTo>
                      <a:pt x="209" y="3"/>
                    </a:lnTo>
                    <a:lnTo>
                      <a:pt x="211" y="3"/>
                    </a:lnTo>
                    <a:lnTo>
                      <a:pt x="213" y="3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9" name="Freeform 213">
                <a:extLst>
                  <a:ext uri="{FF2B5EF4-FFF2-40B4-BE49-F238E27FC236}">
                    <a16:creationId xmlns:a16="http://schemas.microsoft.com/office/drawing/2014/main" id="{2E84BA1D-EAA3-47DD-BF0A-B8D64D8DC9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91413" y="4960938"/>
                <a:ext cx="6350" cy="11113"/>
              </a:xfrm>
              <a:custGeom>
                <a:avLst/>
                <a:gdLst>
                  <a:gd name="T0" fmla="*/ 3 w 4"/>
                  <a:gd name="T1" fmla="*/ 7 h 7"/>
                  <a:gd name="T2" fmla="*/ 3 w 4"/>
                  <a:gd name="T3" fmla="*/ 6 h 7"/>
                  <a:gd name="T4" fmla="*/ 4 w 4"/>
                  <a:gd name="T5" fmla="*/ 5 h 7"/>
                  <a:gd name="T6" fmla="*/ 4 w 4"/>
                  <a:gd name="T7" fmla="*/ 4 h 7"/>
                  <a:gd name="T8" fmla="*/ 4 w 4"/>
                  <a:gd name="T9" fmla="*/ 2 h 7"/>
                  <a:gd name="T10" fmla="*/ 3 w 4"/>
                  <a:gd name="T11" fmla="*/ 1 h 7"/>
                  <a:gd name="T12" fmla="*/ 2 w 4"/>
                  <a:gd name="T13" fmla="*/ 1 h 7"/>
                  <a:gd name="T14" fmla="*/ 1 w 4"/>
                  <a:gd name="T15" fmla="*/ 0 h 7"/>
                  <a:gd name="T16" fmla="*/ 0 w 4"/>
                  <a:gd name="T17" fmla="*/ 1 h 7"/>
                  <a:gd name="T18" fmla="*/ 1 w 4"/>
                  <a:gd name="T19" fmla="*/ 3 h 7"/>
                  <a:gd name="T20" fmla="*/ 1 w 4"/>
                  <a:gd name="T21" fmla="*/ 4 h 7"/>
                  <a:gd name="T22" fmla="*/ 0 w 4"/>
                  <a:gd name="T23" fmla="*/ 6 h 7"/>
                  <a:gd name="T24" fmla="*/ 1 w 4"/>
                  <a:gd name="T25" fmla="*/ 6 h 7"/>
                  <a:gd name="T26" fmla="*/ 2 w 4"/>
                  <a:gd name="T27" fmla="*/ 7 h 7"/>
                  <a:gd name="T28" fmla="*/ 3 w 4"/>
                  <a:gd name="T29" fmla="*/ 7 h 7"/>
                  <a:gd name="T30" fmla="*/ 3 w 4"/>
                  <a:gd name="T31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" h="7">
                    <a:moveTo>
                      <a:pt x="3" y="7"/>
                    </a:moveTo>
                    <a:lnTo>
                      <a:pt x="3" y="6"/>
                    </a:lnTo>
                    <a:lnTo>
                      <a:pt x="4" y="5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3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1" y="6"/>
                    </a:lnTo>
                    <a:lnTo>
                      <a:pt x="2" y="7"/>
                    </a:lnTo>
                    <a:lnTo>
                      <a:pt x="3" y="7"/>
                    </a:lnTo>
                    <a:lnTo>
                      <a:pt x="3" y="7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0" name="Freeform 169">
                <a:extLst>
                  <a:ext uri="{FF2B5EF4-FFF2-40B4-BE49-F238E27FC236}">
                    <a16:creationId xmlns:a16="http://schemas.microsoft.com/office/drawing/2014/main" id="{49A4F62C-1EA9-48B8-8393-1A6D4430F9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6237" y="4265613"/>
                <a:ext cx="95250" cy="139700"/>
              </a:xfrm>
              <a:custGeom>
                <a:avLst/>
                <a:gdLst>
                  <a:gd name="T0" fmla="*/ 41 w 60"/>
                  <a:gd name="T1" fmla="*/ 78 h 88"/>
                  <a:gd name="T2" fmla="*/ 47 w 60"/>
                  <a:gd name="T3" fmla="*/ 60 h 88"/>
                  <a:gd name="T4" fmla="*/ 60 w 60"/>
                  <a:gd name="T5" fmla="*/ 38 h 88"/>
                  <a:gd name="T6" fmla="*/ 57 w 60"/>
                  <a:gd name="T7" fmla="*/ 28 h 88"/>
                  <a:gd name="T8" fmla="*/ 35 w 60"/>
                  <a:gd name="T9" fmla="*/ 8 h 88"/>
                  <a:gd name="T10" fmla="*/ 20 w 60"/>
                  <a:gd name="T11" fmla="*/ 3 h 88"/>
                  <a:gd name="T12" fmla="*/ 13 w 60"/>
                  <a:gd name="T13" fmla="*/ 0 h 88"/>
                  <a:gd name="T14" fmla="*/ 2 w 60"/>
                  <a:gd name="T15" fmla="*/ 21 h 88"/>
                  <a:gd name="T16" fmla="*/ 3 w 60"/>
                  <a:gd name="T17" fmla="*/ 37 h 88"/>
                  <a:gd name="T18" fmla="*/ 11 w 60"/>
                  <a:gd name="T19" fmla="*/ 50 h 88"/>
                  <a:gd name="T20" fmla="*/ 7 w 60"/>
                  <a:gd name="T21" fmla="*/ 61 h 88"/>
                  <a:gd name="T22" fmla="*/ 4 w 60"/>
                  <a:gd name="T23" fmla="*/ 72 h 88"/>
                  <a:gd name="T24" fmla="*/ 0 w 60"/>
                  <a:gd name="T25" fmla="*/ 82 h 88"/>
                  <a:gd name="T26" fmla="*/ 8 w 60"/>
                  <a:gd name="T27" fmla="*/ 87 h 88"/>
                  <a:gd name="T28" fmla="*/ 15 w 60"/>
                  <a:gd name="T29" fmla="*/ 80 h 88"/>
                  <a:gd name="T30" fmla="*/ 19 w 60"/>
                  <a:gd name="T31" fmla="*/ 81 h 88"/>
                  <a:gd name="T32" fmla="*/ 22 w 60"/>
                  <a:gd name="T33" fmla="*/ 88 h 88"/>
                  <a:gd name="T34" fmla="*/ 32 w 60"/>
                  <a:gd name="T35" fmla="*/ 86 h 88"/>
                  <a:gd name="T36" fmla="*/ 41 w 60"/>
                  <a:gd name="T37" fmla="*/ 7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0" h="88">
                    <a:moveTo>
                      <a:pt x="41" y="78"/>
                    </a:moveTo>
                    <a:lnTo>
                      <a:pt x="47" y="60"/>
                    </a:lnTo>
                    <a:lnTo>
                      <a:pt x="60" y="38"/>
                    </a:lnTo>
                    <a:lnTo>
                      <a:pt x="57" y="28"/>
                    </a:lnTo>
                    <a:lnTo>
                      <a:pt x="35" y="8"/>
                    </a:lnTo>
                    <a:lnTo>
                      <a:pt x="20" y="3"/>
                    </a:lnTo>
                    <a:lnTo>
                      <a:pt x="13" y="0"/>
                    </a:lnTo>
                    <a:lnTo>
                      <a:pt x="2" y="21"/>
                    </a:lnTo>
                    <a:lnTo>
                      <a:pt x="3" y="37"/>
                    </a:lnTo>
                    <a:lnTo>
                      <a:pt x="11" y="50"/>
                    </a:lnTo>
                    <a:lnTo>
                      <a:pt x="7" y="61"/>
                    </a:lnTo>
                    <a:lnTo>
                      <a:pt x="4" y="72"/>
                    </a:lnTo>
                    <a:lnTo>
                      <a:pt x="0" y="82"/>
                    </a:lnTo>
                    <a:lnTo>
                      <a:pt x="8" y="87"/>
                    </a:lnTo>
                    <a:lnTo>
                      <a:pt x="15" y="80"/>
                    </a:lnTo>
                    <a:lnTo>
                      <a:pt x="19" y="81"/>
                    </a:lnTo>
                    <a:lnTo>
                      <a:pt x="22" y="88"/>
                    </a:lnTo>
                    <a:lnTo>
                      <a:pt x="32" y="86"/>
                    </a:lnTo>
                    <a:lnTo>
                      <a:pt x="41" y="78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1" name="Freeform 213">
                <a:extLst>
                  <a:ext uri="{FF2B5EF4-FFF2-40B4-BE49-F238E27FC236}">
                    <a16:creationId xmlns:a16="http://schemas.microsoft.com/office/drawing/2014/main" id="{785A99F2-ABA0-4C3E-8B33-95A3201FC40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65812" y="2562226"/>
                <a:ext cx="425450" cy="357188"/>
              </a:xfrm>
              <a:custGeom>
                <a:avLst/>
                <a:gdLst>
                  <a:gd name="T0" fmla="*/ 268 w 268"/>
                  <a:gd name="T1" fmla="*/ 208 h 225"/>
                  <a:gd name="T2" fmla="*/ 264 w 268"/>
                  <a:gd name="T3" fmla="*/ 188 h 225"/>
                  <a:gd name="T4" fmla="*/ 253 w 268"/>
                  <a:gd name="T5" fmla="*/ 197 h 225"/>
                  <a:gd name="T6" fmla="*/ 249 w 268"/>
                  <a:gd name="T7" fmla="*/ 206 h 225"/>
                  <a:gd name="T8" fmla="*/ 253 w 268"/>
                  <a:gd name="T9" fmla="*/ 222 h 225"/>
                  <a:gd name="T10" fmla="*/ 263 w 268"/>
                  <a:gd name="T11" fmla="*/ 225 h 225"/>
                  <a:gd name="T12" fmla="*/ 268 w 268"/>
                  <a:gd name="T13" fmla="*/ 208 h 225"/>
                  <a:gd name="T14" fmla="*/ 151 w 268"/>
                  <a:gd name="T15" fmla="*/ 18 h 225"/>
                  <a:gd name="T16" fmla="*/ 141 w 268"/>
                  <a:gd name="T17" fmla="*/ 9 h 225"/>
                  <a:gd name="T18" fmla="*/ 133 w 268"/>
                  <a:gd name="T19" fmla="*/ 9 h 225"/>
                  <a:gd name="T20" fmla="*/ 131 w 268"/>
                  <a:gd name="T21" fmla="*/ 0 h 225"/>
                  <a:gd name="T22" fmla="*/ 114 w 268"/>
                  <a:gd name="T23" fmla="*/ 5 h 225"/>
                  <a:gd name="T24" fmla="*/ 110 w 268"/>
                  <a:gd name="T25" fmla="*/ 24 h 225"/>
                  <a:gd name="T26" fmla="*/ 68 w 268"/>
                  <a:gd name="T27" fmla="*/ 41 h 225"/>
                  <a:gd name="T28" fmla="*/ 50 w 268"/>
                  <a:gd name="T29" fmla="*/ 32 h 225"/>
                  <a:gd name="T30" fmla="*/ 56 w 268"/>
                  <a:gd name="T31" fmla="*/ 58 h 225"/>
                  <a:gd name="T32" fmla="*/ 25 w 268"/>
                  <a:gd name="T33" fmla="*/ 52 h 225"/>
                  <a:gd name="T34" fmla="*/ 0 w 268"/>
                  <a:gd name="T35" fmla="*/ 57 h 225"/>
                  <a:gd name="T36" fmla="*/ 2 w 268"/>
                  <a:gd name="T37" fmla="*/ 74 h 225"/>
                  <a:gd name="T38" fmla="*/ 30 w 268"/>
                  <a:gd name="T39" fmla="*/ 83 h 225"/>
                  <a:gd name="T40" fmla="*/ 43 w 268"/>
                  <a:gd name="T41" fmla="*/ 95 h 225"/>
                  <a:gd name="T42" fmla="*/ 63 w 268"/>
                  <a:gd name="T43" fmla="*/ 119 h 225"/>
                  <a:gd name="T44" fmla="*/ 59 w 268"/>
                  <a:gd name="T45" fmla="*/ 165 h 225"/>
                  <a:gd name="T46" fmla="*/ 49 w 268"/>
                  <a:gd name="T47" fmla="*/ 179 h 225"/>
                  <a:gd name="T48" fmla="*/ 56 w 268"/>
                  <a:gd name="T49" fmla="*/ 188 h 225"/>
                  <a:gd name="T50" fmla="*/ 92 w 268"/>
                  <a:gd name="T51" fmla="*/ 198 h 225"/>
                  <a:gd name="T52" fmla="*/ 99 w 268"/>
                  <a:gd name="T53" fmla="*/ 194 h 225"/>
                  <a:gd name="T54" fmla="*/ 120 w 268"/>
                  <a:gd name="T55" fmla="*/ 204 h 225"/>
                  <a:gd name="T56" fmla="*/ 142 w 268"/>
                  <a:gd name="T57" fmla="*/ 201 h 225"/>
                  <a:gd name="T58" fmla="*/ 144 w 268"/>
                  <a:gd name="T59" fmla="*/ 187 h 225"/>
                  <a:gd name="T60" fmla="*/ 172 w 268"/>
                  <a:gd name="T61" fmla="*/ 180 h 225"/>
                  <a:gd name="T62" fmla="*/ 210 w 268"/>
                  <a:gd name="T63" fmla="*/ 185 h 225"/>
                  <a:gd name="T64" fmla="*/ 226 w 268"/>
                  <a:gd name="T65" fmla="*/ 173 h 225"/>
                  <a:gd name="T66" fmla="*/ 228 w 268"/>
                  <a:gd name="T67" fmla="*/ 163 h 225"/>
                  <a:gd name="T68" fmla="*/ 218 w 268"/>
                  <a:gd name="T69" fmla="*/ 160 h 225"/>
                  <a:gd name="T70" fmla="*/ 212 w 268"/>
                  <a:gd name="T71" fmla="*/ 141 h 225"/>
                  <a:gd name="T72" fmla="*/ 219 w 268"/>
                  <a:gd name="T73" fmla="*/ 135 h 225"/>
                  <a:gd name="T74" fmla="*/ 212 w 268"/>
                  <a:gd name="T75" fmla="*/ 126 h 225"/>
                  <a:gd name="T76" fmla="*/ 213 w 268"/>
                  <a:gd name="T77" fmla="*/ 120 h 225"/>
                  <a:gd name="T78" fmla="*/ 207 w 268"/>
                  <a:gd name="T79" fmla="*/ 109 h 225"/>
                  <a:gd name="T80" fmla="*/ 197 w 268"/>
                  <a:gd name="T81" fmla="*/ 113 h 225"/>
                  <a:gd name="T82" fmla="*/ 197 w 268"/>
                  <a:gd name="T83" fmla="*/ 102 h 225"/>
                  <a:gd name="T84" fmla="*/ 211 w 268"/>
                  <a:gd name="T85" fmla="*/ 89 h 225"/>
                  <a:gd name="T86" fmla="*/ 210 w 268"/>
                  <a:gd name="T87" fmla="*/ 83 h 225"/>
                  <a:gd name="T88" fmla="*/ 219 w 268"/>
                  <a:gd name="T89" fmla="*/ 85 h 225"/>
                  <a:gd name="T90" fmla="*/ 224 w 268"/>
                  <a:gd name="T91" fmla="*/ 81 h 225"/>
                  <a:gd name="T92" fmla="*/ 225 w 268"/>
                  <a:gd name="T93" fmla="*/ 65 h 225"/>
                  <a:gd name="T94" fmla="*/ 234 w 268"/>
                  <a:gd name="T95" fmla="*/ 50 h 225"/>
                  <a:gd name="T96" fmla="*/ 208 w 268"/>
                  <a:gd name="T97" fmla="*/ 45 h 225"/>
                  <a:gd name="T98" fmla="*/ 198 w 268"/>
                  <a:gd name="T99" fmla="*/ 39 h 225"/>
                  <a:gd name="T100" fmla="*/ 193 w 268"/>
                  <a:gd name="T101" fmla="*/ 39 h 225"/>
                  <a:gd name="T102" fmla="*/ 189 w 268"/>
                  <a:gd name="T103" fmla="*/ 38 h 225"/>
                  <a:gd name="T104" fmla="*/ 172 w 268"/>
                  <a:gd name="T105" fmla="*/ 27 h 225"/>
                  <a:gd name="T106" fmla="*/ 163 w 268"/>
                  <a:gd name="T107" fmla="*/ 28 h 225"/>
                  <a:gd name="T108" fmla="*/ 151 w 268"/>
                  <a:gd name="T109" fmla="*/ 18 h 225"/>
                  <a:gd name="T110" fmla="*/ 151 w 268"/>
                  <a:gd name="T111" fmla="*/ 18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68" h="225">
                    <a:moveTo>
                      <a:pt x="268" y="208"/>
                    </a:moveTo>
                    <a:lnTo>
                      <a:pt x="264" y="188"/>
                    </a:lnTo>
                    <a:lnTo>
                      <a:pt x="253" y="197"/>
                    </a:lnTo>
                    <a:lnTo>
                      <a:pt x="249" y="206"/>
                    </a:lnTo>
                    <a:lnTo>
                      <a:pt x="253" y="222"/>
                    </a:lnTo>
                    <a:lnTo>
                      <a:pt x="263" y="225"/>
                    </a:lnTo>
                    <a:lnTo>
                      <a:pt x="268" y="208"/>
                    </a:lnTo>
                    <a:close/>
                    <a:moveTo>
                      <a:pt x="151" y="18"/>
                    </a:moveTo>
                    <a:lnTo>
                      <a:pt x="141" y="9"/>
                    </a:lnTo>
                    <a:lnTo>
                      <a:pt x="133" y="9"/>
                    </a:lnTo>
                    <a:lnTo>
                      <a:pt x="131" y="0"/>
                    </a:lnTo>
                    <a:lnTo>
                      <a:pt x="114" y="5"/>
                    </a:lnTo>
                    <a:lnTo>
                      <a:pt x="110" y="24"/>
                    </a:lnTo>
                    <a:lnTo>
                      <a:pt x="68" y="41"/>
                    </a:lnTo>
                    <a:lnTo>
                      <a:pt x="50" y="32"/>
                    </a:lnTo>
                    <a:lnTo>
                      <a:pt x="56" y="58"/>
                    </a:lnTo>
                    <a:lnTo>
                      <a:pt x="25" y="52"/>
                    </a:lnTo>
                    <a:lnTo>
                      <a:pt x="0" y="57"/>
                    </a:lnTo>
                    <a:lnTo>
                      <a:pt x="2" y="74"/>
                    </a:lnTo>
                    <a:lnTo>
                      <a:pt x="30" y="83"/>
                    </a:lnTo>
                    <a:lnTo>
                      <a:pt x="43" y="95"/>
                    </a:lnTo>
                    <a:lnTo>
                      <a:pt x="63" y="119"/>
                    </a:lnTo>
                    <a:lnTo>
                      <a:pt x="59" y="165"/>
                    </a:lnTo>
                    <a:lnTo>
                      <a:pt x="49" y="179"/>
                    </a:lnTo>
                    <a:lnTo>
                      <a:pt x="56" y="188"/>
                    </a:lnTo>
                    <a:lnTo>
                      <a:pt x="92" y="198"/>
                    </a:lnTo>
                    <a:lnTo>
                      <a:pt x="99" y="194"/>
                    </a:lnTo>
                    <a:lnTo>
                      <a:pt x="120" y="204"/>
                    </a:lnTo>
                    <a:lnTo>
                      <a:pt x="142" y="201"/>
                    </a:lnTo>
                    <a:lnTo>
                      <a:pt x="144" y="187"/>
                    </a:lnTo>
                    <a:lnTo>
                      <a:pt x="172" y="180"/>
                    </a:lnTo>
                    <a:lnTo>
                      <a:pt x="210" y="185"/>
                    </a:lnTo>
                    <a:lnTo>
                      <a:pt x="226" y="173"/>
                    </a:lnTo>
                    <a:lnTo>
                      <a:pt x="228" y="163"/>
                    </a:lnTo>
                    <a:lnTo>
                      <a:pt x="218" y="160"/>
                    </a:lnTo>
                    <a:lnTo>
                      <a:pt x="212" y="141"/>
                    </a:lnTo>
                    <a:lnTo>
                      <a:pt x="219" y="135"/>
                    </a:lnTo>
                    <a:lnTo>
                      <a:pt x="212" y="126"/>
                    </a:lnTo>
                    <a:lnTo>
                      <a:pt x="213" y="120"/>
                    </a:lnTo>
                    <a:lnTo>
                      <a:pt x="207" y="109"/>
                    </a:lnTo>
                    <a:lnTo>
                      <a:pt x="197" y="113"/>
                    </a:lnTo>
                    <a:lnTo>
                      <a:pt x="197" y="102"/>
                    </a:lnTo>
                    <a:lnTo>
                      <a:pt x="211" y="89"/>
                    </a:lnTo>
                    <a:lnTo>
                      <a:pt x="210" y="83"/>
                    </a:lnTo>
                    <a:lnTo>
                      <a:pt x="219" y="85"/>
                    </a:lnTo>
                    <a:lnTo>
                      <a:pt x="224" y="81"/>
                    </a:lnTo>
                    <a:lnTo>
                      <a:pt x="225" y="65"/>
                    </a:lnTo>
                    <a:lnTo>
                      <a:pt x="234" y="50"/>
                    </a:lnTo>
                    <a:lnTo>
                      <a:pt x="208" y="45"/>
                    </a:lnTo>
                    <a:lnTo>
                      <a:pt x="198" y="39"/>
                    </a:lnTo>
                    <a:lnTo>
                      <a:pt x="193" y="39"/>
                    </a:lnTo>
                    <a:lnTo>
                      <a:pt x="189" y="38"/>
                    </a:lnTo>
                    <a:lnTo>
                      <a:pt x="172" y="27"/>
                    </a:lnTo>
                    <a:lnTo>
                      <a:pt x="163" y="28"/>
                    </a:lnTo>
                    <a:lnTo>
                      <a:pt x="151" y="18"/>
                    </a:lnTo>
                    <a:lnTo>
                      <a:pt x="151" y="18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2" name="Freeform 212">
                <a:extLst>
                  <a:ext uri="{FF2B5EF4-FFF2-40B4-BE49-F238E27FC236}">
                    <a16:creationId xmlns:a16="http://schemas.microsoft.com/office/drawing/2014/main" id="{44B38150-1DB0-4AA6-9EBD-4B3B5AE42D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05738" y="5270501"/>
                <a:ext cx="19050" cy="17463"/>
              </a:xfrm>
              <a:custGeom>
                <a:avLst/>
                <a:gdLst>
                  <a:gd name="T0" fmla="*/ 11 w 12"/>
                  <a:gd name="T1" fmla="*/ 11 h 11"/>
                  <a:gd name="T2" fmla="*/ 12 w 12"/>
                  <a:gd name="T3" fmla="*/ 9 h 11"/>
                  <a:gd name="T4" fmla="*/ 12 w 12"/>
                  <a:gd name="T5" fmla="*/ 7 h 11"/>
                  <a:gd name="T6" fmla="*/ 11 w 12"/>
                  <a:gd name="T7" fmla="*/ 4 h 11"/>
                  <a:gd name="T8" fmla="*/ 9 w 12"/>
                  <a:gd name="T9" fmla="*/ 1 h 11"/>
                  <a:gd name="T10" fmla="*/ 7 w 12"/>
                  <a:gd name="T11" fmla="*/ 0 h 11"/>
                  <a:gd name="T12" fmla="*/ 4 w 12"/>
                  <a:gd name="T13" fmla="*/ 0 h 11"/>
                  <a:gd name="T14" fmla="*/ 2 w 12"/>
                  <a:gd name="T15" fmla="*/ 1 h 11"/>
                  <a:gd name="T16" fmla="*/ 1 w 12"/>
                  <a:gd name="T17" fmla="*/ 3 h 11"/>
                  <a:gd name="T18" fmla="*/ 0 w 12"/>
                  <a:gd name="T19" fmla="*/ 4 h 11"/>
                  <a:gd name="T20" fmla="*/ 2 w 12"/>
                  <a:gd name="T21" fmla="*/ 8 h 11"/>
                  <a:gd name="T22" fmla="*/ 2 w 12"/>
                  <a:gd name="T23" fmla="*/ 9 h 11"/>
                  <a:gd name="T24" fmla="*/ 6 w 12"/>
                  <a:gd name="T25" fmla="*/ 11 h 11"/>
                  <a:gd name="T26" fmla="*/ 8 w 12"/>
                  <a:gd name="T27" fmla="*/ 11 h 11"/>
                  <a:gd name="T28" fmla="*/ 11 w 12"/>
                  <a:gd name="T29" fmla="*/ 11 h 11"/>
                  <a:gd name="T30" fmla="*/ 11 w 12"/>
                  <a:gd name="T31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" h="11">
                    <a:moveTo>
                      <a:pt x="11" y="11"/>
                    </a:moveTo>
                    <a:lnTo>
                      <a:pt x="12" y="9"/>
                    </a:lnTo>
                    <a:lnTo>
                      <a:pt x="12" y="7"/>
                    </a:lnTo>
                    <a:lnTo>
                      <a:pt x="11" y="4"/>
                    </a:lnTo>
                    <a:lnTo>
                      <a:pt x="9" y="1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2" y="1"/>
                    </a:lnTo>
                    <a:lnTo>
                      <a:pt x="1" y="3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9"/>
                    </a:lnTo>
                    <a:lnTo>
                      <a:pt x="6" y="11"/>
                    </a:lnTo>
                    <a:lnTo>
                      <a:pt x="8" y="11"/>
                    </a:lnTo>
                    <a:lnTo>
                      <a:pt x="11" y="11"/>
                    </a:lnTo>
                    <a:lnTo>
                      <a:pt x="11" y="11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3" name="Freeform 214">
                <a:extLst>
                  <a:ext uri="{FF2B5EF4-FFF2-40B4-BE49-F238E27FC236}">
                    <a16:creationId xmlns:a16="http://schemas.microsoft.com/office/drawing/2014/main" id="{04E62F4F-C8CC-4331-85A2-F9A151EA11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450" y="3921126"/>
                <a:ext cx="11112" cy="19050"/>
              </a:xfrm>
              <a:custGeom>
                <a:avLst/>
                <a:gdLst>
                  <a:gd name="T0" fmla="*/ 7 w 7"/>
                  <a:gd name="T1" fmla="*/ 10 h 12"/>
                  <a:gd name="T2" fmla="*/ 6 w 7"/>
                  <a:gd name="T3" fmla="*/ 7 h 12"/>
                  <a:gd name="T4" fmla="*/ 6 w 7"/>
                  <a:gd name="T5" fmla="*/ 6 h 12"/>
                  <a:gd name="T6" fmla="*/ 5 w 7"/>
                  <a:gd name="T7" fmla="*/ 5 h 12"/>
                  <a:gd name="T8" fmla="*/ 5 w 7"/>
                  <a:gd name="T9" fmla="*/ 4 h 12"/>
                  <a:gd name="T10" fmla="*/ 5 w 7"/>
                  <a:gd name="T11" fmla="*/ 3 h 12"/>
                  <a:gd name="T12" fmla="*/ 5 w 7"/>
                  <a:gd name="T13" fmla="*/ 3 h 12"/>
                  <a:gd name="T14" fmla="*/ 4 w 7"/>
                  <a:gd name="T15" fmla="*/ 1 h 12"/>
                  <a:gd name="T16" fmla="*/ 2 w 7"/>
                  <a:gd name="T17" fmla="*/ 0 h 12"/>
                  <a:gd name="T18" fmla="*/ 1 w 7"/>
                  <a:gd name="T19" fmla="*/ 0 h 12"/>
                  <a:gd name="T20" fmla="*/ 0 w 7"/>
                  <a:gd name="T21" fmla="*/ 1 h 12"/>
                  <a:gd name="T22" fmla="*/ 0 w 7"/>
                  <a:gd name="T23" fmla="*/ 2 h 12"/>
                  <a:gd name="T24" fmla="*/ 1 w 7"/>
                  <a:gd name="T25" fmla="*/ 6 h 12"/>
                  <a:gd name="T26" fmla="*/ 2 w 7"/>
                  <a:gd name="T27" fmla="*/ 6 h 12"/>
                  <a:gd name="T28" fmla="*/ 4 w 7"/>
                  <a:gd name="T29" fmla="*/ 7 h 12"/>
                  <a:gd name="T30" fmla="*/ 2 w 7"/>
                  <a:gd name="T31" fmla="*/ 9 h 12"/>
                  <a:gd name="T32" fmla="*/ 2 w 7"/>
                  <a:gd name="T33" fmla="*/ 9 h 12"/>
                  <a:gd name="T34" fmla="*/ 3 w 7"/>
                  <a:gd name="T35" fmla="*/ 10 h 12"/>
                  <a:gd name="T36" fmla="*/ 5 w 7"/>
                  <a:gd name="T37" fmla="*/ 10 h 12"/>
                  <a:gd name="T38" fmla="*/ 6 w 7"/>
                  <a:gd name="T39" fmla="*/ 12 h 12"/>
                  <a:gd name="T40" fmla="*/ 7 w 7"/>
                  <a:gd name="T41" fmla="*/ 11 h 12"/>
                  <a:gd name="T42" fmla="*/ 7 w 7"/>
                  <a:gd name="T43" fmla="*/ 10 h 12"/>
                  <a:gd name="T44" fmla="*/ 7 w 7"/>
                  <a:gd name="T45" fmla="*/ 1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" h="12">
                    <a:moveTo>
                      <a:pt x="7" y="10"/>
                    </a:moveTo>
                    <a:lnTo>
                      <a:pt x="6" y="7"/>
                    </a:lnTo>
                    <a:lnTo>
                      <a:pt x="6" y="6"/>
                    </a:lnTo>
                    <a:lnTo>
                      <a:pt x="5" y="5"/>
                    </a:lnTo>
                    <a:lnTo>
                      <a:pt x="5" y="4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4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1" y="6"/>
                    </a:lnTo>
                    <a:lnTo>
                      <a:pt x="2" y="6"/>
                    </a:lnTo>
                    <a:lnTo>
                      <a:pt x="4" y="7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3" y="10"/>
                    </a:lnTo>
                    <a:lnTo>
                      <a:pt x="5" y="10"/>
                    </a:lnTo>
                    <a:lnTo>
                      <a:pt x="6" y="12"/>
                    </a:lnTo>
                    <a:lnTo>
                      <a:pt x="7" y="11"/>
                    </a:lnTo>
                    <a:lnTo>
                      <a:pt x="7" y="10"/>
                    </a:lnTo>
                    <a:lnTo>
                      <a:pt x="7" y="1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4" name="Freeform 215">
                <a:extLst>
                  <a:ext uri="{FF2B5EF4-FFF2-40B4-BE49-F238E27FC236}">
                    <a16:creationId xmlns:a16="http://schemas.microsoft.com/office/drawing/2014/main" id="{1D57077F-5627-4B1F-82E0-2437B66F57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67163" y="3859213"/>
                <a:ext cx="20637" cy="23813"/>
              </a:xfrm>
              <a:custGeom>
                <a:avLst/>
                <a:gdLst>
                  <a:gd name="T0" fmla="*/ 11 w 13"/>
                  <a:gd name="T1" fmla="*/ 15 h 15"/>
                  <a:gd name="T2" fmla="*/ 11 w 13"/>
                  <a:gd name="T3" fmla="*/ 15 h 15"/>
                  <a:gd name="T4" fmla="*/ 11 w 13"/>
                  <a:gd name="T5" fmla="*/ 13 h 15"/>
                  <a:gd name="T6" fmla="*/ 11 w 13"/>
                  <a:gd name="T7" fmla="*/ 12 h 15"/>
                  <a:gd name="T8" fmla="*/ 10 w 13"/>
                  <a:gd name="T9" fmla="*/ 13 h 15"/>
                  <a:gd name="T10" fmla="*/ 9 w 13"/>
                  <a:gd name="T11" fmla="*/ 14 h 15"/>
                  <a:gd name="T12" fmla="*/ 9 w 13"/>
                  <a:gd name="T13" fmla="*/ 15 h 15"/>
                  <a:gd name="T14" fmla="*/ 9 w 13"/>
                  <a:gd name="T15" fmla="*/ 15 h 15"/>
                  <a:gd name="T16" fmla="*/ 11 w 13"/>
                  <a:gd name="T17" fmla="*/ 15 h 15"/>
                  <a:gd name="T18" fmla="*/ 11 w 13"/>
                  <a:gd name="T19" fmla="*/ 15 h 15"/>
                  <a:gd name="T20" fmla="*/ 3 w 13"/>
                  <a:gd name="T21" fmla="*/ 12 h 15"/>
                  <a:gd name="T22" fmla="*/ 4 w 13"/>
                  <a:gd name="T23" fmla="*/ 11 h 15"/>
                  <a:gd name="T24" fmla="*/ 4 w 13"/>
                  <a:gd name="T25" fmla="*/ 8 h 15"/>
                  <a:gd name="T26" fmla="*/ 4 w 13"/>
                  <a:gd name="T27" fmla="*/ 6 h 15"/>
                  <a:gd name="T28" fmla="*/ 3 w 13"/>
                  <a:gd name="T29" fmla="*/ 6 h 15"/>
                  <a:gd name="T30" fmla="*/ 3 w 13"/>
                  <a:gd name="T31" fmla="*/ 5 h 15"/>
                  <a:gd name="T32" fmla="*/ 0 w 13"/>
                  <a:gd name="T33" fmla="*/ 4 h 15"/>
                  <a:gd name="T34" fmla="*/ 0 w 13"/>
                  <a:gd name="T35" fmla="*/ 5 h 15"/>
                  <a:gd name="T36" fmla="*/ 0 w 13"/>
                  <a:gd name="T37" fmla="*/ 6 h 15"/>
                  <a:gd name="T38" fmla="*/ 0 w 13"/>
                  <a:gd name="T39" fmla="*/ 11 h 15"/>
                  <a:gd name="T40" fmla="*/ 0 w 13"/>
                  <a:gd name="T41" fmla="*/ 13 h 15"/>
                  <a:gd name="T42" fmla="*/ 1 w 13"/>
                  <a:gd name="T43" fmla="*/ 13 h 15"/>
                  <a:gd name="T44" fmla="*/ 3 w 13"/>
                  <a:gd name="T45" fmla="*/ 12 h 15"/>
                  <a:gd name="T46" fmla="*/ 3 w 13"/>
                  <a:gd name="T47" fmla="*/ 12 h 15"/>
                  <a:gd name="T48" fmla="*/ 9 w 13"/>
                  <a:gd name="T49" fmla="*/ 8 h 15"/>
                  <a:gd name="T50" fmla="*/ 13 w 13"/>
                  <a:gd name="T51" fmla="*/ 7 h 15"/>
                  <a:gd name="T52" fmla="*/ 9 w 13"/>
                  <a:gd name="T53" fmla="*/ 4 h 15"/>
                  <a:gd name="T54" fmla="*/ 8 w 13"/>
                  <a:gd name="T55" fmla="*/ 3 h 15"/>
                  <a:gd name="T56" fmla="*/ 8 w 13"/>
                  <a:gd name="T57" fmla="*/ 2 h 15"/>
                  <a:gd name="T58" fmla="*/ 7 w 13"/>
                  <a:gd name="T59" fmla="*/ 0 h 15"/>
                  <a:gd name="T60" fmla="*/ 6 w 13"/>
                  <a:gd name="T61" fmla="*/ 1 h 15"/>
                  <a:gd name="T62" fmla="*/ 5 w 13"/>
                  <a:gd name="T63" fmla="*/ 2 h 15"/>
                  <a:gd name="T64" fmla="*/ 6 w 13"/>
                  <a:gd name="T65" fmla="*/ 4 h 15"/>
                  <a:gd name="T66" fmla="*/ 5 w 13"/>
                  <a:gd name="T67" fmla="*/ 6 h 15"/>
                  <a:gd name="T68" fmla="*/ 5 w 13"/>
                  <a:gd name="T69" fmla="*/ 8 h 15"/>
                  <a:gd name="T70" fmla="*/ 7 w 13"/>
                  <a:gd name="T71" fmla="*/ 8 h 15"/>
                  <a:gd name="T72" fmla="*/ 9 w 13"/>
                  <a:gd name="T73" fmla="*/ 8 h 15"/>
                  <a:gd name="T74" fmla="*/ 9 w 13"/>
                  <a:gd name="T75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3" h="15">
                    <a:moveTo>
                      <a:pt x="11" y="15"/>
                    </a:moveTo>
                    <a:lnTo>
                      <a:pt x="11" y="15"/>
                    </a:lnTo>
                    <a:lnTo>
                      <a:pt x="11" y="13"/>
                    </a:lnTo>
                    <a:lnTo>
                      <a:pt x="11" y="12"/>
                    </a:lnTo>
                    <a:lnTo>
                      <a:pt x="10" y="13"/>
                    </a:lnTo>
                    <a:lnTo>
                      <a:pt x="9" y="14"/>
                    </a:lnTo>
                    <a:lnTo>
                      <a:pt x="9" y="15"/>
                    </a:lnTo>
                    <a:lnTo>
                      <a:pt x="9" y="15"/>
                    </a:lnTo>
                    <a:lnTo>
                      <a:pt x="11" y="15"/>
                    </a:lnTo>
                    <a:lnTo>
                      <a:pt x="11" y="15"/>
                    </a:lnTo>
                    <a:close/>
                    <a:moveTo>
                      <a:pt x="3" y="12"/>
                    </a:moveTo>
                    <a:lnTo>
                      <a:pt x="4" y="11"/>
                    </a:lnTo>
                    <a:lnTo>
                      <a:pt x="4" y="8"/>
                    </a:lnTo>
                    <a:lnTo>
                      <a:pt x="4" y="6"/>
                    </a:lnTo>
                    <a:lnTo>
                      <a:pt x="3" y="6"/>
                    </a:lnTo>
                    <a:lnTo>
                      <a:pt x="3" y="5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6"/>
                    </a:lnTo>
                    <a:lnTo>
                      <a:pt x="0" y="11"/>
                    </a:lnTo>
                    <a:lnTo>
                      <a:pt x="0" y="13"/>
                    </a:lnTo>
                    <a:lnTo>
                      <a:pt x="1" y="13"/>
                    </a:lnTo>
                    <a:lnTo>
                      <a:pt x="3" y="12"/>
                    </a:lnTo>
                    <a:lnTo>
                      <a:pt x="3" y="12"/>
                    </a:lnTo>
                    <a:close/>
                    <a:moveTo>
                      <a:pt x="9" y="8"/>
                    </a:moveTo>
                    <a:lnTo>
                      <a:pt x="13" y="7"/>
                    </a:lnTo>
                    <a:lnTo>
                      <a:pt x="9" y="4"/>
                    </a:lnTo>
                    <a:lnTo>
                      <a:pt x="8" y="3"/>
                    </a:lnTo>
                    <a:lnTo>
                      <a:pt x="8" y="2"/>
                    </a:lnTo>
                    <a:lnTo>
                      <a:pt x="7" y="0"/>
                    </a:lnTo>
                    <a:lnTo>
                      <a:pt x="6" y="1"/>
                    </a:lnTo>
                    <a:lnTo>
                      <a:pt x="5" y="2"/>
                    </a:lnTo>
                    <a:lnTo>
                      <a:pt x="6" y="4"/>
                    </a:lnTo>
                    <a:lnTo>
                      <a:pt x="5" y="6"/>
                    </a:lnTo>
                    <a:lnTo>
                      <a:pt x="5" y="8"/>
                    </a:lnTo>
                    <a:lnTo>
                      <a:pt x="7" y="8"/>
                    </a:lnTo>
                    <a:lnTo>
                      <a:pt x="9" y="8"/>
                    </a:lnTo>
                    <a:lnTo>
                      <a:pt x="9" y="8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436" name="Curacao">
              <a:extLst>
                <a:ext uri="{FF2B5EF4-FFF2-40B4-BE49-F238E27FC236}">
                  <a16:creationId xmlns:a16="http://schemas.microsoft.com/office/drawing/2014/main" id="{4AD9CBD8-E7E4-4D21-9EB0-060895031E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3007" y="3598635"/>
              <a:ext cx="4762" cy="9525"/>
            </a:xfrm>
            <a:custGeom>
              <a:avLst/>
              <a:gdLst>
                <a:gd name="T0" fmla="*/ 3 w 3"/>
                <a:gd name="T1" fmla="*/ 4 h 6"/>
                <a:gd name="T2" fmla="*/ 3 w 3"/>
                <a:gd name="T3" fmla="*/ 1 h 6"/>
                <a:gd name="T4" fmla="*/ 0 w 3"/>
                <a:gd name="T5" fmla="*/ 0 h 6"/>
                <a:gd name="T6" fmla="*/ 0 w 3"/>
                <a:gd name="T7" fmla="*/ 1 h 6"/>
                <a:gd name="T8" fmla="*/ 0 w 3"/>
                <a:gd name="T9" fmla="*/ 2 h 6"/>
                <a:gd name="T10" fmla="*/ 2 w 3"/>
                <a:gd name="T11" fmla="*/ 2 h 6"/>
                <a:gd name="T12" fmla="*/ 2 w 3"/>
                <a:gd name="T13" fmla="*/ 3 h 6"/>
                <a:gd name="T14" fmla="*/ 2 w 3"/>
                <a:gd name="T15" fmla="*/ 5 h 6"/>
                <a:gd name="T16" fmla="*/ 2 w 3"/>
                <a:gd name="T17" fmla="*/ 6 h 6"/>
                <a:gd name="T18" fmla="*/ 3 w 3"/>
                <a:gd name="T19" fmla="*/ 4 h 6"/>
                <a:gd name="T20" fmla="*/ 3 w 3"/>
                <a:gd name="T2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" h="6">
                  <a:moveTo>
                    <a:pt x="3" y="4"/>
                  </a:moveTo>
                  <a:lnTo>
                    <a:pt x="3" y="1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3"/>
                  </a:lnTo>
                  <a:lnTo>
                    <a:pt x="2" y="5"/>
                  </a:lnTo>
                  <a:lnTo>
                    <a:pt x="2" y="6"/>
                  </a:lnTo>
                  <a:lnTo>
                    <a:pt x="3" y="4"/>
                  </a:lnTo>
                  <a:lnTo>
                    <a:pt x="3" y="4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7" name="Las Palmas de Gran Canaria">
              <a:extLst>
                <a:ext uri="{FF2B5EF4-FFF2-40B4-BE49-F238E27FC236}">
                  <a16:creationId xmlns:a16="http://schemas.microsoft.com/office/drawing/2014/main" id="{A2CD6F7C-CC9C-4B3D-9102-A4441AF186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10994" y="2958874"/>
              <a:ext cx="153987" cy="60325"/>
            </a:xfrm>
            <a:custGeom>
              <a:avLst/>
              <a:gdLst>
                <a:gd name="T0" fmla="*/ 5 w 97"/>
                <a:gd name="T1" fmla="*/ 33 h 38"/>
                <a:gd name="T2" fmla="*/ 0 w 97"/>
                <a:gd name="T3" fmla="*/ 35 h 38"/>
                <a:gd name="T4" fmla="*/ 1 w 97"/>
                <a:gd name="T5" fmla="*/ 37 h 38"/>
                <a:gd name="T6" fmla="*/ 5 w 97"/>
                <a:gd name="T7" fmla="*/ 34 h 38"/>
                <a:gd name="T8" fmla="*/ 56 w 97"/>
                <a:gd name="T9" fmla="*/ 26 h 38"/>
                <a:gd name="T10" fmla="*/ 56 w 97"/>
                <a:gd name="T11" fmla="*/ 26 h 38"/>
                <a:gd name="T12" fmla="*/ 50 w 97"/>
                <a:gd name="T13" fmla="*/ 26 h 38"/>
                <a:gd name="T14" fmla="*/ 48 w 97"/>
                <a:gd name="T15" fmla="*/ 30 h 38"/>
                <a:gd name="T16" fmla="*/ 50 w 97"/>
                <a:gd name="T17" fmla="*/ 35 h 38"/>
                <a:gd name="T18" fmla="*/ 53 w 97"/>
                <a:gd name="T19" fmla="*/ 35 h 38"/>
                <a:gd name="T20" fmla="*/ 56 w 97"/>
                <a:gd name="T21" fmla="*/ 32 h 38"/>
                <a:gd name="T22" fmla="*/ 56 w 97"/>
                <a:gd name="T23" fmla="*/ 28 h 38"/>
                <a:gd name="T24" fmla="*/ 56 w 97"/>
                <a:gd name="T25" fmla="*/ 26 h 38"/>
                <a:gd name="T26" fmla="*/ 22 w 97"/>
                <a:gd name="T27" fmla="*/ 28 h 38"/>
                <a:gd name="T28" fmla="*/ 21 w 97"/>
                <a:gd name="T29" fmla="*/ 26 h 38"/>
                <a:gd name="T30" fmla="*/ 18 w 97"/>
                <a:gd name="T31" fmla="*/ 25 h 38"/>
                <a:gd name="T32" fmla="*/ 17 w 97"/>
                <a:gd name="T33" fmla="*/ 27 h 38"/>
                <a:gd name="T34" fmla="*/ 19 w 97"/>
                <a:gd name="T35" fmla="*/ 30 h 38"/>
                <a:gd name="T36" fmla="*/ 20 w 97"/>
                <a:gd name="T37" fmla="*/ 30 h 38"/>
                <a:gd name="T38" fmla="*/ 42 w 97"/>
                <a:gd name="T39" fmla="*/ 17 h 38"/>
                <a:gd name="T40" fmla="*/ 38 w 97"/>
                <a:gd name="T41" fmla="*/ 17 h 38"/>
                <a:gd name="T42" fmla="*/ 33 w 97"/>
                <a:gd name="T43" fmla="*/ 20 h 38"/>
                <a:gd name="T44" fmla="*/ 28 w 97"/>
                <a:gd name="T45" fmla="*/ 20 h 38"/>
                <a:gd name="T46" fmla="*/ 27 w 97"/>
                <a:gd name="T47" fmla="*/ 22 h 38"/>
                <a:gd name="T48" fmla="*/ 30 w 97"/>
                <a:gd name="T49" fmla="*/ 30 h 38"/>
                <a:gd name="T50" fmla="*/ 34 w 97"/>
                <a:gd name="T51" fmla="*/ 28 h 38"/>
                <a:gd name="T52" fmla="*/ 37 w 97"/>
                <a:gd name="T53" fmla="*/ 20 h 38"/>
                <a:gd name="T54" fmla="*/ 81 w 97"/>
                <a:gd name="T55" fmla="*/ 26 h 38"/>
                <a:gd name="T56" fmla="*/ 87 w 97"/>
                <a:gd name="T57" fmla="*/ 20 h 38"/>
                <a:gd name="T58" fmla="*/ 88 w 97"/>
                <a:gd name="T59" fmla="*/ 13 h 38"/>
                <a:gd name="T60" fmla="*/ 87 w 97"/>
                <a:gd name="T61" fmla="*/ 12 h 38"/>
                <a:gd name="T62" fmla="*/ 85 w 97"/>
                <a:gd name="T63" fmla="*/ 13 h 38"/>
                <a:gd name="T64" fmla="*/ 82 w 97"/>
                <a:gd name="T65" fmla="*/ 20 h 38"/>
                <a:gd name="T66" fmla="*/ 77 w 97"/>
                <a:gd name="T67" fmla="*/ 27 h 38"/>
                <a:gd name="T68" fmla="*/ 75 w 97"/>
                <a:gd name="T69" fmla="*/ 28 h 38"/>
                <a:gd name="T70" fmla="*/ 81 w 97"/>
                <a:gd name="T71" fmla="*/ 26 h 38"/>
                <a:gd name="T72" fmla="*/ 7 w 97"/>
                <a:gd name="T73" fmla="*/ 18 h 38"/>
                <a:gd name="T74" fmla="*/ 9 w 97"/>
                <a:gd name="T75" fmla="*/ 15 h 38"/>
                <a:gd name="T76" fmla="*/ 10 w 97"/>
                <a:gd name="T77" fmla="*/ 13 h 38"/>
                <a:gd name="T78" fmla="*/ 8 w 97"/>
                <a:gd name="T79" fmla="*/ 9 h 38"/>
                <a:gd name="T80" fmla="*/ 4 w 97"/>
                <a:gd name="T81" fmla="*/ 12 h 38"/>
                <a:gd name="T82" fmla="*/ 7 w 97"/>
                <a:gd name="T83" fmla="*/ 18 h 38"/>
                <a:gd name="T84" fmla="*/ 7 w 97"/>
                <a:gd name="T85" fmla="*/ 18 h 38"/>
                <a:gd name="T86" fmla="*/ 94 w 97"/>
                <a:gd name="T87" fmla="*/ 7 h 38"/>
                <a:gd name="T88" fmla="*/ 97 w 97"/>
                <a:gd name="T89" fmla="*/ 3 h 38"/>
                <a:gd name="T90" fmla="*/ 97 w 97"/>
                <a:gd name="T91" fmla="*/ 0 h 38"/>
                <a:gd name="T92" fmla="*/ 95 w 97"/>
                <a:gd name="T93" fmla="*/ 3 h 38"/>
                <a:gd name="T94" fmla="*/ 89 w 97"/>
                <a:gd name="T95" fmla="*/ 4 h 38"/>
                <a:gd name="T96" fmla="*/ 88 w 97"/>
                <a:gd name="T97" fmla="*/ 9 h 38"/>
                <a:gd name="T98" fmla="*/ 91 w 97"/>
                <a:gd name="T99" fmla="*/ 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97" h="38">
                  <a:moveTo>
                    <a:pt x="5" y="34"/>
                  </a:moveTo>
                  <a:lnTo>
                    <a:pt x="5" y="33"/>
                  </a:lnTo>
                  <a:lnTo>
                    <a:pt x="2" y="35"/>
                  </a:lnTo>
                  <a:lnTo>
                    <a:pt x="0" y="35"/>
                  </a:lnTo>
                  <a:lnTo>
                    <a:pt x="1" y="36"/>
                  </a:lnTo>
                  <a:lnTo>
                    <a:pt x="1" y="37"/>
                  </a:lnTo>
                  <a:lnTo>
                    <a:pt x="3" y="38"/>
                  </a:lnTo>
                  <a:lnTo>
                    <a:pt x="5" y="34"/>
                  </a:lnTo>
                  <a:lnTo>
                    <a:pt x="5" y="34"/>
                  </a:lnTo>
                  <a:close/>
                  <a:moveTo>
                    <a:pt x="56" y="26"/>
                  </a:moveTo>
                  <a:lnTo>
                    <a:pt x="56" y="26"/>
                  </a:lnTo>
                  <a:lnTo>
                    <a:pt x="56" y="26"/>
                  </a:lnTo>
                  <a:lnTo>
                    <a:pt x="56" y="26"/>
                  </a:lnTo>
                  <a:lnTo>
                    <a:pt x="50" y="26"/>
                  </a:lnTo>
                  <a:lnTo>
                    <a:pt x="50" y="28"/>
                  </a:lnTo>
                  <a:lnTo>
                    <a:pt x="48" y="30"/>
                  </a:lnTo>
                  <a:lnTo>
                    <a:pt x="48" y="32"/>
                  </a:lnTo>
                  <a:lnTo>
                    <a:pt x="50" y="35"/>
                  </a:lnTo>
                  <a:lnTo>
                    <a:pt x="51" y="35"/>
                  </a:lnTo>
                  <a:lnTo>
                    <a:pt x="53" y="35"/>
                  </a:lnTo>
                  <a:lnTo>
                    <a:pt x="56" y="34"/>
                  </a:lnTo>
                  <a:lnTo>
                    <a:pt x="56" y="32"/>
                  </a:lnTo>
                  <a:lnTo>
                    <a:pt x="57" y="30"/>
                  </a:lnTo>
                  <a:lnTo>
                    <a:pt x="56" y="28"/>
                  </a:lnTo>
                  <a:lnTo>
                    <a:pt x="56" y="26"/>
                  </a:lnTo>
                  <a:lnTo>
                    <a:pt x="56" y="26"/>
                  </a:lnTo>
                  <a:close/>
                  <a:moveTo>
                    <a:pt x="20" y="30"/>
                  </a:moveTo>
                  <a:lnTo>
                    <a:pt x="22" y="28"/>
                  </a:lnTo>
                  <a:lnTo>
                    <a:pt x="22" y="27"/>
                  </a:lnTo>
                  <a:lnTo>
                    <a:pt x="21" y="26"/>
                  </a:lnTo>
                  <a:lnTo>
                    <a:pt x="19" y="25"/>
                  </a:lnTo>
                  <a:lnTo>
                    <a:pt x="18" y="25"/>
                  </a:lnTo>
                  <a:lnTo>
                    <a:pt x="18" y="26"/>
                  </a:lnTo>
                  <a:lnTo>
                    <a:pt x="17" y="27"/>
                  </a:lnTo>
                  <a:lnTo>
                    <a:pt x="18" y="29"/>
                  </a:lnTo>
                  <a:lnTo>
                    <a:pt x="19" y="30"/>
                  </a:lnTo>
                  <a:lnTo>
                    <a:pt x="20" y="30"/>
                  </a:lnTo>
                  <a:lnTo>
                    <a:pt x="20" y="30"/>
                  </a:lnTo>
                  <a:close/>
                  <a:moveTo>
                    <a:pt x="37" y="20"/>
                  </a:moveTo>
                  <a:lnTo>
                    <a:pt x="42" y="17"/>
                  </a:lnTo>
                  <a:lnTo>
                    <a:pt x="42" y="16"/>
                  </a:lnTo>
                  <a:lnTo>
                    <a:pt x="38" y="17"/>
                  </a:lnTo>
                  <a:lnTo>
                    <a:pt x="34" y="20"/>
                  </a:lnTo>
                  <a:lnTo>
                    <a:pt x="33" y="20"/>
                  </a:lnTo>
                  <a:lnTo>
                    <a:pt x="30" y="20"/>
                  </a:lnTo>
                  <a:lnTo>
                    <a:pt x="28" y="20"/>
                  </a:lnTo>
                  <a:lnTo>
                    <a:pt x="26" y="21"/>
                  </a:lnTo>
                  <a:lnTo>
                    <a:pt x="27" y="22"/>
                  </a:lnTo>
                  <a:lnTo>
                    <a:pt x="28" y="26"/>
                  </a:lnTo>
                  <a:lnTo>
                    <a:pt x="30" y="30"/>
                  </a:lnTo>
                  <a:lnTo>
                    <a:pt x="33" y="29"/>
                  </a:lnTo>
                  <a:lnTo>
                    <a:pt x="34" y="28"/>
                  </a:lnTo>
                  <a:lnTo>
                    <a:pt x="35" y="26"/>
                  </a:lnTo>
                  <a:lnTo>
                    <a:pt x="37" y="20"/>
                  </a:lnTo>
                  <a:lnTo>
                    <a:pt x="37" y="20"/>
                  </a:lnTo>
                  <a:close/>
                  <a:moveTo>
                    <a:pt x="81" y="26"/>
                  </a:moveTo>
                  <a:lnTo>
                    <a:pt x="86" y="24"/>
                  </a:lnTo>
                  <a:lnTo>
                    <a:pt x="87" y="20"/>
                  </a:lnTo>
                  <a:lnTo>
                    <a:pt x="88" y="16"/>
                  </a:lnTo>
                  <a:lnTo>
                    <a:pt x="88" y="13"/>
                  </a:lnTo>
                  <a:lnTo>
                    <a:pt x="87" y="12"/>
                  </a:lnTo>
                  <a:lnTo>
                    <a:pt x="87" y="12"/>
                  </a:lnTo>
                  <a:lnTo>
                    <a:pt x="86" y="12"/>
                  </a:lnTo>
                  <a:lnTo>
                    <a:pt x="85" y="13"/>
                  </a:lnTo>
                  <a:lnTo>
                    <a:pt x="85" y="15"/>
                  </a:lnTo>
                  <a:lnTo>
                    <a:pt x="82" y="20"/>
                  </a:lnTo>
                  <a:lnTo>
                    <a:pt x="80" y="24"/>
                  </a:lnTo>
                  <a:lnTo>
                    <a:pt x="77" y="27"/>
                  </a:lnTo>
                  <a:lnTo>
                    <a:pt x="74" y="28"/>
                  </a:lnTo>
                  <a:lnTo>
                    <a:pt x="75" y="28"/>
                  </a:lnTo>
                  <a:lnTo>
                    <a:pt x="78" y="28"/>
                  </a:lnTo>
                  <a:lnTo>
                    <a:pt x="81" y="26"/>
                  </a:lnTo>
                  <a:lnTo>
                    <a:pt x="81" y="26"/>
                  </a:lnTo>
                  <a:close/>
                  <a:moveTo>
                    <a:pt x="7" y="18"/>
                  </a:moveTo>
                  <a:lnTo>
                    <a:pt x="9" y="17"/>
                  </a:lnTo>
                  <a:lnTo>
                    <a:pt x="9" y="15"/>
                  </a:lnTo>
                  <a:lnTo>
                    <a:pt x="9" y="13"/>
                  </a:lnTo>
                  <a:lnTo>
                    <a:pt x="10" y="13"/>
                  </a:lnTo>
                  <a:lnTo>
                    <a:pt x="9" y="11"/>
                  </a:lnTo>
                  <a:lnTo>
                    <a:pt x="8" y="9"/>
                  </a:lnTo>
                  <a:lnTo>
                    <a:pt x="5" y="9"/>
                  </a:lnTo>
                  <a:lnTo>
                    <a:pt x="4" y="12"/>
                  </a:lnTo>
                  <a:lnTo>
                    <a:pt x="6" y="17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close/>
                  <a:moveTo>
                    <a:pt x="91" y="8"/>
                  </a:moveTo>
                  <a:lnTo>
                    <a:pt x="94" y="7"/>
                  </a:lnTo>
                  <a:lnTo>
                    <a:pt x="96" y="5"/>
                  </a:lnTo>
                  <a:lnTo>
                    <a:pt x="97" y="3"/>
                  </a:lnTo>
                  <a:lnTo>
                    <a:pt x="97" y="2"/>
                  </a:lnTo>
                  <a:lnTo>
                    <a:pt x="97" y="0"/>
                  </a:lnTo>
                  <a:lnTo>
                    <a:pt x="96" y="1"/>
                  </a:lnTo>
                  <a:lnTo>
                    <a:pt x="95" y="3"/>
                  </a:lnTo>
                  <a:lnTo>
                    <a:pt x="93" y="3"/>
                  </a:lnTo>
                  <a:lnTo>
                    <a:pt x="89" y="4"/>
                  </a:lnTo>
                  <a:lnTo>
                    <a:pt x="89" y="5"/>
                  </a:lnTo>
                  <a:lnTo>
                    <a:pt x="88" y="9"/>
                  </a:lnTo>
                  <a:lnTo>
                    <a:pt x="89" y="9"/>
                  </a:lnTo>
                  <a:lnTo>
                    <a:pt x="91" y="8"/>
                  </a:lnTo>
                  <a:lnTo>
                    <a:pt x="91" y="8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47" name="TextBox 446">
            <a:extLst>
              <a:ext uri="{FF2B5EF4-FFF2-40B4-BE49-F238E27FC236}">
                <a16:creationId xmlns:a16="http://schemas.microsoft.com/office/drawing/2014/main" id="{9035013A-1E4E-4000-9272-AAAAFD933D28}"/>
              </a:ext>
            </a:extLst>
          </p:cNvPr>
          <p:cNvSpPr txBox="1">
            <a:spLocks/>
          </p:cNvSpPr>
          <p:nvPr/>
        </p:nvSpPr>
        <p:spPr>
          <a:xfrm>
            <a:off x="584200" y="4848375"/>
            <a:ext cx="18415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800" b="1" spc="200">
                <a:latin typeface="+mn-lt"/>
                <a:ea typeface="Titillium" charset="0"/>
                <a:cs typeface="Titillium" charset="0"/>
              </a:rPr>
              <a:t>EDIT HERE</a:t>
            </a:r>
            <a:endParaRPr lang="en-US" sz="1800" b="1" spc="200" dirty="0">
              <a:latin typeface="+mn-lt"/>
              <a:ea typeface="Titillium" charset="0"/>
              <a:cs typeface="Titillium" charset="0"/>
            </a:endParaRPr>
          </a:p>
        </p:txBody>
      </p:sp>
      <p:sp>
        <p:nvSpPr>
          <p:cNvPr id="475" name="TextBox 474">
            <a:extLst>
              <a:ext uri="{FF2B5EF4-FFF2-40B4-BE49-F238E27FC236}">
                <a16:creationId xmlns:a16="http://schemas.microsoft.com/office/drawing/2014/main" id="{EC79F6C1-A5CE-4CDA-A2F2-6B29C3162784}"/>
              </a:ext>
            </a:extLst>
          </p:cNvPr>
          <p:cNvSpPr txBox="1">
            <a:spLocks/>
          </p:cNvSpPr>
          <p:nvPr/>
        </p:nvSpPr>
        <p:spPr>
          <a:xfrm>
            <a:off x="584200" y="5126888"/>
            <a:ext cx="1841500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600">
                <a:latin typeface="+mn-lt"/>
                <a:ea typeface="Open Sans Condensed Light" panose="020B0306030504020204" pitchFamily="34" charset="0"/>
                <a:cs typeface="Open Sans Condensed Light" panose="020B0306030504020204" pitchFamily="34" charset="0"/>
              </a:defRPr>
            </a:lvl1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sz="1400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grpSp>
        <p:nvGrpSpPr>
          <p:cNvPr id="487" name="Group 486">
            <a:extLst>
              <a:ext uri="{FF2B5EF4-FFF2-40B4-BE49-F238E27FC236}">
                <a16:creationId xmlns:a16="http://schemas.microsoft.com/office/drawing/2014/main" id="{3715DE7D-F32A-4643-9915-6F8EBDB6F8A6}"/>
              </a:ext>
            </a:extLst>
          </p:cNvPr>
          <p:cNvGrpSpPr/>
          <p:nvPr/>
        </p:nvGrpSpPr>
        <p:grpSpPr>
          <a:xfrm>
            <a:off x="2145493" y="2382866"/>
            <a:ext cx="296082" cy="296082"/>
            <a:chOff x="2704685" y="2555526"/>
            <a:chExt cx="296082" cy="296082"/>
          </a:xfrm>
        </p:grpSpPr>
        <p:sp>
          <p:nvSpPr>
            <p:cNvPr id="488" name="Teardrop 487">
              <a:extLst>
                <a:ext uri="{FF2B5EF4-FFF2-40B4-BE49-F238E27FC236}">
                  <a16:creationId xmlns:a16="http://schemas.microsoft.com/office/drawing/2014/main" id="{D927A664-9B51-494D-9913-5B39113748BC}"/>
                </a:ext>
              </a:extLst>
            </p:cNvPr>
            <p:cNvSpPr/>
            <p:nvPr/>
          </p:nvSpPr>
          <p:spPr>
            <a:xfrm rot="8100000">
              <a:off x="2704685" y="2555526"/>
              <a:ext cx="296082" cy="296082"/>
            </a:xfrm>
            <a:prstGeom prst="teardrop">
              <a:avLst>
                <a:gd name="adj" fmla="val 200000"/>
              </a:avLst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600" b="1" dirty="0" err="1">
                <a:solidFill>
                  <a:schemeClr val="accent4"/>
                </a:solidFill>
              </a:endParaRPr>
            </a:p>
          </p:txBody>
        </p:sp>
        <p:sp>
          <p:nvSpPr>
            <p:cNvPr id="489" name="Oval 488">
              <a:extLst>
                <a:ext uri="{FF2B5EF4-FFF2-40B4-BE49-F238E27FC236}">
                  <a16:creationId xmlns:a16="http://schemas.microsoft.com/office/drawing/2014/main" id="{C6606575-4DF3-451E-A4A1-A8C2B0606BBC}"/>
                </a:ext>
              </a:extLst>
            </p:cNvPr>
            <p:cNvSpPr/>
            <p:nvPr/>
          </p:nvSpPr>
          <p:spPr>
            <a:xfrm>
              <a:off x="2763684" y="2614525"/>
              <a:ext cx="178084" cy="178084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600" b="1" dirty="0" err="1">
                <a:solidFill>
                  <a:schemeClr val="accent4"/>
                </a:solidFill>
              </a:endParaRPr>
            </a:p>
          </p:txBody>
        </p:sp>
      </p:grpSp>
      <p:sp>
        <p:nvSpPr>
          <p:cNvPr id="490" name="Rectangle 489">
            <a:extLst>
              <a:ext uri="{FF2B5EF4-FFF2-40B4-BE49-F238E27FC236}">
                <a16:creationId xmlns:a16="http://schemas.microsoft.com/office/drawing/2014/main" id="{CA8749C4-FE53-40B7-B9DE-7A7496EC0D01}"/>
              </a:ext>
            </a:extLst>
          </p:cNvPr>
          <p:cNvSpPr/>
          <p:nvPr/>
        </p:nvSpPr>
        <p:spPr>
          <a:xfrm>
            <a:off x="2497876" y="2341012"/>
            <a:ext cx="2257619" cy="509462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1600" dirty="0">
                <a:solidFill>
                  <a:schemeClr val="bg1"/>
                </a:solidFill>
              </a:rPr>
              <a:t>Add your text here</a:t>
            </a:r>
          </a:p>
        </p:txBody>
      </p:sp>
      <p:sp>
        <p:nvSpPr>
          <p:cNvPr id="491" name="Rectangle 490">
            <a:extLst>
              <a:ext uri="{FF2B5EF4-FFF2-40B4-BE49-F238E27FC236}">
                <a16:creationId xmlns:a16="http://schemas.microsoft.com/office/drawing/2014/main" id="{5B041BCB-7949-4BB5-B642-CFEDAC45838E}"/>
              </a:ext>
            </a:extLst>
          </p:cNvPr>
          <p:cNvSpPr/>
          <p:nvPr/>
        </p:nvSpPr>
        <p:spPr>
          <a:xfrm>
            <a:off x="6035481" y="2160368"/>
            <a:ext cx="2257619" cy="509462"/>
          </a:xfrm>
          <a:prstGeom prst="rect">
            <a:avLst/>
          </a:prstGeom>
          <a:solidFill>
            <a:schemeClr val="accent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1600" dirty="0">
                <a:solidFill>
                  <a:schemeClr val="bg1"/>
                </a:solidFill>
              </a:rPr>
              <a:t>Add your text here</a:t>
            </a:r>
          </a:p>
        </p:txBody>
      </p:sp>
      <p:sp>
        <p:nvSpPr>
          <p:cNvPr id="492" name="Rectangle 491">
            <a:extLst>
              <a:ext uri="{FF2B5EF4-FFF2-40B4-BE49-F238E27FC236}">
                <a16:creationId xmlns:a16="http://schemas.microsoft.com/office/drawing/2014/main" id="{1F873E60-0F01-4AE1-8729-03901405DA9C}"/>
              </a:ext>
            </a:extLst>
          </p:cNvPr>
          <p:cNvSpPr/>
          <p:nvPr/>
        </p:nvSpPr>
        <p:spPr>
          <a:xfrm>
            <a:off x="3474472" y="4080622"/>
            <a:ext cx="2257619" cy="509462"/>
          </a:xfrm>
          <a:prstGeom prst="rect">
            <a:avLst/>
          </a:prstGeom>
          <a:solidFill>
            <a:schemeClr val="accent3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1600" dirty="0">
                <a:solidFill>
                  <a:schemeClr val="bg1"/>
                </a:solidFill>
              </a:rPr>
              <a:t>Add your text here</a:t>
            </a:r>
          </a:p>
        </p:txBody>
      </p:sp>
      <p:grpSp>
        <p:nvGrpSpPr>
          <p:cNvPr id="493" name="Group 492">
            <a:extLst>
              <a:ext uri="{FF2B5EF4-FFF2-40B4-BE49-F238E27FC236}">
                <a16:creationId xmlns:a16="http://schemas.microsoft.com/office/drawing/2014/main" id="{9193E069-B34B-4D9D-86FB-BCA686552AF1}"/>
              </a:ext>
            </a:extLst>
          </p:cNvPr>
          <p:cNvGrpSpPr/>
          <p:nvPr/>
        </p:nvGrpSpPr>
        <p:grpSpPr>
          <a:xfrm>
            <a:off x="3116658" y="4088767"/>
            <a:ext cx="296082" cy="296082"/>
            <a:chOff x="2704685" y="2555526"/>
            <a:chExt cx="296082" cy="296082"/>
          </a:xfrm>
          <a:solidFill>
            <a:schemeClr val="accent3"/>
          </a:solidFill>
        </p:grpSpPr>
        <p:sp>
          <p:nvSpPr>
            <p:cNvPr id="494" name="Teardrop 493">
              <a:extLst>
                <a:ext uri="{FF2B5EF4-FFF2-40B4-BE49-F238E27FC236}">
                  <a16:creationId xmlns:a16="http://schemas.microsoft.com/office/drawing/2014/main" id="{252D15CC-90C0-42A1-BC9C-4F2C12B38A19}"/>
                </a:ext>
              </a:extLst>
            </p:cNvPr>
            <p:cNvSpPr/>
            <p:nvPr/>
          </p:nvSpPr>
          <p:spPr>
            <a:xfrm rot="8100000">
              <a:off x="2704685" y="2555526"/>
              <a:ext cx="296082" cy="296082"/>
            </a:xfrm>
            <a:prstGeom prst="teardrop">
              <a:avLst>
                <a:gd name="adj" fmla="val 200000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600" b="1" dirty="0" err="1">
                <a:solidFill>
                  <a:schemeClr val="accent4"/>
                </a:solidFill>
              </a:endParaRPr>
            </a:p>
          </p:txBody>
        </p:sp>
        <p:sp>
          <p:nvSpPr>
            <p:cNvPr id="495" name="Oval 494">
              <a:extLst>
                <a:ext uri="{FF2B5EF4-FFF2-40B4-BE49-F238E27FC236}">
                  <a16:creationId xmlns:a16="http://schemas.microsoft.com/office/drawing/2014/main" id="{69D155B4-24C4-41F8-95EC-C39DC161ACC7}"/>
                </a:ext>
              </a:extLst>
            </p:cNvPr>
            <p:cNvSpPr/>
            <p:nvPr/>
          </p:nvSpPr>
          <p:spPr>
            <a:xfrm>
              <a:off x="2763684" y="2614525"/>
              <a:ext cx="178084" cy="178084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600" b="1" dirty="0" err="1">
                <a:solidFill>
                  <a:schemeClr val="accent4"/>
                </a:solidFill>
              </a:endParaRPr>
            </a:p>
          </p:txBody>
        </p:sp>
      </p:grpSp>
      <p:grpSp>
        <p:nvGrpSpPr>
          <p:cNvPr id="496" name="Group 495">
            <a:extLst>
              <a:ext uri="{FF2B5EF4-FFF2-40B4-BE49-F238E27FC236}">
                <a16:creationId xmlns:a16="http://schemas.microsoft.com/office/drawing/2014/main" id="{BCB5F027-5C27-452B-88D8-10306A7CEEE0}"/>
              </a:ext>
            </a:extLst>
          </p:cNvPr>
          <p:cNvGrpSpPr/>
          <p:nvPr/>
        </p:nvGrpSpPr>
        <p:grpSpPr>
          <a:xfrm>
            <a:off x="7121085" y="2782967"/>
            <a:ext cx="296082" cy="296082"/>
            <a:chOff x="2704685" y="2555526"/>
            <a:chExt cx="296082" cy="296082"/>
          </a:xfrm>
          <a:solidFill>
            <a:schemeClr val="accent2"/>
          </a:solidFill>
        </p:grpSpPr>
        <p:sp>
          <p:nvSpPr>
            <p:cNvPr id="497" name="Teardrop 496">
              <a:extLst>
                <a:ext uri="{FF2B5EF4-FFF2-40B4-BE49-F238E27FC236}">
                  <a16:creationId xmlns:a16="http://schemas.microsoft.com/office/drawing/2014/main" id="{D704D6F1-9771-4396-B346-CD6A088180FA}"/>
                </a:ext>
              </a:extLst>
            </p:cNvPr>
            <p:cNvSpPr/>
            <p:nvPr/>
          </p:nvSpPr>
          <p:spPr>
            <a:xfrm rot="8100000">
              <a:off x="2704685" y="2555526"/>
              <a:ext cx="296082" cy="296082"/>
            </a:xfrm>
            <a:prstGeom prst="teardrop">
              <a:avLst>
                <a:gd name="adj" fmla="val 200000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600" b="1" dirty="0" err="1">
                <a:solidFill>
                  <a:schemeClr val="accent4"/>
                </a:solidFill>
              </a:endParaRPr>
            </a:p>
          </p:txBody>
        </p:sp>
        <p:sp>
          <p:nvSpPr>
            <p:cNvPr id="498" name="Oval 497">
              <a:extLst>
                <a:ext uri="{FF2B5EF4-FFF2-40B4-BE49-F238E27FC236}">
                  <a16:creationId xmlns:a16="http://schemas.microsoft.com/office/drawing/2014/main" id="{ABBCFE62-794D-428E-9C00-AE82F2934A9E}"/>
                </a:ext>
              </a:extLst>
            </p:cNvPr>
            <p:cNvSpPr/>
            <p:nvPr/>
          </p:nvSpPr>
          <p:spPr>
            <a:xfrm>
              <a:off x="2763684" y="2614525"/>
              <a:ext cx="178084" cy="178084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600" b="1" dirty="0" err="1">
                <a:solidFill>
                  <a:schemeClr val="accent4"/>
                </a:solidFill>
              </a:endParaRPr>
            </a:p>
          </p:txBody>
        </p:sp>
      </p:grpSp>
      <p:graphicFrame>
        <p:nvGraphicFramePr>
          <p:cNvPr id="222" name="Chart 221">
            <a:extLst>
              <a:ext uri="{FF2B5EF4-FFF2-40B4-BE49-F238E27FC236}">
                <a16:creationId xmlns:a16="http://schemas.microsoft.com/office/drawing/2014/main" id="{E37FD6EC-580E-4AC9-B4E8-BC2D0F8C91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66426079"/>
              </p:ext>
            </p:extLst>
          </p:nvPr>
        </p:nvGraphicFramePr>
        <p:xfrm>
          <a:off x="9413631" y="820615"/>
          <a:ext cx="2567354" cy="49674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99" name="TextBox 498">
            <a:extLst>
              <a:ext uri="{FF2B5EF4-FFF2-40B4-BE49-F238E27FC236}">
                <a16:creationId xmlns:a16="http://schemas.microsoft.com/office/drawing/2014/main" id="{1E47661A-4076-40AC-B87D-79633981A3C2}"/>
              </a:ext>
            </a:extLst>
          </p:cNvPr>
          <p:cNvSpPr txBox="1">
            <a:spLocks/>
          </p:cNvSpPr>
          <p:nvPr/>
        </p:nvSpPr>
        <p:spPr>
          <a:xfrm rot="16200000">
            <a:off x="9187847" y="4818059"/>
            <a:ext cx="107561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algn="ctr">
              <a:defRPr sz="1600">
                <a:latin typeface="+mn-lt"/>
                <a:ea typeface="Open Sans Condensed Light" panose="020B0306030504020204" pitchFamily="34" charset="0"/>
                <a:cs typeface="Open Sans Condensed Light" panose="020B0306030504020204" pitchFamily="34" charset="0"/>
              </a:defRPr>
            </a:lvl1pPr>
          </a:lstStyle>
          <a:p>
            <a:pPr algn="l"/>
            <a:r>
              <a:rPr lang="en-US" sz="1100" dirty="0">
                <a:solidFill>
                  <a:schemeClr val="bg1"/>
                </a:solidFill>
              </a:rPr>
              <a:t>Add your text here</a:t>
            </a:r>
          </a:p>
        </p:txBody>
      </p:sp>
      <p:sp>
        <p:nvSpPr>
          <p:cNvPr id="500" name="TextBox 499">
            <a:extLst>
              <a:ext uri="{FF2B5EF4-FFF2-40B4-BE49-F238E27FC236}">
                <a16:creationId xmlns:a16="http://schemas.microsoft.com/office/drawing/2014/main" id="{E8153BF1-3B37-4123-91C6-DCC2643341CA}"/>
              </a:ext>
            </a:extLst>
          </p:cNvPr>
          <p:cNvSpPr txBox="1">
            <a:spLocks/>
          </p:cNvSpPr>
          <p:nvPr/>
        </p:nvSpPr>
        <p:spPr>
          <a:xfrm rot="16200000">
            <a:off x="9709537" y="4317502"/>
            <a:ext cx="107561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algn="ctr">
              <a:defRPr sz="1600">
                <a:latin typeface="+mn-lt"/>
                <a:ea typeface="Open Sans Condensed Light" panose="020B0306030504020204" pitchFamily="34" charset="0"/>
                <a:cs typeface="Open Sans Condensed Light" panose="020B0306030504020204" pitchFamily="34" charset="0"/>
              </a:defRPr>
            </a:lvl1pPr>
          </a:lstStyle>
          <a:p>
            <a:pPr algn="l"/>
            <a:r>
              <a:rPr lang="en-US" sz="1100" dirty="0">
                <a:solidFill>
                  <a:schemeClr val="bg1"/>
                </a:solidFill>
              </a:rPr>
              <a:t>Add your text here</a:t>
            </a:r>
          </a:p>
        </p:txBody>
      </p:sp>
      <p:sp>
        <p:nvSpPr>
          <p:cNvPr id="501" name="TextBox 500">
            <a:extLst>
              <a:ext uri="{FF2B5EF4-FFF2-40B4-BE49-F238E27FC236}">
                <a16:creationId xmlns:a16="http://schemas.microsoft.com/office/drawing/2014/main" id="{A6E54946-3DE5-41B0-81CE-EADE69CC1634}"/>
              </a:ext>
            </a:extLst>
          </p:cNvPr>
          <p:cNvSpPr txBox="1">
            <a:spLocks/>
          </p:cNvSpPr>
          <p:nvPr/>
        </p:nvSpPr>
        <p:spPr>
          <a:xfrm rot="16200000">
            <a:off x="10200837" y="3935514"/>
            <a:ext cx="107561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algn="ctr">
              <a:defRPr sz="1600">
                <a:latin typeface="+mn-lt"/>
                <a:ea typeface="Open Sans Condensed Light" panose="020B0306030504020204" pitchFamily="34" charset="0"/>
                <a:cs typeface="Open Sans Condensed Light" panose="020B0306030504020204" pitchFamily="34" charset="0"/>
              </a:defRPr>
            </a:lvl1pPr>
          </a:lstStyle>
          <a:p>
            <a:pPr algn="l"/>
            <a:r>
              <a:rPr lang="en-US" sz="1100" dirty="0">
                <a:solidFill>
                  <a:schemeClr val="bg1"/>
                </a:solidFill>
              </a:rPr>
              <a:t>Add your text here</a:t>
            </a:r>
          </a:p>
        </p:txBody>
      </p:sp>
      <p:sp>
        <p:nvSpPr>
          <p:cNvPr id="502" name="TextBox 501">
            <a:extLst>
              <a:ext uri="{FF2B5EF4-FFF2-40B4-BE49-F238E27FC236}">
                <a16:creationId xmlns:a16="http://schemas.microsoft.com/office/drawing/2014/main" id="{28DA0318-BA8F-4761-ACF1-2DCEAE19102B}"/>
              </a:ext>
            </a:extLst>
          </p:cNvPr>
          <p:cNvSpPr txBox="1">
            <a:spLocks/>
          </p:cNvSpPr>
          <p:nvPr/>
        </p:nvSpPr>
        <p:spPr>
          <a:xfrm rot="16200000">
            <a:off x="10704070" y="3374266"/>
            <a:ext cx="107561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algn="ctr">
              <a:defRPr sz="1600">
                <a:latin typeface="+mn-lt"/>
                <a:ea typeface="Open Sans Condensed Light" panose="020B0306030504020204" pitchFamily="34" charset="0"/>
                <a:cs typeface="Open Sans Condensed Light" panose="020B0306030504020204" pitchFamily="34" charset="0"/>
              </a:defRPr>
            </a:lvl1pPr>
          </a:lstStyle>
          <a:p>
            <a:pPr algn="l"/>
            <a:r>
              <a:rPr lang="en-US" sz="1100" dirty="0">
                <a:solidFill>
                  <a:schemeClr val="bg1"/>
                </a:solidFill>
              </a:rPr>
              <a:t>Add your text here</a:t>
            </a:r>
          </a:p>
        </p:txBody>
      </p:sp>
      <p:sp>
        <p:nvSpPr>
          <p:cNvPr id="503" name="TextBox 502">
            <a:extLst>
              <a:ext uri="{FF2B5EF4-FFF2-40B4-BE49-F238E27FC236}">
                <a16:creationId xmlns:a16="http://schemas.microsoft.com/office/drawing/2014/main" id="{555BFDE5-AF85-4B31-8DBF-E453F0538C38}"/>
              </a:ext>
            </a:extLst>
          </p:cNvPr>
          <p:cNvSpPr txBox="1">
            <a:spLocks/>
          </p:cNvSpPr>
          <p:nvPr/>
        </p:nvSpPr>
        <p:spPr>
          <a:xfrm rot="16200000">
            <a:off x="11201136" y="2688712"/>
            <a:ext cx="107561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algn="ctr">
              <a:defRPr sz="1600">
                <a:latin typeface="+mn-lt"/>
                <a:ea typeface="Open Sans Condensed Light" panose="020B0306030504020204" pitchFamily="34" charset="0"/>
                <a:cs typeface="Open Sans Condensed Light" panose="020B0306030504020204" pitchFamily="34" charset="0"/>
              </a:defRPr>
            </a:lvl1pPr>
          </a:lstStyle>
          <a:p>
            <a:pPr algn="l"/>
            <a:r>
              <a:rPr lang="en-US" sz="1100" dirty="0">
                <a:solidFill>
                  <a:schemeClr val="bg1"/>
                </a:solidFill>
              </a:rPr>
              <a:t>Add your text here</a:t>
            </a:r>
          </a:p>
        </p:txBody>
      </p:sp>
    </p:spTree>
    <p:extLst>
      <p:ext uri="{BB962C8B-B14F-4D97-AF65-F5344CB8AC3E}">
        <p14:creationId xmlns:p14="http://schemas.microsoft.com/office/powerpoint/2010/main" val="4116047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11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54" name="think-cell Slide" r:id="rId5" imgW="346" imgH="343" progId="TCLayout.ActiveDocument.1">
                  <p:embed/>
                </p:oleObj>
              </mc:Choice>
              <mc:Fallback>
                <p:oleObj name="think-cell Slide" r:id="rId5" imgW="346" imgH="343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26A4BFE-89AF-4A97-B7F7-C11C4C4CE3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Contact us</a:t>
            </a:r>
            <a:endParaRPr lang="en-IN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FE33A5F-507E-4BB1-B4A6-B66BD30B242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IN"/>
              <a:t>Add your subtitle here</a:t>
            </a:r>
            <a:endParaRPr lang="en-IN" dirty="0"/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D5CF06A1-3E21-43E6-96A2-E92C80299C1C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3186" y="-33944"/>
            <a:ext cx="10357206" cy="6904803"/>
          </a:xfrm>
        </p:spPr>
      </p:pic>
      <p:pic>
        <p:nvPicPr>
          <p:cNvPr id="16" name="Graphic 15" descr="Receiver">
            <a:extLst>
              <a:ext uri="{FF2B5EF4-FFF2-40B4-BE49-F238E27FC236}">
                <a16:creationId xmlns:a16="http://schemas.microsoft.com/office/drawing/2014/main" id="{C7F792D1-740E-4716-BDD7-5E6098D36DB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47700" y="1962150"/>
            <a:ext cx="572672" cy="572672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71BE1D02-03CF-4165-9232-2AB18756520E}"/>
              </a:ext>
            </a:extLst>
          </p:cNvPr>
          <p:cNvSpPr txBox="1"/>
          <p:nvPr/>
        </p:nvSpPr>
        <p:spPr>
          <a:xfrm>
            <a:off x="1312756" y="2048431"/>
            <a:ext cx="29015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You can edit this text.</a:t>
            </a:r>
            <a:endParaRPr lang="en-IN" sz="2000" dirty="0">
              <a:latin typeface="+mn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12" name="Graphic 11" descr="Envelope">
            <a:extLst>
              <a:ext uri="{FF2B5EF4-FFF2-40B4-BE49-F238E27FC236}">
                <a16:creationId xmlns:a16="http://schemas.microsoft.com/office/drawing/2014/main" id="{A69A991B-052D-4C2D-BB87-8113AE5A6D6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48286" y="3035584"/>
            <a:ext cx="571500" cy="57150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EBC3B9D2-5CAA-4E4F-8E3C-55549DBCE4AA}"/>
              </a:ext>
            </a:extLst>
          </p:cNvPr>
          <p:cNvSpPr txBox="1"/>
          <p:nvPr/>
        </p:nvSpPr>
        <p:spPr>
          <a:xfrm>
            <a:off x="1312756" y="3121279"/>
            <a:ext cx="29015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>
                <a:ea typeface="Open Sans Light" panose="020B0306030504020204" pitchFamily="34" charset="0"/>
                <a:cs typeface="Open Sans Light" panose="020B0306030504020204" pitchFamily="34" charset="0"/>
              </a:rPr>
              <a:t>You can edit this text.</a:t>
            </a:r>
            <a:endParaRPr lang="en-IN" sz="2000" dirty="0"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18" name="Graphic 17" descr="Earth Globe Americas">
            <a:extLst>
              <a:ext uri="{FF2B5EF4-FFF2-40B4-BE49-F238E27FC236}">
                <a16:creationId xmlns:a16="http://schemas.microsoft.com/office/drawing/2014/main" id="{38EBE1EE-1E98-4C65-ADF9-A7DE05ECF88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48286" y="4107846"/>
            <a:ext cx="571500" cy="571500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17269F97-3DFB-429C-85BB-5FB82A3929C9}"/>
              </a:ext>
            </a:extLst>
          </p:cNvPr>
          <p:cNvSpPr txBox="1"/>
          <p:nvPr/>
        </p:nvSpPr>
        <p:spPr>
          <a:xfrm>
            <a:off x="1312756" y="4193541"/>
            <a:ext cx="29015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>
                <a:ea typeface="Open Sans Light" panose="020B0306030504020204" pitchFamily="34" charset="0"/>
                <a:cs typeface="Open Sans Light" panose="020B0306030504020204" pitchFamily="34" charset="0"/>
              </a:rPr>
              <a:t>You can edit this text.</a:t>
            </a:r>
            <a:endParaRPr lang="en-IN" sz="2000" dirty="0"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20" name="Graphic 19" descr="House">
            <a:extLst>
              <a:ext uri="{FF2B5EF4-FFF2-40B4-BE49-F238E27FC236}">
                <a16:creationId xmlns:a16="http://schemas.microsoft.com/office/drawing/2014/main" id="{81357B53-AEE7-4B7E-8D92-A32BCB15F8E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48286" y="5180107"/>
            <a:ext cx="571500" cy="571500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1F2404B6-8E36-44F6-82EF-687FB7FD60E3}"/>
              </a:ext>
            </a:extLst>
          </p:cNvPr>
          <p:cNvSpPr txBox="1"/>
          <p:nvPr/>
        </p:nvSpPr>
        <p:spPr>
          <a:xfrm>
            <a:off x="1312756" y="5265802"/>
            <a:ext cx="29015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>
                <a:ea typeface="Open Sans Light" panose="020B0306030504020204" pitchFamily="34" charset="0"/>
                <a:cs typeface="Open Sans Light" panose="020B0306030504020204" pitchFamily="34" charset="0"/>
              </a:rPr>
              <a:t>You can edit this text.</a:t>
            </a:r>
            <a:endParaRPr lang="en-IN" sz="2000" dirty="0"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21137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20616" y="-168"/>
            <a:ext cx="12147625" cy="684658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114" fontAlgn="auto">
              <a:spcBef>
                <a:spcPts val="0"/>
              </a:spcBef>
              <a:spcAft>
                <a:spcPts val="0"/>
              </a:spcAft>
              <a:defRPr/>
            </a:pPr>
            <a:endParaRPr lang="es-UY" sz="2386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" name="Rounded Rectangle 13">
            <a:hlinkClick r:id="rId3"/>
          </p:cNvPr>
          <p:cNvSpPr/>
          <p:nvPr/>
        </p:nvSpPr>
        <p:spPr>
          <a:xfrm>
            <a:off x="7462620" y="4646618"/>
            <a:ext cx="2829486" cy="607381"/>
          </a:xfrm>
          <a:prstGeom prst="roundRect">
            <a:avLst/>
          </a:prstGeom>
          <a:solidFill>
            <a:srgbClr val="F794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1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386" b="1" dirty="0">
                <a:solidFill>
                  <a:prstClr val="white"/>
                </a:solidFill>
                <a:latin typeface="Calibri" panose="020F0502020204030204"/>
              </a:rPr>
              <a:t>SUBSCRIBE NOW</a:t>
            </a:r>
            <a:endParaRPr lang="es-UY" sz="2386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7" name="Freeform 19"/>
          <p:cNvSpPr>
            <a:spLocks noChangeAspect="1" noEditPoints="1"/>
          </p:cNvSpPr>
          <p:nvPr/>
        </p:nvSpPr>
        <p:spPr bwMode="auto">
          <a:xfrm rot="7401880">
            <a:off x="10464307" y="4032802"/>
            <a:ext cx="1837961" cy="740248"/>
          </a:xfrm>
          <a:custGeom>
            <a:avLst/>
            <a:gdLst>
              <a:gd name="T0" fmla="*/ 715 w 868"/>
              <a:gd name="T1" fmla="*/ 128 h 351"/>
              <a:gd name="T2" fmla="*/ 363 w 868"/>
              <a:gd name="T3" fmla="*/ 50 h 351"/>
              <a:gd name="T4" fmla="*/ 226 w 868"/>
              <a:gd name="T5" fmla="*/ 94 h 351"/>
              <a:gd name="T6" fmla="*/ 155 w 868"/>
              <a:gd name="T7" fmla="*/ 112 h 351"/>
              <a:gd name="T8" fmla="*/ 111 w 868"/>
              <a:gd name="T9" fmla="*/ 138 h 351"/>
              <a:gd name="T10" fmla="*/ 85 w 868"/>
              <a:gd name="T11" fmla="*/ 163 h 351"/>
              <a:gd name="T12" fmla="*/ 104 w 868"/>
              <a:gd name="T13" fmla="*/ 185 h 351"/>
              <a:gd name="T14" fmla="*/ 69 w 868"/>
              <a:gd name="T15" fmla="*/ 174 h 351"/>
              <a:gd name="T16" fmla="*/ 92 w 868"/>
              <a:gd name="T17" fmla="*/ 203 h 351"/>
              <a:gd name="T18" fmla="*/ 66 w 868"/>
              <a:gd name="T19" fmla="*/ 192 h 351"/>
              <a:gd name="T20" fmla="*/ 75 w 868"/>
              <a:gd name="T21" fmla="*/ 207 h 351"/>
              <a:gd name="T22" fmla="*/ 72 w 868"/>
              <a:gd name="T23" fmla="*/ 224 h 351"/>
              <a:gd name="T24" fmla="*/ 64 w 868"/>
              <a:gd name="T25" fmla="*/ 228 h 351"/>
              <a:gd name="T26" fmla="*/ 29 w 868"/>
              <a:gd name="T27" fmla="*/ 217 h 351"/>
              <a:gd name="T28" fmla="*/ 31 w 868"/>
              <a:gd name="T29" fmla="*/ 228 h 351"/>
              <a:gd name="T30" fmla="*/ 53 w 868"/>
              <a:gd name="T31" fmla="*/ 253 h 351"/>
              <a:gd name="T32" fmla="*/ 36 w 868"/>
              <a:gd name="T33" fmla="*/ 257 h 351"/>
              <a:gd name="T34" fmla="*/ 774 w 868"/>
              <a:gd name="T35" fmla="*/ 258 h 351"/>
              <a:gd name="T36" fmla="*/ 640 w 868"/>
              <a:gd name="T37" fmla="*/ 136 h 351"/>
              <a:gd name="T38" fmla="*/ 376 w 868"/>
              <a:gd name="T39" fmla="*/ 47 h 351"/>
              <a:gd name="T40" fmla="*/ 235 w 868"/>
              <a:gd name="T41" fmla="*/ 76 h 351"/>
              <a:gd name="T42" fmla="*/ 221 w 868"/>
              <a:gd name="T43" fmla="*/ 70 h 351"/>
              <a:gd name="T44" fmla="*/ 180 w 868"/>
              <a:gd name="T45" fmla="*/ 89 h 351"/>
              <a:gd name="T46" fmla="*/ 168 w 868"/>
              <a:gd name="T47" fmla="*/ 110 h 351"/>
              <a:gd name="T48" fmla="*/ 140 w 868"/>
              <a:gd name="T49" fmla="*/ 145 h 351"/>
              <a:gd name="T50" fmla="*/ 81 w 868"/>
              <a:gd name="T51" fmla="*/ 192 h 351"/>
              <a:gd name="T52" fmla="*/ 126 w 868"/>
              <a:gd name="T53" fmla="*/ 134 h 351"/>
              <a:gd name="T54" fmla="*/ 253 w 868"/>
              <a:gd name="T55" fmla="*/ 36 h 351"/>
              <a:gd name="T56" fmla="*/ 399 w 868"/>
              <a:gd name="T57" fmla="*/ 2 h 351"/>
              <a:gd name="T58" fmla="*/ 510 w 868"/>
              <a:gd name="T59" fmla="*/ 14 h 351"/>
              <a:gd name="T60" fmla="*/ 732 w 868"/>
              <a:gd name="T61" fmla="*/ 145 h 351"/>
              <a:gd name="T62" fmla="*/ 794 w 868"/>
              <a:gd name="T63" fmla="*/ 260 h 351"/>
              <a:gd name="T64" fmla="*/ 787 w 868"/>
              <a:gd name="T65" fmla="*/ 222 h 351"/>
              <a:gd name="T66" fmla="*/ 721 w 868"/>
              <a:gd name="T67" fmla="*/ 150 h 351"/>
              <a:gd name="T68" fmla="*/ 533 w 868"/>
              <a:gd name="T69" fmla="*/ 22 h 351"/>
              <a:gd name="T70" fmla="*/ 380 w 868"/>
              <a:gd name="T71" fmla="*/ 47 h 351"/>
              <a:gd name="T72" fmla="*/ 307 w 868"/>
              <a:gd name="T73" fmla="*/ 53 h 351"/>
              <a:gd name="T74" fmla="*/ 281 w 868"/>
              <a:gd name="T75" fmla="*/ 47 h 351"/>
              <a:gd name="T76" fmla="*/ 242 w 868"/>
              <a:gd name="T77" fmla="*/ 43 h 351"/>
              <a:gd name="T78" fmla="*/ 222 w 868"/>
              <a:gd name="T79" fmla="*/ 51 h 351"/>
              <a:gd name="T80" fmla="*/ 197 w 868"/>
              <a:gd name="T81" fmla="*/ 73 h 351"/>
              <a:gd name="T82" fmla="*/ 164 w 868"/>
              <a:gd name="T83" fmla="*/ 99 h 351"/>
              <a:gd name="T84" fmla="*/ 142 w 868"/>
              <a:gd name="T85" fmla="*/ 117 h 351"/>
              <a:gd name="T86" fmla="*/ 141 w 868"/>
              <a:gd name="T87" fmla="*/ 138 h 351"/>
              <a:gd name="T88" fmla="*/ 124 w 868"/>
              <a:gd name="T89" fmla="*/ 129 h 351"/>
              <a:gd name="T90" fmla="*/ 113 w 868"/>
              <a:gd name="T91" fmla="*/ 142 h 351"/>
              <a:gd name="T92" fmla="*/ 337 w 868"/>
              <a:gd name="T93" fmla="*/ 9 h 351"/>
              <a:gd name="T94" fmla="*/ 168 w 868"/>
              <a:gd name="T95" fmla="*/ 125 h 351"/>
              <a:gd name="T96" fmla="*/ 197 w 868"/>
              <a:gd name="T97" fmla="*/ 105 h 351"/>
              <a:gd name="T98" fmla="*/ 131 w 868"/>
              <a:gd name="T99" fmla="*/ 159 h 351"/>
              <a:gd name="T100" fmla="*/ 88 w 868"/>
              <a:gd name="T101" fmla="*/ 171 h 351"/>
              <a:gd name="T102" fmla="*/ 85 w 868"/>
              <a:gd name="T103" fmla="*/ 191 h 351"/>
              <a:gd name="T104" fmla="*/ 79 w 868"/>
              <a:gd name="T105" fmla="*/ 215 h 351"/>
              <a:gd name="T106" fmla="*/ 48 w 868"/>
              <a:gd name="T107" fmla="*/ 193 h 351"/>
              <a:gd name="T108" fmla="*/ 64 w 868"/>
              <a:gd name="T109" fmla="*/ 238 h 351"/>
              <a:gd name="T110" fmla="*/ 17 w 868"/>
              <a:gd name="T111" fmla="*/ 235 h 351"/>
              <a:gd name="T112" fmla="*/ 87 w 868"/>
              <a:gd name="T113" fmla="*/ 158 h 351"/>
              <a:gd name="T114" fmla="*/ 865 w 868"/>
              <a:gd name="T115" fmla="*/ 172 h 351"/>
              <a:gd name="T116" fmla="*/ 859 w 868"/>
              <a:gd name="T117" fmla="*/ 117 h 351"/>
              <a:gd name="T118" fmla="*/ 782 w 868"/>
              <a:gd name="T119" fmla="*/ 277 h 351"/>
              <a:gd name="T120" fmla="*/ 841 w 868"/>
              <a:gd name="T121" fmla="*/ 164 h 351"/>
              <a:gd name="T122" fmla="*/ 861 w 868"/>
              <a:gd name="T123" fmla="*/ 201 h 351"/>
              <a:gd name="T124" fmla="*/ 666 w 868"/>
              <a:gd name="T125" fmla="*/ 296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68" h="351">
                <a:moveTo>
                  <a:pt x="813" y="278"/>
                </a:moveTo>
                <a:cubicBezTo>
                  <a:pt x="812" y="276"/>
                  <a:pt x="811" y="275"/>
                  <a:pt x="812" y="275"/>
                </a:cubicBezTo>
                <a:cubicBezTo>
                  <a:pt x="813" y="277"/>
                  <a:pt x="813" y="278"/>
                  <a:pt x="813" y="278"/>
                </a:cubicBezTo>
                <a:close/>
                <a:moveTo>
                  <a:pt x="812" y="266"/>
                </a:moveTo>
                <a:cubicBezTo>
                  <a:pt x="813" y="269"/>
                  <a:pt x="814" y="269"/>
                  <a:pt x="814" y="271"/>
                </a:cubicBezTo>
                <a:cubicBezTo>
                  <a:pt x="813" y="267"/>
                  <a:pt x="813" y="271"/>
                  <a:pt x="813" y="270"/>
                </a:cubicBezTo>
                <a:cubicBezTo>
                  <a:pt x="815" y="276"/>
                  <a:pt x="814" y="270"/>
                  <a:pt x="815" y="272"/>
                </a:cubicBezTo>
                <a:cubicBezTo>
                  <a:pt x="814" y="268"/>
                  <a:pt x="813" y="267"/>
                  <a:pt x="812" y="266"/>
                </a:cubicBezTo>
                <a:close/>
                <a:moveTo>
                  <a:pt x="781" y="282"/>
                </a:moveTo>
                <a:cubicBezTo>
                  <a:pt x="782" y="285"/>
                  <a:pt x="783" y="285"/>
                  <a:pt x="784" y="284"/>
                </a:cubicBezTo>
                <a:cubicBezTo>
                  <a:pt x="782" y="282"/>
                  <a:pt x="782" y="282"/>
                  <a:pt x="781" y="282"/>
                </a:cubicBezTo>
                <a:close/>
                <a:moveTo>
                  <a:pt x="798" y="267"/>
                </a:moveTo>
                <a:cubicBezTo>
                  <a:pt x="798" y="268"/>
                  <a:pt x="801" y="272"/>
                  <a:pt x="801" y="272"/>
                </a:cubicBezTo>
                <a:cubicBezTo>
                  <a:pt x="801" y="269"/>
                  <a:pt x="799" y="267"/>
                  <a:pt x="798" y="267"/>
                </a:cubicBezTo>
                <a:close/>
                <a:moveTo>
                  <a:pt x="791" y="270"/>
                </a:moveTo>
                <a:cubicBezTo>
                  <a:pt x="791" y="272"/>
                  <a:pt x="793" y="275"/>
                  <a:pt x="793" y="276"/>
                </a:cubicBezTo>
                <a:cubicBezTo>
                  <a:pt x="793" y="274"/>
                  <a:pt x="791" y="271"/>
                  <a:pt x="791" y="270"/>
                </a:cubicBezTo>
                <a:close/>
                <a:moveTo>
                  <a:pt x="789" y="269"/>
                </a:moveTo>
                <a:cubicBezTo>
                  <a:pt x="788" y="269"/>
                  <a:pt x="791" y="272"/>
                  <a:pt x="790" y="273"/>
                </a:cubicBezTo>
                <a:cubicBezTo>
                  <a:pt x="789" y="270"/>
                  <a:pt x="788" y="270"/>
                  <a:pt x="787" y="270"/>
                </a:cubicBezTo>
                <a:cubicBezTo>
                  <a:pt x="789" y="273"/>
                  <a:pt x="790" y="274"/>
                  <a:pt x="791" y="276"/>
                </a:cubicBezTo>
                <a:cubicBezTo>
                  <a:pt x="792" y="276"/>
                  <a:pt x="792" y="274"/>
                  <a:pt x="793" y="276"/>
                </a:cubicBezTo>
                <a:cubicBezTo>
                  <a:pt x="792" y="273"/>
                  <a:pt x="791" y="272"/>
                  <a:pt x="789" y="269"/>
                </a:cubicBezTo>
                <a:close/>
                <a:moveTo>
                  <a:pt x="801" y="266"/>
                </a:moveTo>
                <a:cubicBezTo>
                  <a:pt x="800" y="266"/>
                  <a:pt x="800" y="268"/>
                  <a:pt x="801" y="271"/>
                </a:cubicBezTo>
                <a:cubicBezTo>
                  <a:pt x="802" y="271"/>
                  <a:pt x="801" y="267"/>
                  <a:pt x="801" y="266"/>
                </a:cubicBezTo>
                <a:close/>
                <a:moveTo>
                  <a:pt x="799" y="270"/>
                </a:moveTo>
                <a:cubicBezTo>
                  <a:pt x="799" y="270"/>
                  <a:pt x="798" y="270"/>
                  <a:pt x="798" y="269"/>
                </a:cubicBezTo>
                <a:cubicBezTo>
                  <a:pt x="797" y="269"/>
                  <a:pt x="797" y="270"/>
                  <a:pt x="798" y="272"/>
                </a:cubicBezTo>
                <a:cubicBezTo>
                  <a:pt x="798" y="271"/>
                  <a:pt x="800" y="273"/>
                  <a:pt x="799" y="270"/>
                </a:cubicBezTo>
                <a:close/>
                <a:moveTo>
                  <a:pt x="770" y="269"/>
                </a:moveTo>
                <a:cubicBezTo>
                  <a:pt x="771" y="271"/>
                  <a:pt x="772" y="272"/>
                  <a:pt x="773" y="272"/>
                </a:cubicBezTo>
                <a:cubicBezTo>
                  <a:pt x="772" y="270"/>
                  <a:pt x="771" y="269"/>
                  <a:pt x="770" y="269"/>
                </a:cubicBezTo>
                <a:close/>
                <a:moveTo>
                  <a:pt x="807" y="248"/>
                </a:moveTo>
                <a:cubicBezTo>
                  <a:pt x="808" y="250"/>
                  <a:pt x="810" y="253"/>
                  <a:pt x="810" y="252"/>
                </a:cubicBezTo>
                <a:cubicBezTo>
                  <a:pt x="809" y="249"/>
                  <a:pt x="808" y="247"/>
                  <a:pt x="807" y="248"/>
                </a:cubicBezTo>
                <a:close/>
                <a:moveTo>
                  <a:pt x="802" y="246"/>
                </a:moveTo>
                <a:cubicBezTo>
                  <a:pt x="803" y="247"/>
                  <a:pt x="803" y="248"/>
                  <a:pt x="804" y="251"/>
                </a:cubicBezTo>
                <a:cubicBezTo>
                  <a:pt x="805" y="251"/>
                  <a:pt x="803" y="245"/>
                  <a:pt x="802" y="246"/>
                </a:cubicBezTo>
                <a:close/>
                <a:moveTo>
                  <a:pt x="805" y="245"/>
                </a:moveTo>
                <a:cubicBezTo>
                  <a:pt x="803" y="240"/>
                  <a:pt x="804" y="239"/>
                  <a:pt x="802" y="235"/>
                </a:cubicBezTo>
                <a:cubicBezTo>
                  <a:pt x="800" y="234"/>
                  <a:pt x="796" y="236"/>
                  <a:pt x="801" y="245"/>
                </a:cubicBezTo>
                <a:cubicBezTo>
                  <a:pt x="801" y="242"/>
                  <a:pt x="806" y="248"/>
                  <a:pt x="805" y="245"/>
                </a:cubicBezTo>
                <a:close/>
                <a:moveTo>
                  <a:pt x="759" y="246"/>
                </a:moveTo>
                <a:cubicBezTo>
                  <a:pt x="759" y="247"/>
                  <a:pt x="758" y="246"/>
                  <a:pt x="758" y="246"/>
                </a:cubicBezTo>
                <a:cubicBezTo>
                  <a:pt x="759" y="248"/>
                  <a:pt x="760" y="248"/>
                  <a:pt x="759" y="248"/>
                </a:cubicBezTo>
                <a:cubicBezTo>
                  <a:pt x="760" y="250"/>
                  <a:pt x="760" y="250"/>
                  <a:pt x="761" y="250"/>
                </a:cubicBezTo>
                <a:cubicBezTo>
                  <a:pt x="759" y="248"/>
                  <a:pt x="760" y="248"/>
                  <a:pt x="759" y="246"/>
                </a:cubicBezTo>
                <a:close/>
                <a:moveTo>
                  <a:pt x="766" y="178"/>
                </a:moveTo>
                <a:cubicBezTo>
                  <a:pt x="766" y="178"/>
                  <a:pt x="766" y="178"/>
                  <a:pt x="767" y="180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67" y="179"/>
                  <a:pt x="768" y="180"/>
                  <a:pt x="766" y="178"/>
                </a:cubicBezTo>
                <a:close/>
                <a:moveTo>
                  <a:pt x="756" y="167"/>
                </a:moveTo>
                <a:cubicBezTo>
                  <a:pt x="757" y="168"/>
                  <a:pt x="758" y="169"/>
                  <a:pt x="757" y="169"/>
                </a:cubicBezTo>
                <a:cubicBezTo>
                  <a:pt x="762" y="175"/>
                  <a:pt x="758" y="167"/>
                  <a:pt x="756" y="167"/>
                </a:cubicBezTo>
                <a:close/>
                <a:moveTo>
                  <a:pt x="713" y="128"/>
                </a:moveTo>
                <a:cubicBezTo>
                  <a:pt x="713" y="127"/>
                  <a:pt x="714" y="127"/>
                  <a:pt x="715" y="128"/>
                </a:cubicBezTo>
                <a:cubicBezTo>
                  <a:pt x="712" y="125"/>
                  <a:pt x="710" y="125"/>
                  <a:pt x="713" y="128"/>
                </a:cubicBezTo>
                <a:close/>
                <a:moveTo>
                  <a:pt x="640" y="70"/>
                </a:moveTo>
                <a:cubicBezTo>
                  <a:pt x="634" y="64"/>
                  <a:pt x="636" y="68"/>
                  <a:pt x="640" y="70"/>
                </a:cubicBezTo>
                <a:close/>
                <a:moveTo>
                  <a:pt x="545" y="23"/>
                </a:moveTo>
                <a:cubicBezTo>
                  <a:pt x="544" y="24"/>
                  <a:pt x="548" y="25"/>
                  <a:pt x="549" y="24"/>
                </a:cubicBezTo>
                <a:cubicBezTo>
                  <a:pt x="546" y="24"/>
                  <a:pt x="547" y="24"/>
                  <a:pt x="545" y="23"/>
                </a:cubicBezTo>
                <a:close/>
                <a:moveTo>
                  <a:pt x="539" y="20"/>
                </a:moveTo>
                <a:cubicBezTo>
                  <a:pt x="539" y="20"/>
                  <a:pt x="538" y="20"/>
                  <a:pt x="538" y="20"/>
                </a:cubicBezTo>
                <a:cubicBezTo>
                  <a:pt x="540" y="21"/>
                  <a:pt x="543" y="22"/>
                  <a:pt x="543" y="21"/>
                </a:cubicBezTo>
                <a:cubicBezTo>
                  <a:pt x="540" y="20"/>
                  <a:pt x="540" y="21"/>
                  <a:pt x="539" y="20"/>
                </a:cubicBezTo>
                <a:close/>
                <a:moveTo>
                  <a:pt x="530" y="17"/>
                </a:moveTo>
                <a:cubicBezTo>
                  <a:pt x="529" y="18"/>
                  <a:pt x="534" y="19"/>
                  <a:pt x="534" y="18"/>
                </a:cubicBezTo>
                <a:lnTo>
                  <a:pt x="530" y="17"/>
                </a:lnTo>
                <a:close/>
                <a:moveTo>
                  <a:pt x="524" y="16"/>
                </a:moveTo>
                <a:cubicBezTo>
                  <a:pt x="524" y="16"/>
                  <a:pt x="522" y="16"/>
                  <a:pt x="522" y="17"/>
                </a:cubicBezTo>
                <a:cubicBezTo>
                  <a:pt x="524" y="17"/>
                  <a:pt x="527" y="18"/>
                  <a:pt x="529" y="18"/>
                </a:cubicBezTo>
                <a:cubicBezTo>
                  <a:pt x="528" y="17"/>
                  <a:pt x="526" y="17"/>
                  <a:pt x="524" y="16"/>
                </a:cubicBezTo>
                <a:close/>
                <a:moveTo>
                  <a:pt x="498" y="10"/>
                </a:moveTo>
                <a:cubicBezTo>
                  <a:pt x="501" y="10"/>
                  <a:pt x="502" y="10"/>
                  <a:pt x="503" y="10"/>
                </a:cubicBezTo>
                <a:cubicBezTo>
                  <a:pt x="502" y="10"/>
                  <a:pt x="498" y="9"/>
                  <a:pt x="498" y="10"/>
                </a:cubicBezTo>
                <a:close/>
                <a:moveTo>
                  <a:pt x="467" y="7"/>
                </a:moveTo>
                <a:cubicBezTo>
                  <a:pt x="468" y="7"/>
                  <a:pt x="473" y="8"/>
                  <a:pt x="473" y="7"/>
                </a:cubicBezTo>
                <a:cubicBezTo>
                  <a:pt x="470" y="7"/>
                  <a:pt x="467" y="6"/>
                  <a:pt x="467" y="7"/>
                </a:cubicBezTo>
                <a:close/>
                <a:moveTo>
                  <a:pt x="443" y="52"/>
                </a:moveTo>
                <a:cubicBezTo>
                  <a:pt x="443" y="52"/>
                  <a:pt x="443" y="52"/>
                  <a:pt x="443" y="53"/>
                </a:cubicBezTo>
                <a:cubicBezTo>
                  <a:pt x="445" y="53"/>
                  <a:pt x="444" y="54"/>
                  <a:pt x="447" y="54"/>
                </a:cubicBezTo>
                <a:cubicBezTo>
                  <a:pt x="446" y="53"/>
                  <a:pt x="446" y="53"/>
                  <a:pt x="448" y="53"/>
                </a:cubicBezTo>
                <a:cubicBezTo>
                  <a:pt x="447" y="52"/>
                  <a:pt x="446" y="52"/>
                  <a:pt x="443" y="52"/>
                </a:cubicBezTo>
                <a:close/>
                <a:moveTo>
                  <a:pt x="435" y="51"/>
                </a:moveTo>
                <a:cubicBezTo>
                  <a:pt x="435" y="52"/>
                  <a:pt x="430" y="51"/>
                  <a:pt x="431" y="51"/>
                </a:cubicBezTo>
                <a:cubicBezTo>
                  <a:pt x="432" y="51"/>
                  <a:pt x="436" y="52"/>
                  <a:pt x="437" y="52"/>
                </a:cubicBezTo>
                <a:cubicBezTo>
                  <a:pt x="435" y="52"/>
                  <a:pt x="437" y="51"/>
                  <a:pt x="435" y="51"/>
                </a:cubicBezTo>
                <a:close/>
                <a:moveTo>
                  <a:pt x="402" y="50"/>
                </a:moveTo>
                <a:cubicBezTo>
                  <a:pt x="404" y="50"/>
                  <a:pt x="406" y="50"/>
                  <a:pt x="406" y="49"/>
                </a:cubicBezTo>
                <a:cubicBezTo>
                  <a:pt x="404" y="49"/>
                  <a:pt x="402" y="49"/>
                  <a:pt x="402" y="50"/>
                </a:cubicBezTo>
                <a:close/>
                <a:moveTo>
                  <a:pt x="391" y="1"/>
                </a:moveTo>
                <a:cubicBezTo>
                  <a:pt x="391" y="2"/>
                  <a:pt x="395" y="2"/>
                  <a:pt x="397" y="2"/>
                </a:cubicBezTo>
                <a:cubicBezTo>
                  <a:pt x="397" y="2"/>
                  <a:pt x="395" y="2"/>
                  <a:pt x="395" y="3"/>
                </a:cubicBezTo>
                <a:cubicBezTo>
                  <a:pt x="396" y="3"/>
                  <a:pt x="397" y="3"/>
                  <a:pt x="398" y="3"/>
                </a:cubicBezTo>
                <a:cubicBezTo>
                  <a:pt x="397" y="2"/>
                  <a:pt x="401" y="4"/>
                  <a:pt x="402" y="3"/>
                </a:cubicBezTo>
                <a:cubicBezTo>
                  <a:pt x="400" y="2"/>
                  <a:pt x="396" y="3"/>
                  <a:pt x="399" y="2"/>
                </a:cubicBezTo>
                <a:cubicBezTo>
                  <a:pt x="393" y="2"/>
                  <a:pt x="395" y="1"/>
                  <a:pt x="391" y="1"/>
                </a:cubicBezTo>
                <a:close/>
                <a:moveTo>
                  <a:pt x="394" y="3"/>
                </a:moveTo>
                <a:cubicBezTo>
                  <a:pt x="391" y="3"/>
                  <a:pt x="389" y="3"/>
                  <a:pt x="388" y="3"/>
                </a:cubicBezTo>
                <a:cubicBezTo>
                  <a:pt x="391" y="3"/>
                  <a:pt x="394" y="4"/>
                  <a:pt x="395" y="3"/>
                </a:cubicBezTo>
                <a:cubicBezTo>
                  <a:pt x="394" y="3"/>
                  <a:pt x="394" y="3"/>
                  <a:pt x="394" y="3"/>
                </a:cubicBezTo>
                <a:close/>
                <a:moveTo>
                  <a:pt x="384" y="2"/>
                </a:moveTo>
                <a:cubicBezTo>
                  <a:pt x="386" y="2"/>
                  <a:pt x="388" y="2"/>
                  <a:pt x="389" y="2"/>
                </a:cubicBezTo>
                <a:cubicBezTo>
                  <a:pt x="387" y="2"/>
                  <a:pt x="384" y="2"/>
                  <a:pt x="384" y="2"/>
                </a:cubicBezTo>
                <a:close/>
                <a:moveTo>
                  <a:pt x="371" y="5"/>
                </a:moveTo>
                <a:cubicBezTo>
                  <a:pt x="370" y="6"/>
                  <a:pt x="367" y="6"/>
                  <a:pt x="365" y="6"/>
                </a:cubicBezTo>
                <a:cubicBezTo>
                  <a:pt x="367" y="7"/>
                  <a:pt x="377" y="6"/>
                  <a:pt x="377" y="5"/>
                </a:cubicBezTo>
                <a:cubicBezTo>
                  <a:pt x="374" y="5"/>
                  <a:pt x="374" y="5"/>
                  <a:pt x="371" y="5"/>
                </a:cubicBezTo>
                <a:close/>
                <a:moveTo>
                  <a:pt x="364" y="51"/>
                </a:moveTo>
                <a:cubicBezTo>
                  <a:pt x="364" y="52"/>
                  <a:pt x="367" y="51"/>
                  <a:pt x="370" y="51"/>
                </a:cubicBezTo>
                <a:cubicBezTo>
                  <a:pt x="370" y="51"/>
                  <a:pt x="366" y="51"/>
                  <a:pt x="364" y="51"/>
                </a:cubicBezTo>
                <a:close/>
                <a:moveTo>
                  <a:pt x="363" y="50"/>
                </a:moveTo>
                <a:cubicBezTo>
                  <a:pt x="365" y="49"/>
                  <a:pt x="366" y="49"/>
                  <a:pt x="367" y="49"/>
                </a:cubicBezTo>
                <a:cubicBezTo>
                  <a:pt x="365" y="48"/>
                  <a:pt x="363" y="49"/>
                  <a:pt x="363" y="50"/>
                </a:cubicBezTo>
                <a:close/>
                <a:moveTo>
                  <a:pt x="326" y="13"/>
                </a:moveTo>
                <a:cubicBezTo>
                  <a:pt x="327" y="12"/>
                  <a:pt x="332" y="11"/>
                  <a:pt x="333" y="11"/>
                </a:cubicBezTo>
                <a:cubicBezTo>
                  <a:pt x="329" y="11"/>
                  <a:pt x="328" y="12"/>
                  <a:pt x="326" y="13"/>
                </a:cubicBezTo>
                <a:close/>
                <a:moveTo>
                  <a:pt x="321" y="10"/>
                </a:moveTo>
                <a:cubicBezTo>
                  <a:pt x="322" y="11"/>
                  <a:pt x="325" y="10"/>
                  <a:pt x="329" y="9"/>
                </a:cubicBezTo>
                <a:cubicBezTo>
                  <a:pt x="329" y="9"/>
                  <a:pt x="329" y="9"/>
                  <a:pt x="328" y="9"/>
                </a:cubicBezTo>
                <a:cubicBezTo>
                  <a:pt x="326" y="10"/>
                  <a:pt x="323" y="10"/>
                  <a:pt x="321" y="10"/>
                </a:cubicBezTo>
                <a:close/>
                <a:moveTo>
                  <a:pt x="322" y="58"/>
                </a:moveTo>
                <a:cubicBezTo>
                  <a:pt x="323" y="58"/>
                  <a:pt x="326" y="58"/>
                  <a:pt x="328" y="58"/>
                </a:cubicBezTo>
                <a:cubicBezTo>
                  <a:pt x="327" y="57"/>
                  <a:pt x="325" y="57"/>
                  <a:pt x="322" y="58"/>
                </a:cubicBezTo>
                <a:close/>
                <a:moveTo>
                  <a:pt x="313" y="59"/>
                </a:moveTo>
                <a:cubicBezTo>
                  <a:pt x="314" y="60"/>
                  <a:pt x="309" y="60"/>
                  <a:pt x="309" y="61"/>
                </a:cubicBezTo>
                <a:cubicBezTo>
                  <a:pt x="311" y="61"/>
                  <a:pt x="312" y="61"/>
                  <a:pt x="316" y="60"/>
                </a:cubicBezTo>
                <a:cubicBezTo>
                  <a:pt x="315" y="60"/>
                  <a:pt x="316" y="59"/>
                  <a:pt x="313" y="59"/>
                </a:cubicBezTo>
                <a:close/>
                <a:moveTo>
                  <a:pt x="286" y="24"/>
                </a:moveTo>
                <a:cubicBezTo>
                  <a:pt x="286" y="24"/>
                  <a:pt x="280" y="25"/>
                  <a:pt x="280" y="26"/>
                </a:cubicBezTo>
                <a:cubicBezTo>
                  <a:pt x="281" y="26"/>
                  <a:pt x="280" y="26"/>
                  <a:pt x="281" y="26"/>
                </a:cubicBezTo>
                <a:cubicBezTo>
                  <a:pt x="282" y="26"/>
                  <a:pt x="284" y="25"/>
                  <a:pt x="285" y="24"/>
                </a:cubicBezTo>
                <a:cubicBezTo>
                  <a:pt x="285" y="25"/>
                  <a:pt x="286" y="25"/>
                  <a:pt x="287" y="25"/>
                </a:cubicBezTo>
                <a:cubicBezTo>
                  <a:pt x="290" y="24"/>
                  <a:pt x="290" y="24"/>
                  <a:pt x="294" y="23"/>
                </a:cubicBezTo>
                <a:cubicBezTo>
                  <a:pt x="293" y="22"/>
                  <a:pt x="293" y="22"/>
                  <a:pt x="293" y="22"/>
                </a:cubicBezTo>
                <a:cubicBezTo>
                  <a:pt x="290" y="23"/>
                  <a:pt x="288" y="23"/>
                  <a:pt x="286" y="24"/>
                </a:cubicBezTo>
                <a:close/>
                <a:moveTo>
                  <a:pt x="287" y="68"/>
                </a:moveTo>
                <a:cubicBezTo>
                  <a:pt x="289" y="67"/>
                  <a:pt x="289" y="67"/>
                  <a:pt x="289" y="66"/>
                </a:cubicBezTo>
                <a:cubicBezTo>
                  <a:pt x="287" y="67"/>
                  <a:pt x="287" y="67"/>
                  <a:pt x="287" y="68"/>
                </a:cubicBezTo>
                <a:close/>
                <a:moveTo>
                  <a:pt x="237" y="80"/>
                </a:moveTo>
                <a:cubicBezTo>
                  <a:pt x="236" y="81"/>
                  <a:pt x="235" y="83"/>
                  <a:pt x="230" y="86"/>
                </a:cubicBezTo>
                <a:cubicBezTo>
                  <a:pt x="227" y="86"/>
                  <a:pt x="224" y="88"/>
                  <a:pt x="221" y="89"/>
                </a:cubicBezTo>
                <a:cubicBezTo>
                  <a:pt x="221" y="89"/>
                  <a:pt x="221" y="90"/>
                  <a:pt x="220" y="91"/>
                </a:cubicBezTo>
                <a:cubicBezTo>
                  <a:pt x="219" y="91"/>
                  <a:pt x="215" y="92"/>
                  <a:pt x="215" y="93"/>
                </a:cubicBezTo>
                <a:cubicBezTo>
                  <a:pt x="217" y="93"/>
                  <a:pt x="218" y="93"/>
                  <a:pt x="220" y="92"/>
                </a:cubicBezTo>
                <a:cubicBezTo>
                  <a:pt x="222" y="91"/>
                  <a:pt x="219" y="91"/>
                  <a:pt x="221" y="90"/>
                </a:cubicBezTo>
                <a:cubicBezTo>
                  <a:pt x="227" y="88"/>
                  <a:pt x="233" y="84"/>
                  <a:pt x="238" y="81"/>
                </a:cubicBezTo>
                <a:cubicBezTo>
                  <a:pt x="237" y="81"/>
                  <a:pt x="237" y="81"/>
                  <a:pt x="236" y="81"/>
                </a:cubicBezTo>
                <a:cubicBezTo>
                  <a:pt x="239" y="80"/>
                  <a:pt x="241" y="79"/>
                  <a:pt x="242" y="78"/>
                </a:cubicBezTo>
                <a:cubicBezTo>
                  <a:pt x="239" y="79"/>
                  <a:pt x="238" y="79"/>
                  <a:pt x="237" y="80"/>
                </a:cubicBezTo>
                <a:close/>
                <a:moveTo>
                  <a:pt x="228" y="79"/>
                </a:moveTo>
                <a:cubicBezTo>
                  <a:pt x="228" y="80"/>
                  <a:pt x="230" y="79"/>
                  <a:pt x="228" y="80"/>
                </a:cubicBezTo>
                <a:cubicBezTo>
                  <a:pt x="228" y="80"/>
                  <a:pt x="224" y="82"/>
                  <a:pt x="224" y="81"/>
                </a:cubicBezTo>
                <a:cubicBezTo>
                  <a:pt x="219" y="84"/>
                  <a:pt x="214" y="86"/>
                  <a:pt x="212" y="89"/>
                </a:cubicBezTo>
                <a:cubicBezTo>
                  <a:pt x="217" y="86"/>
                  <a:pt x="220" y="83"/>
                  <a:pt x="224" y="82"/>
                </a:cubicBezTo>
                <a:cubicBezTo>
                  <a:pt x="224" y="82"/>
                  <a:pt x="222" y="83"/>
                  <a:pt x="223" y="83"/>
                </a:cubicBezTo>
                <a:cubicBezTo>
                  <a:pt x="226" y="82"/>
                  <a:pt x="228" y="80"/>
                  <a:pt x="232" y="79"/>
                </a:cubicBezTo>
                <a:cubicBezTo>
                  <a:pt x="231" y="78"/>
                  <a:pt x="231" y="78"/>
                  <a:pt x="228" y="79"/>
                </a:cubicBezTo>
                <a:close/>
                <a:moveTo>
                  <a:pt x="209" y="55"/>
                </a:moveTo>
                <a:cubicBezTo>
                  <a:pt x="212" y="54"/>
                  <a:pt x="215" y="52"/>
                  <a:pt x="216" y="50"/>
                </a:cubicBezTo>
                <a:cubicBezTo>
                  <a:pt x="212" y="52"/>
                  <a:pt x="211" y="53"/>
                  <a:pt x="209" y="55"/>
                </a:cubicBezTo>
                <a:close/>
                <a:moveTo>
                  <a:pt x="220" y="66"/>
                </a:moveTo>
                <a:cubicBezTo>
                  <a:pt x="223" y="64"/>
                  <a:pt x="220" y="67"/>
                  <a:pt x="223" y="65"/>
                </a:cubicBezTo>
                <a:cubicBezTo>
                  <a:pt x="224" y="64"/>
                  <a:pt x="223" y="65"/>
                  <a:pt x="223" y="64"/>
                </a:cubicBezTo>
                <a:cubicBezTo>
                  <a:pt x="222" y="65"/>
                  <a:pt x="220" y="65"/>
                  <a:pt x="220" y="66"/>
                </a:cubicBezTo>
                <a:close/>
                <a:moveTo>
                  <a:pt x="217" y="67"/>
                </a:moveTo>
                <a:cubicBezTo>
                  <a:pt x="214" y="69"/>
                  <a:pt x="216" y="70"/>
                  <a:pt x="219" y="67"/>
                </a:cubicBezTo>
                <a:cubicBezTo>
                  <a:pt x="214" y="69"/>
                  <a:pt x="222" y="65"/>
                  <a:pt x="217" y="67"/>
                </a:cubicBezTo>
                <a:close/>
                <a:moveTo>
                  <a:pt x="226" y="94"/>
                </a:moveTo>
                <a:cubicBezTo>
                  <a:pt x="225" y="94"/>
                  <a:pt x="224" y="95"/>
                  <a:pt x="224" y="96"/>
                </a:cubicBezTo>
                <a:cubicBezTo>
                  <a:pt x="226" y="94"/>
                  <a:pt x="226" y="95"/>
                  <a:pt x="228" y="94"/>
                </a:cubicBezTo>
                <a:cubicBezTo>
                  <a:pt x="228" y="93"/>
                  <a:pt x="227" y="94"/>
                  <a:pt x="226" y="94"/>
                </a:cubicBezTo>
                <a:close/>
                <a:moveTo>
                  <a:pt x="216" y="80"/>
                </a:moveTo>
                <a:cubicBezTo>
                  <a:pt x="215" y="80"/>
                  <a:pt x="213" y="82"/>
                  <a:pt x="211" y="82"/>
                </a:cubicBezTo>
                <a:cubicBezTo>
                  <a:pt x="211" y="83"/>
                  <a:pt x="214" y="82"/>
                  <a:pt x="216" y="80"/>
                </a:cubicBezTo>
                <a:close/>
                <a:moveTo>
                  <a:pt x="206" y="79"/>
                </a:moveTo>
                <a:cubicBezTo>
                  <a:pt x="206" y="79"/>
                  <a:pt x="208" y="78"/>
                  <a:pt x="207" y="79"/>
                </a:cubicBezTo>
                <a:cubicBezTo>
                  <a:pt x="209" y="77"/>
                  <a:pt x="210" y="78"/>
                  <a:pt x="212" y="75"/>
                </a:cubicBezTo>
                <a:cubicBezTo>
                  <a:pt x="210" y="76"/>
                  <a:pt x="208" y="77"/>
                  <a:pt x="206" y="79"/>
                </a:cubicBezTo>
                <a:close/>
                <a:moveTo>
                  <a:pt x="192" y="65"/>
                </a:moveTo>
                <a:cubicBezTo>
                  <a:pt x="191" y="66"/>
                  <a:pt x="190" y="67"/>
                  <a:pt x="190" y="67"/>
                </a:cubicBezTo>
                <a:cubicBezTo>
                  <a:pt x="193" y="65"/>
                  <a:pt x="197" y="64"/>
                  <a:pt x="198" y="63"/>
                </a:cubicBezTo>
                <a:cubicBezTo>
                  <a:pt x="194" y="64"/>
                  <a:pt x="195" y="64"/>
                  <a:pt x="192" y="65"/>
                </a:cubicBezTo>
                <a:close/>
                <a:moveTo>
                  <a:pt x="208" y="90"/>
                </a:moveTo>
                <a:cubicBezTo>
                  <a:pt x="207" y="91"/>
                  <a:pt x="206" y="91"/>
                  <a:pt x="206" y="92"/>
                </a:cubicBezTo>
                <a:cubicBezTo>
                  <a:pt x="207" y="91"/>
                  <a:pt x="206" y="93"/>
                  <a:pt x="209" y="91"/>
                </a:cubicBezTo>
                <a:cubicBezTo>
                  <a:pt x="210" y="90"/>
                  <a:pt x="208" y="91"/>
                  <a:pt x="208" y="90"/>
                </a:cubicBezTo>
                <a:close/>
                <a:moveTo>
                  <a:pt x="207" y="101"/>
                </a:moveTo>
                <a:cubicBezTo>
                  <a:pt x="208" y="101"/>
                  <a:pt x="212" y="98"/>
                  <a:pt x="214" y="97"/>
                </a:cubicBezTo>
                <a:cubicBezTo>
                  <a:pt x="211" y="99"/>
                  <a:pt x="207" y="101"/>
                  <a:pt x="207" y="101"/>
                </a:cubicBezTo>
                <a:close/>
                <a:moveTo>
                  <a:pt x="190" y="86"/>
                </a:moveTo>
                <a:cubicBezTo>
                  <a:pt x="191" y="85"/>
                  <a:pt x="196" y="82"/>
                  <a:pt x="196" y="82"/>
                </a:cubicBezTo>
                <a:cubicBezTo>
                  <a:pt x="194" y="83"/>
                  <a:pt x="192" y="85"/>
                  <a:pt x="190" y="86"/>
                </a:cubicBezTo>
                <a:close/>
                <a:moveTo>
                  <a:pt x="198" y="111"/>
                </a:moveTo>
                <a:cubicBezTo>
                  <a:pt x="199" y="112"/>
                  <a:pt x="204" y="109"/>
                  <a:pt x="205" y="107"/>
                </a:cubicBezTo>
                <a:cubicBezTo>
                  <a:pt x="203" y="109"/>
                  <a:pt x="201" y="110"/>
                  <a:pt x="198" y="111"/>
                </a:cubicBezTo>
                <a:close/>
                <a:moveTo>
                  <a:pt x="185" y="86"/>
                </a:moveTo>
                <a:cubicBezTo>
                  <a:pt x="185" y="86"/>
                  <a:pt x="189" y="84"/>
                  <a:pt x="188" y="84"/>
                </a:cubicBezTo>
                <a:cubicBezTo>
                  <a:pt x="184" y="85"/>
                  <a:pt x="184" y="87"/>
                  <a:pt x="183" y="89"/>
                </a:cubicBezTo>
                <a:cubicBezTo>
                  <a:pt x="184" y="88"/>
                  <a:pt x="184" y="88"/>
                  <a:pt x="184" y="88"/>
                </a:cubicBezTo>
                <a:cubicBezTo>
                  <a:pt x="187" y="87"/>
                  <a:pt x="190" y="84"/>
                  <a:pt x="188" y="84"/>
                </a:cubicBezTo>
                <a:cubicBezTo>
                  <a:pt x="188" y="84"/>
                  <a:pt x="186" y="86"/>
                  <a:pt x="185" y="86"/>
                </a:cubicBezTo>
                <a:close/>
                <a:moveTo>
                  <a:pt x="175" y="77"/>
                </a:moveTo>
                <a:cubicBezTo>
                  <a:pt x="177" y="75"/>
                  <a:pt x="182" y="73"/>
                  <a:pt x="180" y="73"/>
                </a:cubicBezTo>
                <a:cubicBezTo>
                  <a:pt x="179" y="75"/>
                  <a:pt x="174" y="76"/>
                  <a:pt x="175" y="77"/>
                </a:cubicBezTo>
                <a:close/>
                <a:moveTo>
                  <a:pt x="186" y="115"/>
                </a:moveTo>
                <a:cubicBezTo>
                  <a:pt x="187" y="115"/>
                  <a:pt x="191" y="112"/>
                  <a:pt x="191" y="111"/>
                </a:cubicBezTo>
                <a:cubicBezTo>
                  <a:pt x="190" y="112"/>
                  <a:pt x="187" y="113"/>
                  <a:pt x="186" y="115"/>
                </a:cubicBezTo>
                <a:close/>
                <a:moveTo>
                  <a:pt x="177" y="93"/>
                </a:moveTo>
                <a:cubicBezTo>
                  <a:pt x="170" y="97"/>
                  <a:pt x="177" y="95"/>
                  <a:pt x="177" y="93"/>
                </a:cubicBezTo>
                <a:close/>
                <a:moveTo>
                  <a:pt x="183" y="114"/>
                </a:moveTo>
                <a:cubicBezTo>
                  <a:pt x="185" y="113"/>
                  <a:pt x="188" y="111"/>
                  <a:pt x="188" y="110"/>
                </a:cubicBezTo>
                <a:cubicBezTo>
                  <a:pt x="185" y="112"/>
                  <a:pt x="184" y="113"/>
                  <a:pt x="183" y="114"/>
                </a:cubicBezTo>
                <a:close/>
                <a:moveTo>
                  <a:pt x="158" y="89"/>
                </a:moveTo>
                <a:cubicBezTo>
                  <a:pt x="160" y="88"/>
                  <a:pt x="165" y="84"/>
                  <a:pt x="163" y="85"/>
                </a:cubicBezTo>
                <a:cubicBezTo>
                  <a:pt x="163" y="85"/>
                  <a:pt x="157" y="89"/>
                  <a:pt x="158" y="89"/>
                </a:cubicBezTo>
                <a:close/>
                <a:moveTo>
                  <a:pt x="166" y="104"/>
                </a:moveTo>
                <a:cubicBezTo>
                  <a:pt x="168" y="103"/>
                  <a:pt x="170" y="102"/>
                  <a:pt x="171" y="101"/>
                </a:cubicBezTo>
                <a:cubicBezTo>
                  <a:pt x="169" y="103"/>
                  <a:pt x="166" y="103"/>
                  <a:pt x="166" y="104"/>
                </a:cubicBezTo>
                <a:close/>
                <a:moveTo>
                  <a:pt x="172" y="122"/>
                </a:moveTo>
                <a:cubicBezTo>
                  <a:pt x="172" y="122"/>
                  <a:pt x="176" y="120"/>
                  <a:pt x="176" y="120"/>
                </a:cubicBezTo>
                <a:cubicBezTo>
                  <a:pt x="175" y="120"/>
                  <a:pt x="175" y="120"/>
                  <a:pt x="172" y="122"/>
                </a:cubicBezTo>
                <a:close/>
                <a:moveTo>
                  <a:pt x="142" y="97"/>
                </a:moveTo>
                <a:cubicBezTo>
                  <a:pt x="145" y="95"/>
                  <a:pt x="147" y="93"/>
                  <a:pt x="148" y="92"/>
                </a:cubicBezTo>
                <a:cubicBezTo>
                  <a:pt x="146" y="93"/>
                  <a:pt x="142" y="96"/>
                  <a:pt x="142" y="97"/>
                </a:cubicBezTo>
                <a:close/>
                <a:moveTo>
                  <a:pt x="155" y="112"/>
                </a:moveTo>
                <a:cubicBezTo>
                  <a:pt x="155" y="112"/>
                  <a:pt x="156" y="111"/>
                  <a:pt x="156" y="111"/>
                </a:cubicBezTo>
                <a:cubicBezTo>
                  <a:pt x="155" y="112"/>
                  <a:pt x="156" y="112"/>
                  <a:pt x="157" y="111"/>
                </a:cubicBezTo>
                <a:cubicBezTo>
                  <a:pt x="157" y="111"/>
                  <a:pt x="158" y="110"/>
                  <a:pt x="158" y="109"/>
                </a:cubicBezTo>
                <a:cubicBezTo>
                  <a:pt x="157" y="110"/>
                  <a:pt x="155" y="111"/>
                  <a:pt x="155" y="112"/>
                </a:cubicBezTo>
                <a:close/>
                <a:moveTo>
                  <a:pt x="164" y="129"/>
                </a:moveTo>
                <a:cubicBezTo>
                  <a:pt x="165" y="128"/>
                  <a:pt x="170" y="125"/>
                  <a:pt x="169" y="124"/>
                </a:cubicBezTo>
                <a:cubicBezTo>
                  <a:pt x="167" y="126"/>
                  <a:pt x="165" y="127"/>
                  <a:pt x="164" y="129"/>
                </a:cubicBezTo>
                <a:close/>
                <a:moveTo>
                  <a:pt x="153" y="112"/>
                </a:moveTo>
                <a:cubicBezTo>
                  <a:pt x="155" y="111"/>
                  <a:pt x="158" y="109"/>
                  <a:pt x="157" y="109"/>
                </a:cubicBezTo>
                <a:cubicBezTo>
                  <a:pt x="154" y="110"/>
                  <a:pt x="154" y="111"/>
                  <a:pt x="153" y="112"/>
                </a:cubicBezTo>
                <a:close/>
                <a:moveTo>
                  <a:pt x="164" y="125"/>
                </a:moveTo>
                <a:cubicBezTo>
                  <a:pt x="165" y="124"/>
                  <a:pt x="167" y="122"/>
                  <a:pt x="167" y="122"/>
                </a:cubicBezTo>
                <a:cubicBezTo>
                  <a:pt x="166" y="122"/>
                  <a:pt x="162" y="125"/>
                  <a:pt x="164" y="125"/>
                </a:cubicBezTo>
                <a:close/>
                <a:moveTo>
                  <a:pt x="162" y="131"/>
                </a:moveTo>
                <a:cubicBezTo>
                  <a:pt x="162" y="131"/>
                  <a:pt x="161" y="132"/>
                  <a:pt x="161" y="133"/>
                </a:cubicBezTo>
                <a:cubicBezTo>
                  <a:pt x="164" y="130"/>
                  <a:pt x="164" y="130"/>
                  <a:pt x="164" y="130"/>
                </a:cubicBezTo>
                <a:cubicBezTo>
                  <a:pt x="162" y="131"/>
                  <a:pt x="170" y="126"/>
                  <a:pt x="167" y="127"/>
                </a:cubicBezTo>
                <a:cubicBezTo>
                  <a:pt x="165" y="129"/>
                  <a:pt x="163" y="130"/>
                  <a:pt x="162" y="131"/>
                </a:cubicBezTo>
                <a:close/>
                <a:moveTo>
                  <a:pt x="153" y="115"/>
                </a:moveTo>
                <a:cubicBezTo>
                  <a:pt x="153" y="115"/>
                  <a:pt x="154" y="114"/>
                  <a:pt x="153" y="114"/>
                </a:cubicBezTo>
                <a:cubicBezTo>
                  <a:pt x="149" y="118"/>
                  <a:pt x="155" y="114"/>
                  <a:pt x="153" y="116"/>
                </a:cubicBezTo>
                <a:cubicBezTo>
                  <a:pt x="155" y="115"/>
                  <a:pt x="155" y="115"/>
                  <a:pt x="155" y="115"/>
                </a:cubicBezTo>
                <a:cubicBezTo>
                  <a:pt x="155" y="115"/>
                  <a:pt x="155" y="114"/>
                  <a:pt x="155" y="114"/>
                </a:cubicBezTo>
                <a:cubicBezTo>
                  <a:pt x="154" y="115"/>
                  <a:pt x="153" y="115"/>
                  <a:pt x="153" y="115"/>
                </a:cubicBezTo>
                <a:close/>
                <a:moveTo>
                  <a:pt x="132" y="105"/>
                </a:moveTo>
                <a:cubicBezTo>
                  <a:pt x="135" y="103"/>
                  <a:pt x="140" y="99"/>
                  <a:pt x="140" y="98"/>
                </a:cubicBezTo>
                <a:cubicBezTo>
                  <a:pt x="136" y="101"/>
                  <a:pt x="133" y="104"/>
                  <a:pt x="132" y="105"/>
                </a:cubicBezTo>
                <a:close/>
                <a:moveTo>
                  <a:pt x="158" y="134"/>
                </a:moveTo>
                <a:cubicBezTo>
                  <a:pt x="159" y="132"/>
                  <a:pt x="163" y="130"/>
                  <a:pt x="163" y="130"/>
                </a:cubicBezTo>
                <a:cubicBezTo>
                  <a:pt x="161" y="131"/>
                  <a:pt x="157" y="133"/>
                  <a:pt x="158" y="134"/>
                </a:cubicBezTo>
                <a:close/>
                <a:moveTo>
                  <a:pt x="149" y="141"/>
                </a:moveTo>
                <a:cubicBezTo>
                  <a:pt x="151" y="141"/>
                  <a:pt x="153" y="139"/>
                  <a:pt x="153" y="138"/>
                </a:cubicBezTo>
                <a:cubicBezTo>
                  <a:pt x="154" y="138"/>
                  <a:pt x="157" y="136"/>
                  <a:pt x="158" y="135"/>
                </a:cubicBezTo>
                <a:cubicBezTo>
                  <a:pt x="155" y="136"/>
                  <a:pt x="151" y="139"/>
                  <a:pt x="149" y="141"/>
                </a:cubicBezTo>
                <a:close/>
                <a:moveTo>
                  <a:pt x="132" y="110"/>
                </a:moveTo>
                <a:cubicBezTo>
                  <a:pt x="132" y="108"/>
                  <a:pt x="128" y="112"/>
                  <a:pt x="127" y="113"/>
                </a:cubicBezTo>
                <a:cubicBezTo>
                  <a:pt x="126" y="114"/>
                  <a:pt x="128" y="114"/>
                  <a:pt x="129" y="112"/>
                </a:cubicBezTo>
                <a:cubicBezTo>
                  <a:pt x="129" y="111"/>
                  <a:pt x="131" y="110"/>
                  <a:pt x="131" y="110"/>
                </a:cubicBezTo>
                <a:cubicBezTo>
                  <a:pt x="131" y="110"/>
                  <a:pt x="131" y="110"/>
                  <a:pt x="132" y="110"/>
                </a:cubicBezTo>
                <a:close/>
                <a:moveTo>
                  <a:pt x="137" y="153"/>
                </a:moveTo>
                <a:cubicBezTo>
                  <a:pt x="139" y="150"/>
                  <a:pt x="143" y="148"/>
                  <a:pt x="143" y="147"/>
                </a:cubicBezTo>
                <a:cubicBezTo>
                  <a:pt x="140" y="149"/>
                  <a:pt x="138" y="151"/>
                  <a:pt x="137" y="153"/>
                </a:cubicBezTo>
                <a:close/>
                <a:moveTo>
                  <a:pt x="105" y="131"/>
                </a:moveTo>
                <a:cubicBezTo>
                  <a:pt x="110" y="128"/>
                  <a:pt x="114" y="123"/>
                  <a:pt x="118" y="120"/>
                </a:cubicBezTo>
                <a:cubicBezTo>
                  <a:pt x="117" y="119"/>
                  <a:pt x="117" y="119"/>
                  <a:pt x="117" y="119"/>
                </a:cubicBezTo>
                <a:cubicBezTo>
                  <a:pt x="113" y="123"/>
                  <a:pt x="107" y="128"/>
                  <a:pt x="105" y="131"/>
                </a:cubicBezTo>
                <a:close/>
                <a:moveTo>
                  <a:pt x="144" y="153"/>
                </a:moveTo>
                <a:cubicBezTo>
                  <a:pt x="144" y="154"/>
                  <a:pt x="143" y="155"/>
                  <a:pt x="143" y="155"/>
                </a:cubicBezTo>
                <a:cubicBezTo>
                  <a:pt x="146" y="153"/>
                  <a:pt x="146" y="153"/>
                  <a:pt x="146" y="153"/>
                </a:cubicBezTo>
                <a:cubicBezTo>
                  <a:pt x="145" y="153"/>
                  <a:pt x="146" y="152"/>
                  <a:pt x="144" y="153"/>
                </a:cubicBezTo>
                <a:close/>
                <a:moveTo>
                  <a:pt x="124" y="137"/>
                </a:moveTo>
                <a:cubicBezTo>
                  <a:pt x="125" y="137"/>
                  <a:pt x="126" y="136"/>
                  <a:pt x="126" y="136"/>
                </a:cubicBezTo>
                <a:cubicBezTo>
                  <a:pt x="125" y="136"/>
                  <a:pt x="123" y="138"/>
                  <a:pt x="122" y="139"/>
                </a:cubicBezTo>
                <a:cubicBezTo>
                  <a:pt x="121" y="140"/>
                  <a:pt x="121" y="140"/>
                  <a:pt x="122" y="140"/>
                </a:cubicBezTo>
                <a:cubicBezTo>
                  <a:pt x="124" y="138"/>
                  <a:pt x="123" y="138"/>
                  <a:pt x="124" y="137"/>
                </a:cubicBezTo>
                <a:close/>
                <a:moveTo>
                  <a:pt x="112" y="136"/>
                </a:moveTo>
                <a:cubicBezTo>
                  <a:pt x="109" y="139"/>
                  <a:pt x="114" y="135"/>
                  <a:pt x="111" y="138"/>
                </a:cubicBezTo>
                <a:cubicBezTo>
                  <a:pt x="113" y="136"/>
                  <a:pt x="113" y="136"/>
                  <a:pt x="115" y="135"/>
                </a:cubicBezTo>
                <a:cubicBezTo>
                  <a:pt x="115" y="135"/>
                  <a:pt x="116" y="134"/>
                  <a:pt x="115" y="134"/>
                </a:cubicBezTo>
                <a:cubicBezTo>
                  <a:pt x="113" y="136"/>
                  <a:pt x="114" y="134"/>
                  <a:pt x="112" y="136"/>
                </a:cubicBezTo>
                <a:close/>
                <a:moveTo>
                  <a:pt x="125" y="156"/>
                </a:moveTo>
                <a:cubicBezTo>
                  <a:pt x="126" y="156"/>
                  <a:pt x="128" y="154"/>
                  <a:pt x="129" y="152"/>
                </a:cubicBezTo>
                <a:cubicBezTo>
                  <a:pt x="128" y="153"/>
                  <a:pt x="126" y="154"/>
                  <a:pt x="125" y="156"/>
                </a:cubicBezTo>
                <a:close/>
                <a:moveTo>
                  <a:pt x="113" y="150"/>
                </a:moveTo>
                <a:cubicBezTo>
                  <a:pt x="117" y="147"/>
                  <a:pt x="116" y="148"/>
                  <a:pt x="120" y="145"/>
                </a:cubicBezTo>
                <a:cubicBezTo>
                  <a:pt x="118" y="145"/>
                  <a:pt x="121" y="143"/>
                  <a:pt x="120" y="143"/>
                </a:cubicBezTo>
                <a:cubicBezTo>
                  <a:pt x="119" y="145"/>
                  <a:pt x="113" y="149"/>
                  <a:pt x="113" y="150"/>
                </a:cubicBezTo>
                <a:close/>
                <a:moveTo>
                  <a:pt x="112" y="138"/>
                </a:moveTo>
                <a:cubicBezTo>
                  <a:pt x="110" y="140"/>
                  <a:pt x="110" y="138"/>
                  <a:pt x="108" y="140"/>
                </a:cubicBezTo>
                <a:cubicBezTo>
                  <a:pt x="107" y="142"/>
                  <a:pt x="109" y="140"/>
                  <a:pt x="110" y="141"/>
                </a:cubicBezTo>
                <a:cubicBezTo>
                  <a:pt x="111" y="140"/>
                  <a:pt x="114" y="137"/>
                  <a:pt x="112" y="138"/>
                </a:cubicBezTo>
                <a:close/>
                <a:moveTo>
                  <a:pt x="96" y="141"/>
                </a:moveTo>
                <a:cubicBezTo>
                  <a:pt x="99" y="138"/>
                  <a:pt x="99" y="138"/>
                  <a:pt x="99" y="138"/>
                </a:cubicBezTo>
                <a:cubicBezTo>
                  <a:pt x="98" y="137"/>
                  <a:pt x="98" y="137"/>
                  <a:pt x="98" y="137"/>
                </a:cubicBezTo>
                <a:cubicBezTo>
                  <a:pt x="96" y="139"/>
                  <a:pt x="97" y="139"/>
                  <a:pt x="96" y="141"/>
                </a:cubicBezTo>
                <a:close/>
                <a:moveTo>
                  <a:pt x="119" y="170"/>
                </a:moveTo>
                <a:cubicBezTo>
                  <a:pt x="119" y="171"/>
                  <a:pt x="120" y="168"/>
                  <a:pt x="120" y="169"/>
                </a:cubicBezTo>
                <a:cubicBezTo>
                  <a:pt x="121" y="168"/>
                  <a:pt x="125" y="165"/>
                  <a:pt x="123" y="166"/>
                </a:cubicBezTo>
                <a:cubicBezTo>
                  <a:pt x="121" y="168"/>
                  <a:pt x="121" y="168"/>
                  <a:pt x="119" y="170"/>
                </a:cubicBezTo>
                <a:close/>
                <a:moveTo>
                  <a:pt x="111" y="161"/>
                </a:moveTo>
                <a:cubicBezTo>
                  <a:pt x="113" y="159"/>
                  <a:pt x="114" y="159"/>
                  <a:pt x="115" y="158"/>
                </a:cubicBezTo>
                <a:cubicBezTo>
                  <a:pt x="114" y="158"/>
                  <a:pt x="115" y="157"/>
                  <a:pt x="114" y="157"/>
                </a:cubicBezTo>
                <a:cubicBezTo>
                  <a:pt x="113" y="159"/>
                  <a:pt x="111" y="160"/>
                  <a:pt x="111" y="161"/>
                </a:cubicBezTo>
                <a:close/>
                <a:moveTo>
                  <a:pt x="85" y="151"/>
                </a:moveTo>
                <a:cubicBezTo>
                  <a:pt x="83" y="153"/>
                  <a:pt x="82" y="154"/>
                  <a:pt x="81" y="155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2" y="156"/>
                  <a:pt x="82" y="156"/>
                  <a:pt x="82" y="156"/>
                </a:cubicBezTo>
                <a:cubicBezTo>
                  <a:pt x="83" y="155"/>
                  <a:pt x="83" y="155"/>
                  <a:pt x="83" y="155"/>
                </a:cubicBezTo>
                <a:cubicBezTo>
                  <a:pt x="84" y="154"/>
                  <a:pt x="85" y="152"/>
                  <a:pt x="86" y="151"/>
                </a:cubicBezTo>
                <a:cubicBezTo>
                  <a:pt x="89" y="149"/>
                  <a:pt x="91" y="146"/>
                  <a:pt x="93" y="143"/>
                </a:cubicBezTo>
                <a:cubicBezTo>
                  <a:pt x="90" y="146"/>
                  <a:pt x="87" y="149"/>
                  <a:pt x="85" y="151"/>
                </a:cubicBezTo>
                <a:close/>
                <a:moveTo>
                  <a:pt x="88" y="156"/>
                </a:moveTo>
                <a:cubicBezTo>
                  <a:pt x="90" y="154"/>
                  <a:pt x="91" y="154"/>
                  <a:pt x="93" y="152"/>
                </a:cubicBezTo>
                <a:cubicBezTo>
                  <a:pt x="93" y="151"/>
                  <a:pt x="93" y="150"/>
                  <a:pt x="94" y="149"/>
                </a:cubicBezTo>
                <a:cubicBezTo>
                  <a:pt x="91" y="152"/>
                  <a:pt x="87" y="156"/>
                  <a:pt x="88" y="156"/>
                </a:cubicBezTo>
                <a:close/>
                <a:moveTo>
                  <a:pt x="86" y="154"/>
                </a:moveTo>
                <a:cubicBezTo>
                  <a:pt x="88" y="153"/>
                  <a:pt x="87" y="154"/>
                  <a:pt x="89" y="152"/>
                </a:cubicBezTo>
                <a:cubicBezTo>
                  <a:pt x="89" y="152"/>
                  <a:pt x="89" y="152"/>
                  <a:pt x="90" y="151"/>
                </a:cubicBezTo>
                <a:cubicBezTo>
                  <a:pt x="89" y="151"/>
                  <a:pt x="89" y="151"/>
                  <a:pt x="90" y="151"/>
                </a:cubicBezTo>
                <a:cubicBezTo>
                  <a:pt x="90" y="150"/>
                  <a:pt x="90" y="150"/>
                  <a:pt x="90" y="150"/>
                </a:cubicBezTo>
                <a:cubicBezTo>
                  <a:pt x="89" y="152"/>
                  <a:pt x="86" y="154"/>
                  <a:pt x="86" y="154"/>
                </a:cubicBezTo>
                <a:close/>
                <a:moveTo>
                  <a:pt x="96" y="160"/>
                </a:moveTo>
                <a:cubicBezTo>
                  <a:pt x="96" y="161"/>
                  <a:pt x="94" y="163"/>
                  <a:pt x="94" y="164"/>
                </a:cubicBezTo>
                <a:cubicBezTo>
                  <a:pt x="96" y="162"/>
                  <a:pt x="96" y="161"/>
                  <a:pt x="98" y="160"/>
                </a:cubicBezTo>
                <a:cubicBezTo>
                  <a:pt x="97" y="159"/>
                  <a:pt x="97" y="160"/>
                  <a:pt x="96" y="160"/>
                </a:cubicBezTo>
                <a:close/>
                <a:moveTo>
                  <a:pt x="95" y="158"/>
                </a:moveTo>
                <a:cubicBezTo>
                  <a:pt x="95" y="158"/>
                  <a:pt x="95" y="158"/>
                  <a:pt x="95" y="158"/>
                </a:cubicBezTo>
                <a:cubicBezTo>
                  <a:pt x="93" y="159"/>
                  <a:pt x="94" y="159"/>
                  <a:pt x="92" y="160"/>
                </a:cubicBezTo>
                <a:cubicBezTo>
                  <a:pt x="93" y="161"/>
                  <a:pt x="93" y="161"/>
                  <a:pt x="93" y="161"/>
                </a:cubicBezTo>
                <a:cubicBezTo>
                  <a:pt x="94" y="159"/>
                  <a:pt x="94" y="160"/>
                  <a:pt x="95" y="158"/>
                </a:cubicBezTo>
                <a:close/>
                <a:moveTo>
                  <a:pt x="85" y="163"/>
                </a:moveTo>
                <a:cubicBezTo>
                  <a:pt x="86" y="162"/>
                  <a:pt x="86" y="162"/>
                  <a:pt x="86" y="162"/>
                </a:cubicBezTo>
                <a:cubicBezTo>
                  <a:pt x="86" y="162"/>
                  <a:pt x="85" y="162"/>
                  <a:pt x="85" y="163"/>
                </a:cubicBezTo>
                <a:close/>
                <a:moveTo>
                  <a:pt x="91" y="167"/>
                </a:moveTo>
                <a:cubicBezTo>
                  <a:pt x="91" y="167"/>
                  <a:pt x="91" y="167"/>
                  <a:pt x="91" y="168"/>
                </a:cubicBezTo>
                <a:cubicBezTo>
                  <a:pt x="92" y="168"/>
                  <a:pt x="92" y="168"/>
                  <a:pt x="92" y="167"/>
                </a:cubicBezTo>
                <a:cubicBezTo>
                  <a:pt x="92" y="167"/>
                  <a:pt x="92" y="167"/>
                  <a:pt x="92" y="167"/>
                </a:cubicBezTo>
                <a:cubicBezTo>
                  <a:pt x="92" y="167"/>
                  <a:pt x="91" y="166"/>
                  <a:pt x="91" y="167"/>
                </a:cubicBezTo>
                <a:close/>
                <a:moveTo>
                  <a:pt x="101" y="179"/>
                </a:moveTo>
                <a:cubicBezTo>
                  <a:pt x="101" y="179"/>
                  <a:pt x="101" y="179"/>
                  <a:pt x="102" y="180"/>
                </a:cubicBezTo>
                <a:cubicBezTo>
                  <a:pt x="102" y="179"/>
                  <a:pt x="102" y="178"/>
                  <a:pt x="103" y="178"/>
                </a:cubicBezTo>
                <a:cubicBezTo>
                  <a:pt x="103" y="178"/>
                  <a:pt x="103" y="178"/>
                  <a:pt x="103" y="177"/>
                </a:cubicBezTo>
                <a:cubicBezTo>
                  <a:pt x="102" y="178"/>
                  <a:pt x="102" y="178"/>
                  <a:pt x="101" y="179"/>
                </a:cubicBezTo>
                <a:close/>
                <a:moveTo>
                  <a:pt x="111" y="187"/>
                </a:moveTo>
                <a:cubicBezTo>
                  <a:pt x="111" y="188"/>
                  <a:pt x="112" y="187"/>
                  <a:pt x="112" y="187"/>
                </a:cubicBezTo>
                <a:cubicBezTo>
                  <a:pt x="111" y="187"/>
                  <a:pt x="112" y="187"/>
                  <a:pt x="112" y="186"/>
                </a:cubicBezTo>
                <a:cubicBezTo>
                  <a:pt x="111" y="186"/>
                  <a:pt x="112" y="187"/>
                  <a:pt x="111" y="187"/>
                </a:cubicBezTo>
                <a:close/>
                <a:moveTo>
                  <a:pt x="100" y="178"/>
                </a:moveTo>
                <a:cubicBezTo>
                  <a:pt x="100" y="179"/>
                  <a:pt x="101" y="179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0" y="178"/>
                  <a:pt x="100" y="178"/>
                </a:cubicBezTo>
                <a:close/>
                <a:moveTo>
                  <a:pt x="101" y="180"/>
                </a:moveTo>
                <a:cubicBezTo>
                  <a:pt x="101" y="179"/>
                  <a:pt x="101" y="181"/>
                  <a:pt x="102" y="180"/>
                </a:cubicBezTo>
                <a:cubicBezTo>
                  <a:pt x="102" y="180"/>
                  <a:pt x="101" y="179"/>
                  <a:pt x="101" y="179"/>
                </a:cubicBezTo>
                <a:cubicBezTo>
                  <a:pt x="101" y="179"/>
                  <a:pt x="100" y="180"/>
                  <a:pt x="101" y="180"/>
                </a:cubicBezTo>
                <a:close/>
                <a:moveTo>
                  <a:pt x="76" y="157"/>
                </a:moveTo>
                <a:cubicBezTo>
                  <a:pt x="76" y="157"/>
                  <a:pt x="77" y="156"/>
                  <a:pt x="76" y="156"/>
                </a:cubicBezTo>
                <a:cubicBezTo>
                  <a:pt x="76" y="156"/>
                  <a:pt x="76" y="157"/>
                  <a:pt x="76" y="157"/>
                </a:cubicBezTo>
                <a:close/>
                <a:moveTo>
                  <a:pt x="99" y="179"/>
                </a:moveTo>
                <a:cubicBezTo>
                  <a:pt x="99" y="178"/>
                  <a:pt x="100" y="180"/>
                  <a:pt x="100" y="179"/>
                </a:cubicBezTo>
                <a:cubicBezTo>
                  <a:pt x="99" y="179"/>
                  <a:pt x="100" y="179"/>
                  <a:pt x="100" y="178"/>
                </a:cubicBezTo>
                <a:cubicBezTo>
                  <a:pt x="100" y="178"/>
                  <a:pt x="99" y="179"/>
                  <a:pt x="99" y="179"/>
                </a:cubicBezTo>
                <a:close/>
                <a:moveTo>
                  <a:pt x="104" y="186"/>
                </a:moveTo>
                <a:cubicBezTo>
                  <a:pt x="105" y="185"/>
                  <a:pt x="105" y="185"/>
                  <a:pt x="105" y="185"/>
                </a:cubicBezTo>
                <a:cubicBezTo>
                  <a:pt x="105" y="184"/>
                  <a:pt x="104" y="185"/>
                  <a:pt x="104" y="186"/>
                </a:cubicBezTo>
                <a:close/>
                <a:moveTo>
                  <a:pt x="100" y="181"/>
                </a:move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1" y="181"/>
                  <a:pt x="101" y="181"/>
                </a:cubicBezTo>
                <a:cubicBezTo>
                  <a:pt x="100" y="181"/>
                  <a:pt x="100" y="180"/>
                  <a:pt x="100" y="181"/>
                </a:cubicBezTo>
                <a:close/>
                <a:moveTo>
                  <a:pt x="108" y="192"/>
                </a:moveTo>
                <a:cubicBezTo>
                  <a:pt x="108" y="191"/>
                  <a:pt x="109" y="190"/>
                  <a:pt x="109" y="190"/>
                </a:cubicBezTo>
                <a:cubicBezTo>
                  <a:pt x="108" y="191"/>
                  <a:pt x="107" y="191"/>
                  <a:pt x="108" y="192"/>
                </a:cubicBezTo>
                <a:close/>
                <a:moveTo>
                  <a:pt x="76" y="161"/>
                </a:moveTo>
                <a:cubicBezTo>
                  <a:pt x="76" y="161"/>
                  <a:pt x="77" y="162"/>
                  <a:pt x="77" y="161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77" y="161"/>
                  <a:pt x="78" y="161"/>
                  <a:pt x="77" y="161"/>
                </a:cubicBezTo>
                <a:cubicBezTo>
                  <a:pt x="77" y="161"/>
                  <a:pt x="77" y="161"/>
                  <a:pt x="76" y="161"/>
                </a:cubicBezTo>
                <a:close/>
                <a:moveTo>
                  <a:pt x="99" y="182"/>
                </a:moveTo>
                <a:cubicBezTo>
                  <a:pt x="99" y="182"/>
                  <a:pt x="99" y="182"/>
                  <a:pt x="99" y="182"/>
                </a:cubicBezTo>
                <a:cubicBezTo>
                  <a:pt x="100" y="182"/>
                  <a:pt x="100" y="182"/>
                  <a:pt x="100" y="181"/>
                </a:cubicBezTo>
                <a:cubicBezTo>
                  <a:pt x="99" y="181"/>
                  <a:pt x="99" y="182"/>
                  <a:pt x="99" y="182"/>
                </a:cubicBezTo>
                <a:close/>
                <a:moveTo>
                  <a:pt x="102" y="184"/>
                </a:moveTo>
                <a:cubicBezTo>
                  <a:pt x="102" y="184"/>
                  <a:pt x="102" y="185"/>
                  <a:pt x="102" y="185"/>
                </a:cubicBezTo>
                <a:cubicBezTo>
                  <a:pt x="102" y="185"/>
                  <a:pt x="102" y="185"/>
                  <a:pt x="102" y="185"/>
                </a:cubicBezTo>
                <a:cubicBezTo>
                  <a:pt x="102" y="185"/>
                  <a:pt x="103" y="185"/>
                  <a:pt x="103" y="184"/>
                </a:cubicBezTo>
                <a:cubicBezTo>
                  <a:pt x="103" y="185"/>
                  <a:pt x="102" y="184"/>
                  <a:pt x="102" y="184"/>
                </a:cubicBezTo>
                <a:close/>
                <a:moveTo>
                  <a:pt x="103" y="187"/>
                </a:moveTo>
                <a:cubicBezTo>
                  <a:pt x="104" y="186"/>
                  <a:pt x="104" y="186"/>
                  <a:pt x="104" y="185"/>
                </a:cubicBezTo>
                <a:cubicBezTo>
                  <a:pt x="104" y="186"/>
                  <a:pt x="103" y="186"/>
                  <a:pt x="103" y="187"/>
                </a:cubicBezTo>
                <a:close/>
                <a:moveTo>
                  <a:pt x="99" y="185"/>
                </a:moveTo>
                <a:cubicBezTo>
                  <a:pt x="99" y="185"/>
                  <a:pt x="100" y="185"/>
                  <a:pt x="100" y="185"/>
                </a:cubicBezTo>
                <a:cubicBezTo>
                  <a:pt x="100" y="185"/>
                  <a:pt x="101" y="185"/>
                  <a:pt x="101" y="186"/>
                </a:cubicBezTo>
                <a:cubicBezTo>
                  <a:pt x="102" y="186"/>
                  <a:pt x="100" y="184"/>
                  <a:pt x="102" y="184"/>
                </a:cubicBezTo>
                <a:cubicBezTo>
                  <a:pt x="101" y="184"/>
                  <a:pt x="101" y="184"/>
                  <a:pt x="101" y="183"/>
                </a:cubicBezTo>
                <a:cubicBezTo>
                  <a:pt x="100" y="184"/>
                  <a:pt x="99" y="184"/>
                  <a:pt x="99" y="185"/>
                </a:cubicBezTo>
                <a:close/>
                <a:moveTo>
                  <a:pt x="84" y="169"/>
                </a:moveTo>
                <a:cubicBezTo>
                  <a:pt x="84" y="169"/>
                  <a:pt x="85" y="169"/>
                  <a:pt x="85" y="168"/>
                </a:cubicBezTo>
                <a:cubicBezTo>
                  <a:pt x="85" y="169"/>
                  <a:pt x="84" y="169"/>
                  <a:pt x="84" y="169"/>
                </a:cubicBezTo>
                <a:close/>
                <a:moveTo>
                  <a:pt x="97" y="181"/>
                </a:moveTo>
                <a:cubicBezTo>
                  <a:pt x="98" y="181"/>
                  <a:pt x="97" y="182"/>
                  <a:pt x="98" y="182"/>
                </a:cubicBezTo>
                <a:cubicBezTo>
                  <a:pt x="98" y="181"/>
                  <a:pt x="98" y="181"/>
                  <a:pt x="98" y="181"/>
                </a:cubicBezTo>
                <a:cubicBezTo>
                  <a:pt x="98" y="181"/>
                  <a:pt x="98" y="181"/>
                  <a:pt x="97" y="181"/>
                </a:cubicBezTo>
                <a:close/>
                <a:moveTo>
                  <a:pt x="105" y="194"/>
                </a:moveTo>
                <a:cubicBezTo>
                  <a:pt x="106" y="194"/>
                  <a:pt x="106" y="192"/>
                  <a:pt x="107" y="192"/>
                </a:cubicBezTo>
                <a:cubicBezTo>
                  <a:pt x="107" y="192"/>
                  <a:pt x="107" y="192"/>
                  <a:pt x="107" y="192"/>
                </a:cubicBezTo>
                <a:cubicBezTo>
                  <a:pt x="106" y="192"/>
                  <a:pt x="105" y="193"/>
                  <a:pt x="105" y="194"/>
                </a:cubicBezTo>
                <a:close/>
                <a:moveTo>
                  <a:pt x="91" y="184"/>
                </a:moveTo>
                <a:cubicBezTo>
                  <a:pt x="92" y="184"/>
                  <a:pt x="91" y="185"/>
                  <a:pt x="91" y="185"/>
                </a:cubicBezTo>
                <a:cubicBezTo>
                  <a:pt x="92" y="185"/>
                  <a:pt x="92" y="184"/>
                  <a:pt x="93" y="184"/>
                </a:cubicBezTo>
                <a:cubicBezTo>
                  <a:pt x="92" y="184"/>
                  <a:pt x="92" y="184"/>
                  <a:pt x="92" y="183"/>
                </a:cubicBezTo>
                <a:cubicBezTo>
                  <a:pt x="92" y="184"/>
                  <a:pt x="92" y="184"/>
                  <a:pt x="91" y="184"/>
                </a:cubicBezTo>
                <a:close/>
                <a:moveTo>
                  <a:pt x="72" y="169"/>
                </a:moveTo>
                <a:cubicBezTo>
                  <a:pt x="73" y="170"/>
                  <a:pt x="73" y="170"/>
                  <a:pt x="73" y="170"/>
                </a:cubicBezTo>
                <a:cubicBezTo>
                  <a:pt x="73" y="169"/>
                  <a:pt x="75" y="168"/>
                  <a:pt x="74" y="167"/>
                </a:cubicBezTo>
                <a:cubicBezTo>
                  <a:pt x="73" y="168"/>
                  <a:pt x="73" y="169"/>
                  <a:pt x="72" y="169"/>
                </a:cubicBezTo>
                <a:close/>
                <a:moveTo>
                  <a:pt x="74" y="170"/>
                </a:moveTo>
                <a:cubicBezTo>
                  <a:pt x="75" y="170"/>
                  <a:pt x="76" y="169"/>
                  <a:pt x="76" y="168"/>
                </a:cubicBezTo>
                <a:cubicBezTo>
                  <a:pt x="75" y="169"/>
                  <a:pt x="74" y="170"/>
                  <a:pt x="74" y="170"/>
                </a:cubicBezTo>
                <a:close/>
                <a:moveTo>
                  <a:pt x="88" y="184"/>
                </a:moveTo>
                <a:cubicBezTo>
                  <a:pt x="89" y="185"/>
                  <a:pt x="89" y="185"/>
                  <a:pt x="89" y="185"/>
                </a:cubicBezTo>
                <a:cubicBezTo>
                  <a:pt x="90" y="184"/>
                  <a:pt x="90" y="184"/>
                  <a:pt x="90" y="183"/>
                </a:cubicBezTo>
                <a:cubicBezTo>
                  <a:pt x="90" y="183"/>
                  <a:pt x="89" y="184"/>
                  <a:pt x="88" y="184"/>
                </a:cubicBezTo>
                <a:close/>
                <a:moveTo>
                  <a:pt x="71" y="168"/>
                </a:moveTo>
                <a:cubicBezTo>
                  <a:pt x="71" y="168"/>
                  <a:pt x="71" y="167"/>
                  <a:pt x="71" y="167"/>
                </a:cubicBezTo>
                <a:cubicBezTo>
                  <a:pt x="71" y="167"/>
                  <a:pt x="71" y="168"/>
                  <a:pt x="71" y="168"/>
                </a:cubicBezTo>
                <a:close/>
                <a:moveTo>
                  <a:pt x="89" y="187"/>
                </a:moveTo>
                <a:cubicBezTo>
                  <a:pt x="90" y="188"/>
                  <a:pt x="90" y="187"/>
                  <a:pt x="90" y="187"/>
                </a:cubicBezTo>
                <a:cubicBezTo>
                  <a:pt x="91" y="187"/>
                  <a:pt x="91" y="186"/>
                  <a:pt x="91" y="186"/>
                </a:cubicBezTo>
                <a:cubicBezTo>
                  <a:pt x="90" y="186"/>
                  <a:pt x="90" y="187"/>
                  <a:pt x="89" y="186"/>
                </a:cubicBezTo>
                <a:cubicBezTo>
                  <a:pt x="89" y="186"/>
                  <a:pt x="90" y="187"/>
                  <a:pt x="89" y="187"/>
                </a:cubicBezTo>
                <a:close/>
                <a:moveTo>
                  <a:pt x="84" y="182"/>
                </a:moveTo>
                <a:cubicBezTo>
                  <a:pt x="84" y="182"/>
                  <a:pt x="85" y="180"/>
                  <a:pt x="84" y="180"/>
                </a:cubicBezTo>
                <a:cubicBezTo>
                  <a:pt x="84" y="181"/>
                  <a:pt x="83" y="181"/>
                  <a:pt x="84" y="182"/>
                </a:cubicBezTo>
                <a:close/>
                <a:moveTo>
                  <a:pt x="72" y="173"/>
                </a:moveTo>
                <a:cubicBezTo>
                  <a:pt x="72" y="173"/>
                  <a:pt x="73" y="173"/>
                  <a:pt x="73" y="173"/>
                </a:cubicBezTo>
                <a:cubicBezTo>
                  <a:pt x="73" y="173"/>
                  <a:pt x="73" y="173"/>
                  <a:pt x="73" y="172"/>
                </a:cubicBezTo>
                <a:cubicBezTo>
                  <a:pt x="72" y="172"/>
                  <a:pt x="75" y="172"/>
                  <a:pt x="74" y="171"/>
                </a:cubicBezTo>
                <a:cubicBezTo>
                  <a:pt x="73" y="171"/>
                  <a:pt x="73" y="172"/>
                  <a:pt x="72" y="173"/>
                </a:cubicBezTo>
                <a:close/>
                <a:moveTo>
                  <a:pt x="97" y="197"/>
                </a:moveTo>
                <a:cubicBezTo>
                  <a:pt x="98" y="196"/>
                  <a:pt x="99" y="195"/>
                  <a:pt x="99" y="194"/>
                </a:cubicBezTo>
                <a:cubicBezTo>
                  <a:pt x="99" y="195"/>
                  <a:pt x="97" y="195"/>
                  <a:pt x="97" y="197"/>
                </a:cubicBezTo>
                <a:close/>
                <a:moveTo>
                  <a:pt x="69" y="174"/>
                </a:moveTo>
                <a:cubicBezTo>
                  <a:pt x="70" y="173"/>
                  <a:pt x="71" y="172"/>
                  <a:pt x="72" y="171"/>
                </a:cubicBezTo>
                <a:cubicBezTo>
                  <a:pt x="72" y="170"/>
                  <a:pt x="72" y="170"/>
                  <a:pt x="72" y="170"/>
                </a:cubicBezTo>
                <a:cubicBezTo>
                  <a:pt x="71" y="172"/>
                  <a:pt x="69" y="172"/>
                  <a:pt x="69" y="174"/>
                </a:cubicBezTo>
                <a:close/>
                <a:moveTo>
                  <a:pt x="91" y="189"/>
                </a:moveTo>
                <a:cubicBezTo>
                  <a:pt x="91" y="189"/>
                  <a:pt x="92" y="189"/>
                  <a:pt x="91" y="188"/>
                </a:cubicBezTo>
                <a:cubicBezTo>
                  <a:pt x="91" y="189"/>
                  <a:pt x="90" y="189"/>
                  <a:pt x="91" y="189"/>
                </a:cubicBezTo>
                <a:close/>
                <a:moveTo>
                  <a:pt x="69" y="171"/>
                </a:moveTo>
                <a:cubicBezTo>
                  <a:pt x="69" y="170"/>
                  <a:pt x="70" y="169"/>
                  <a:pt x="70" y="169"/>
                </a:cubicBezTo>
                <a:cubicBezTo>
                  <a:pt x="69" y="169"/>
                  <a:pt x="68" y="170"/>
                  <a:pt x="69" y="171"/>
                </a:cubicBezTo>
                <a:close/>
                <a:moveTo>
                  <a:pt x="67" y="172"/>
                </a:moveTo>
                <a:cubicBezTo>
                  <a:pt x="68" y="173"/>
                  <a:pt x="68" y="172"/>
                  <a:pt x="68" y="171"/>
                </a:cubicBezTo>
                <a:lnTo>
                  <a:pt x="67" y="172"/>
                </a:lnTo>
                <a:close/>
                <a:moveTo>
                  <a:pt x="96" y="198"/>
                </a:moveTo>
                <a:cubicBezTo>
                  <a:pt x="97" y="198"/>
                  <a:pt x="97" y="197"/>
                  <a:pt x="97" y="197"/>
                </a:cubicBezTo>
                <a:cubicBezTo>
                  <a:pt x="96" y="197"/>
                  <a:pt x="96" y="198"/>
                  <a:pt x="96" y="198"/>
                </a:cubicBezTo>
                <a:close/>
                <a:moveTo>
                  <a:pt x="75" y="181"/>
                </a:moveTo>
                <a:cubicBezTo>
                  <a:pt x="76" y="181"/>
                  <a:pt x="77" y="180"/>
                  <a:pt x="76" y="180"/>
                </a:cubicBezTo>
                <a:cubicBezTo>
                  <a:pt x="76" y="180"/>
                  <a:pt x="75" y="181"/>
                  <a:pt x="75" y="181"/>
                </a:cubicBezTo>
                <a:close/>
                <a:moveTo>
                  <a:pt x="90" y="195"/>
                </a:moveTo>
                <a:cubicBezTo>
                  <a:pt x="91" y="196"/>
                  <a:pt x="91" y="194"/>
                  <a:pt x="92" y="194"/>
                </a:cubicBezTo>
                <a:cubicBezTo>
                  <a:pt x="92" y="194"/>
                  <a:pt x="92" y="194"/>
                  <a:pt x="91" y="193"/>
                </a:cubicBezTo>
                <a:cubicBezTo>
                  <a:pt x="91" y="194"/>
                  <a:pt x="91" y="195"/>
                  <a:pt x="90" y="195"/>
                </a:cubicBezTo>
                <a:close/>
                <a:moveTo>
                  <a:pt x="65" y="173"/>
                </a:moveTo>
                <a:cubicBezTo>
                  <a:pt x="66" y="173"/>
                  <a:pt x="66" y="172"/>
                  <a:pt x="66" y="172"/>
                </a:cubicBezTo>
                <a:cubicBezTo>
                  <a:pt x="66" y="172"/>
                  <a:pt x="65" y="173"/>
                  <a:pt x="65" y="173"/>
                </a:cubicBezTo>
                <a:close/>
                <a:moveTo>
                  <a:pt x="67" y="176"/>
                </a:moveTo>
                <a:cubicBezTo>
                  <a:pt x="68" y="177"/>
                  <a:pt x="69" y="175"/>
                  <a:pt x="68" y="175"/>
                </a:cubicBezTo>
                <a:cubicBezTo>
                  <a:pt x="68" y="176"/>
                  <a:pt x="67" y="176"/>
                  <a:pt x="67" y="176"/>
                </a:cubicBezTo>
                <a:close/>
                <a:moveTo>
                  <a:pt x="70" y="178"/>
                </a:moveTo>
                <a:cubicBezTo>
                  <a:pt x="70" y="179"/>
                  <a:pt x="70" y="178"/>
                  <a:pt x="70" y="177"/>
                </a:cubicBezTo>
                <a:cubicBezTo>
                  <a:pt x="70" y="177"/>
                  <a:pt x="70" y="178"/>
                  <a:pt x="70" y="178"/>
                </a:cubicBezTo>
                <a:close/>
                <a:moveTo>
                  <a:pt x="88" y="196"/>
                </a:moveTo>
                <a:cubicBezTo>
                  <a:pt x="89" y="196"/>
                  <a:pt x="90" y="195"/>
                  <a:pt x="89" y="194"/>
                </a:cubicBezTo>
                <a:cubicBezTo>
                  <a:pt x="89" y="196"/>
                  <a:pt x="87" y="195"/>
                  <a:pt x="88" y="196"/>
                </a:cubicBezTo>
                <a:close/>
                <a:moveTo>
                  <a:pt x="63" y="174"/>
                </a:moveTo>
                <a:cubicBezTo>
                  <a:pt x="63" y="174"/>
                  <a:pt x="63" y="174"/>
                  <a:pt x="63" y="174"/>
                </a:cubicBezTo>
                <a:cubicBezTo>
                  <a:pt x="64" y="174"/>
                  <a:pt x="64" y="173"/>
                  <a:pt x="64" y="172"/>
                </a:cubicBezTo>
                <a:cubicBezTo>
                  <a:pt x="64" y="172"/>
                  <a:pt x="64" y="173"/>
                  <a:pt x="63" y="174"/>
                </a:cubicBezTo>
                <a:close/>
                <a:moveTo>
                  <a:pt x="87" y="195"/>
                </a:moveTo>
                <a:cubicBezTo>
                  <a:pt x="87" y="194"/>
                  <a:pt x="87" y="194"/>
                  <a:pt x="88" y="194"/>
                </a:cubicBezTo>
                <a:cubicBezTo>
                  <a:pt x="87" y="193"/>
                  <a:pt x="87" y="193"/>
                  <a:pt x="87" y="193"/>
                </a:cubicBezTo>
                <a:cubicBezTo>
                  <a:pt x="87" y="194"/>
                  <a:pt x="86" y="194"/>
                  <a:pt x="87" y="195"/>
                </a:cubicBezTo>
                <a:close/>
                <a:moveTo>
                  <a:pt x="89" y="196"/>
                </a:moveTo>
                <a:cubicBezTo>
                  <a:pt x="89" y="196"/>
                  <a:pt x="90" y="197"/>
                  <a:pt x="90" y="197"/>
                </a:cubicBezTo>
                <a:cubicBezTo>
                  <a:pt x="90" y="196"/>
                  <a:pt x="90" y="196"/>
                  <a:pt x="89" y="196"/>
                </a:cubicBezTo>
                <a:close/>
                <a:moveTo>
                  <a:pt x="70" y="180"/>
                </a:moveTo>
                <a:cubicBezTo>
                  <a:pt x="70" y="180"/>
                  <a:pt x="70" y="180"/>
                  <a:pt x="70" y="179"/>
                </a:cubicBezTo>
                <a:cubicBezTo>
                  <a:pt x="70" y="179"/>
                  <a:pt x="69" y="179"/>
                  <a:pt x="69" y="180"/>
                </a:cubicBezTo>
                <a:cubicBezTo>
                  <a:pt x="69" y="180"/>
                  <a:pt x="69" y="180"/>
                  <a:pt x="70" y="180"/>
                </a:cubicBezTo>
                <a:close/>
                <a:moveTo>
                  <a:pt x="63" y="175"/>
                </a:moveTo>
                <a:cubicBezTo>
                  <a:pt x="62" y="175"/>
                  <a:pt x="61" y="176"/>
                  <a:pt x="61" y="177"/>
                </a:cubicBezTo>
                <a:cubicBezTo>
                  <a:pt x="62" y="177"/>
                  <a:pt x="63" y="175"/>
                  <a:pt x="63" y="174"/>
                </a:cubicBezTo>
                <a:cubicBezTo>
                  <a:pt x="63" y="174"/>
                  <a:pt x="63" y="175"/>
                  <a:pt x="63" y="175"/>
                </a:cubicBezTo>
                <a:close/>
                <a:moveTo>
                  <a:pt x="88" y="201"/>
                </a:moveTo>
                <a:cubicBezTo>
                  <a:pt x="88" y="202"/>
                  <a:pt x="88" y="202"/>
                  <a:pt x="89" y="202"/>
                </a:cubicBezTo>
                <a:cubicBezTo>
                  <a:pt x="89" y="201"/>
                  <a:pt x="89" y="201"/>
                  <a:pt x="90" y="200"/>
                </a:cubicBezTo>
                <a:cubicBezTo>
                  <a:pt x="90" y="200"/>
                  <a:pt x="90" y="200"/>
                  <a:pt x="90" y="199"/>
                </a:cubicBezTo>
                <a:cubicBezTo>
                  <a:pt x="90" y="199"/>
                  <a:pt x="90" y="199"/>
                  <a:pt x="90" y="199"/>
                </a:cubicBezTo>
                <a:cubicBezTo>
                  <a:pt x="89" y="200"/>
                  <a:pt x="89" y="201"/>
                  <a:pt x="88" y="201"/>
                </a:cubicBezTo>
                <a:close/>
                <a:moveTo>
                  <a:pt x="92" y="203"/>
                </a:moveTo>
                <a:cubicBezTo>
                  <a:pt x="92" y="203"/>
                  <a:pt x="93" y="202"/>
                  <a:pt x="93" y="202"/>
                </a:cubicBezTo>
                <a:cubicBezTo>
                  <a:pt x="92" y="202"/>
                  <a:pt x="92" y="202"/>
                  <a:pt x="92" y="203"/>
                </a:cubicBezTo>
                <a:close/>
                <a:moveTo>
                  <a:pt x="62" y="177"/>
                </a:moveTo>
                <a:cubicBezTo>
                  <a:pt x="62" y="177"/>
                  <a:pt x="63" y="177"/>
                  <a:pt x="63" y="176"/>
                </a:cubicBezTo>
                <a:cubicBezTo>
                  <a:pt x="62" y="176"/>
                  <a:pt x="62" y="177"/>
                  <a:pt x="62" y="177"/>
                </a:cubicBezTo>
                <a:close/>
                <a:moveTo>
                  <a:pt x="62" y="177"/>
                </a:moveTo>
                <a:cubicBezTo>
                  <a:pt x="62" y="178"/>
                  <a:pt x="63" y="178"/>
                  <a:pt x="63" y="178"/>
                </a:cubicBezTo>
                <a:cubicBezTo>
                  <a:pt x="63" y="177"/>
                  <a:pt x="63" y="177"/>
                  <a:pt x="62" y="177"/>
                </a:cubicBezTo>
                <a:close/>
                <a:moveTo>
                  <a:pt x="90" y="205"/>
                </a:moveTo>
                <a:cubicBezTo>
                  <a:pt x="90" y="205"/>
                  <a:pt x="92" y="204"/>
                  <a:pt x="91" y="203"/>
                </a:cubicBezTo>
                <a:cubicBezTo>
                  <a:pt x="91" y="203"/>
                  <a:pt x="90" y="204"/>
                  <a:pt x="90" y="205"/>
                </a:cubicBezTo>
                <a:close/>
                <a:moveTo>
                  <a:pt x="89" y="203"/>
                </a:moveTo>
                <a:cubicBezTo>
                  <a:pt x="90" y="204"/>
                  <a:pt x="91" y="202"/>
                  <a:pt x="90" y="202"/>
                </a:cubicBezTo>
                <a:cubicBezTo>
                  <a:pt x="90" y="203"/>
                  <a:pt x="90" y="203"/>
                  <a:pt x="89" y="203"/>
                </a:cubicBezTo>
                <a:close/>
                <a:moveTo>
                  <a:pt x="78" y="193"/>
                </a:moveTo>
                <a:cubicBezTo>
                  <a:pt x="76" y="194"/>
                  <a:pt x="79" y="195"/>
                  <a:pt x="78" y="196"/>
                </a:cubicBezTo>
                <a:cubicBezTo>
                  <a:pt x="79" y="196"/>
                  <a:pt x="80" y="194"/>
                  <a:pt x="80" y="194"/>
                </a:cubicBezTo>
                <a:cubicBezTo>
                  <a:pt x="79" y="195"/>
                  <a:pt x="78" y="194"/>
                  <a:pt x="78" y="193"/>
                </a:cubicBezTo>
                <a:close/>
                <a:moveTo>
                  <a:pt x="70" y="188"/>
                </a:moveTo>
                <a:cubicBezTo>
                  <a:pt x="69" y="188"/>
                  <a:pt x="70" y="188"/>
                  <a:pt x="69" y="188"/>
                </a:cubicBezTo>
                <a:cubicBezTo>
                  <a:pt x="69" y="189"/>
                  <a:pt x="67" y="189"/>
                  <a:pt x="68" y="190"/>
                </a:cubicBezTo>
                <a:cubicBezTo>
                  <a:pt x="68" y="189"/>
                  <a:pt x="70" y="190"/>
                  <a:pt x="70" y="188"/>
                </a:cubicBezTo>
                <a:cubicBezTo>
                  <a:pt x="70" y="188"/>
                  <a:pt x="70" y="188"/>
                  <a:pt x="70" y="188"/>
                </a:cubicBezTo>
                <a:close/>
                <a:moveTo>
                  <a:pt x="66" y="185"/>
                </a:moveTo>
                <a:cubicBezTo>
                  <a:pt x="65" y="185"/>
                  <a:pt x="65" y="185"/>
                  <a:pt x="66" y="186"/>
                </a:cubicBezTo>
                <a:cubicBezTo>
                  <a:pt x="66" y="185"/>
                  <a:pt x="66" y="184"/>
                  <a:pt x="66" y="185"/>
                </a:cubicBezTo>
                <a:close/>
                <a:moveTo>
                  <a:pt x="79" y="199"/>
                </a:moveTo>
                <a:cubicBezTo>
                  <a:pt x="80" y="199"/>
                  <a:pt x="81" y="198"/>
                  <a:pt x="81" y="198"/>
                </a:cubicBezTo>
                <a:cubicBezTo>
                  <a:pt x="80" y="198"/>
                  <a:pt x="79" y="199"/>
                  <a:pt x="79" y="199"/>
                </a:cubicBezTo>
                <a:close/>
                <a:moveTo>
                  <a:pt x="84" y="202"/>
                </a:moveTo>
                <a:cubicBezTo>
                  <a:pt x="85" y="202"/>
                  <a:pt x="85" y="201"/>
                  <a:pt x="85" y="201"/>
                </a:cubicBezTo>
                <a:cubicBezTo>
                  <a:pt x="84" y="201"/>
                  <a:pt x="84" y="202"/>
                  <a:pt x="84" y="202"/>
                </a:cubicBezTo>
                <a:close/>
                <a:moveTo>
                  <a:pt x="58" y="182"/>
                </a:moveTo>
                <a:cubicBezTo>
                  <a:pt x="58" y="183"/>
                  <a:pt x="60" y="181"/>
                  <a:pt x="59" y="181"/>
                </a:cubicBezTo>
                <a:cubicBezTo>
                  <a:pt x="59" y="181"/>
                  <a:pt x="57" y="182"/>
                  <a:pt x="58" y="182"/>
                </a:cubicBezTo>
                <a:close/>
                <a:moveTo>
                  <a:pt x="76" y="197"/>
                </a:moveTo>
                <a:cubicBezTo>
                  <a:pt x="77" y="198"/>
                  <a:pt x="78" y="196"/>
                  <a:pt x="77" y="197"/>
                </a:cubicBezTo>
                <a:cubicBezTo>
                  <a:pt x="77" y="197"/>
                  <a:pt x="76" y="197"/>
                  <a:pt x="76" y="197"/>
                </a:cubicBezTo>
                <a:close/>
                <a:moveTo>
                  <a:pt x="68" y="191"/>
                </a:moveTo>
                <a:cubicBezTo>
                  <a:pt x="68" y="191"/>
                  <a:pt x="68" y="191"/>
                  <a:pt x="69" y="191"/>
                </a:cubicBezTo>
                <a:cubicBezTo>
                  <a:pt x="68" y="191"/>
                  <a:pt x="69" y="190"/>
                  <a:pt x="69" y="190"/>
                </a:cubicBezTo>
                <a:cubicBezTo>
                  <a:pt x="68" y="190"/>
                  <a:pt x="68" y="191"/>
                  <a:pt x="68" y="191"/>
                </a:cubicBezTo>
                <a:close/>
                <a:moveTo>
                  <a:pt x="69" y="194"/>
                </a:moveTo>
                <a:cubicBezTo>
                  <a:pt x="70" y="195"/>
                  <a:pt x="70" y="194"/>
                  <a:pt x="71" y="194"/>
                </a:cubicBezTo>
                <a:cubicBezTo>
                  <a:pt x="70" y="193"/>
                  <a:pt x="71" y="193"/>
                  <a:pt x="70" y="193"/>
                </a:cubicBezTo>
                <a:cubicBezTo>
                  <a:pt x="70" y="193"/>
                  <a:pt x="70" y="194"/>
                  <a:pt x="69" y="194"/>
                </a:cubicBezTo>
                <a:close/>
                <a:moveTo>
                  <a:pt x="64" y="195"/>
                </a:moveTo>
                <a:cubicBezTo>
                  <a:pt x="64" y="194"/>
                  <a:pt x="64" y="195"/>
                  <a:pt x="64" y="194"/>
                </a:cubicBezTo>
                <a:cubicBezTo>
                  <a:pt x="65" y="193"/>
                  <a:pt x="65" y="191"/>
                  <a:pt x="67" y="190"/>
                </a:cubicBezTo>
                <a:cubicBezTo>
                  <a:pt x="67" y="191"/>
                  <a:pt x="67" y="192"/>
                  <a:pt x="68" y="191"/>
                </a:cubicBezTo>
                <a:cubicBezTo>
                  <a:pt x="67" y="193"/>
                  <a:pt x="66" y="194"/>
                  <a:pt x="65" y="195"/>
                </a:cubicBezTo>
                <a:cubicBezTo>
                  <a:pt x="65" y="194"/>
                  <a:pt x="66" y="194"/>
                  <a:pt x="66" y="193"/>
                </a:cubicBezTo>
                <a:cubicBezTo>
                  <a:pt x="65" y="192"/>
                  <a:pt x="65" y="195"/>
                  <a:pt x="64" y="195"/>
                </a:cubicBezTo>
                <a:cubicBezTo>
                  <a:pt x="64" y="195"/>
                  <a:pt x="64" y="195"/>
                  <a:pt x="64" y="195"/>
                </a:cubicBezTo>
                <a:close/>
                <a:moveTo>
                  <a:pt x="66" y="192"/>
                </a:moveTo>
                <a:cubicBezTo>
                  <a:pt x="66" y="192"/>
                  <a:pt x="68" y="192"/>
                  <a:pt x="67" y="191"/>
                </a:cubicBezTo>
                <a:cubicBezTo>
                  <a:pt x="67" y="192"/>
                  <a:pt x="66" y="192"/>
                  <a:pt x="66" y="192"/>
                </a:cubicBezTo>
                <a:close/>
                <a:moveTo>
                  <a:pt x="68" y="196"/>
                </a:moveTo>
                <a:cubicBezTo>
                  <a:pt x="69" y="196"/>
                  <a:pt x="69" y="195"/>
                  <a:pt x="69" y="195"/>
                </a:cubicBezTo>
                <a:cubicBezTo>
                  <a:pt x="69" y="195"/>
                  <a:pt x="68" y="196"/>
                  <a:pt x="68" y="196"/>
                </a:cubicBezTo>
                <a:close/>
                <a:moveTo>
                  <a:pt x="81" y="205"/>
                </a:moveTo>
                <a:cubicBezTo>
                  <a:pt x="81" y="206"/>
                  <a:pt x="80" y="206"/>
                  <a:pt x="80" y="207"/>
                </a:cubicBezTo>
                <a:cubicBezTo>
                  <a:pt x="81" y="207"/>
                  <a:pt x="81" y="206"/>
                  <a:pt x="81" y="205"/>
                </a:cubicBezTo>
                <a:close/>
                <a:moveTo>
                  <a:pt x="85" y="210"/>
                </a:moveTo>
                <a:cubicBezTo>
                  <a:pt x="85" y="211"/>
                  <a:pt x="84" y="211"/>
                  <a:pt x="84" y="213"/>
                </a:cubicBezTo>
                <a:cubicBezTo>
                  <a:pt x="84" y="212"/>
                  <a:pt x="87" y="210"/>
                  <a:pt x="86" y="210"/>
                </a:cubicBezTo>
                <a:cubicBezTo>
                  <a:pt x="86" y="210"/>
                  <a:pt x="85" y="210"/>
                  <a:pt x="85" y="210"/>
                </a:cubicBezTo>
                <a:close/>
                <a:moveTo>
                  <a:pt x="81" y="210"/>
                </a:moveTo>
                <a:cubicBezTo>
                  <a:pt x="82" y="210"/>
                  <a:pt x="83" y="209"/>
                  <a:pt x="83" y="207"/>
                </a:cubicBezTo>
                <a:cubicBezTo>
                  <a:pt x="82" y="208"/>
                  <a:pt x="81" y="209"/>
                  <a:pt x="81" y="210"/>
                </a:cubicBezTo>
                <a:close/>
                <a:moveTo>
                  <a:pt x="67" y="196"/>
                </a:moveTo>
                <a:cubicBezTo>
                  <a:pt x="67" y="195"/>
                  <a:pt x="67" y="195"/>
                  <a:pt x="67" y="195"/>
                </a:cubicBezTo>
                <a:cubicBezTo>
                  <a:pt x="66" y="194"/>
                  <a:pt x="67" y="195"/>
                  <a:pt x="67" y="196"/>
                </a:cubicBezTo>
                <a:close/>
                <a:moveTo>
                  <a:pt x="54" y="186"/>
                </a:moveTo>
                <a:cubicBezTo>
                  <a:pt x="55" y="186"/>
                  <a:pt x="55" y="186"/>
                  <a:pt x="55" y="186"/>
                </a:cubicBezTo>
                <a:cubicBezTo>
                  <a:pt x="55" y="186"/>
                  <a:pt x="55" y="187"/>
                  <a:pt x="55" y="187"/>
                </a:cubicBezTo>
                <a:cubicBezTo>
                  <a:pt x="56" y="186"/>
                  <a:pt x="55" y="186"/>
                  <a:pt x="55" y="186"/>
                </a:cubicBezTo>
                <a:cubicBezTo>
                  <a:pt x="55" y="185"/>
                  <a:pt x="55" y="186"/>
                  <a:pt x="54" y="186"/>
                </a:cubicBezTo>
                <a:cubicBezTo>
                  <a:pt x="54" y="186"/>
                  <a:pt x="54" y="186"/>
                  <a:pt x="54" y="186"/>
                </a:cubicBezTo>
                <a:close/>
                <a:moveTo>
                  <a:pt x="63" y="194"/>
                </a:moveTo>
                <a:cubicBezTo>
                  <a:pt x="63" y="194"/>
                  <a:pt x="64" y="194"/>
                  <a:pt x="64" y="193"/>
                </a:cubicBezTo>
                <a:cubicBezTo>
                  <a:pt x="63" y="193"/>
                  <a:pt x="62" y="194"/>
                  <a:pt x="63" y="194"/>
                </a:cubicBezTo>
                <a:close/>
                <a:moveTo>
                  <a:pt x="68" y="198"/>
                </a:moveTo>
                <a:cubicBezTo>
                  <a:pt x="68" y="197"/>
                  <a:pt x="68" y="197"/>
                  <a:pt x="68" y="197"/>
                </a:cubicBezTo>
                <a:cubicBezTo>
                  <a:pt x="68" y="197"/>
                  <a:pt x="67" y="198"/>
                  <a:pt x="68" y="198"/>
                </a:cubicBezTo>
                <a:close/>
                <a:moveTo>
                  <a:pt x="68" y="200"/>
                </a:moveTo>
                <a:cubicBezTo>
                  <a:pt x="69" y="201"/>
                  <a:pt x="69" y="200"/>
                  <a:pt x="70" y="200"/>
                </a:cubicBezTo>
                <a:cubicBezTo>
                  <a:pt x="70" y="200"/>
                  <a:pt x="70" y="199"/>
                  <a:pt x="70" y="199"/>
                </a:cubicBezTo>
                <a:cubicBezTo>
                  <a:pt x="70" y="199"/>
                  <a:pt x="70" y="199"/>
                  <a:pt x="70" y="198"/>
                </a:cubicBezTo>
                <a:cubicBezTo>
                  <a:pt x="69" y="199"/>
                  <a:pt x="69" y="200"/>
                  <a:pt x="68" y="200"/>
                </a:cubicBezTo>
                <a:close/>
                <a:moveTo>
                  <a:pt x="53" y="186"/>
                </a:moveTo>
                <a:cubicBezTo>
                  <a:pt x="53" y="185"/>
                  <a:pt x="54" y="185"/>
                  <a:pt x="53" y="184"/>
                </a:cubicBezTo>
                <a:cubicBezTo>
                  <a:pt x="53" y="184"/>
                  <a:pt x="53" y="185"/>
                  <a:pt x="53" y="186"/>
                </a:cubicBezTo>
                <a:close/>
                <a:moveTo>
                  <a:pt x="66" y="197"/>
                </a:moveTo>
                <a:cubicBezTo>
                  <a:pt x="67" y="196"/>
                  <a:pt x="66" y="197"/>
                  <a:pt x="66" y="196"/>
                </a:cubicBezTo>
                <a:cubicBezTo>
                  <a:pt x="66" y="196"/>
                  <a:pt x="66" y="197"/>
                  <a:pt x="66" y="197"/>
                </a:cubicBezTo>
                <a:close/>
                <a:moveTo>
                  <a:pt x="71" y="202"/>
                </a:moveTo>
                <a:cubicBezTo>
                  <a:pt x="71" y="202"/>
                  <a:pt x="72" y="202"/>
                  <a:pt x="72" y="201"/>
                </a:cubicBezTo>
                <a:cubicBezTo>
                  <a:pt x="71" y="201"/>
                  <a:pt x="70" y="202"/>
                  <a:pt x="71" y="202"/>
                </a:cubicBezTo>
                <a:close/>
                <a:moveTo>
                  <a:pt x="60" y="193"/>
                </a:moveTo>
                <a:cubicBezTo>
                  <a:pt x="61" y="193"/>
                  <a:pt x="61" y="193"/>
                  <a:pt x="61" y="194"/>
                </a:cubicBezTo>
                <a:cubicBezTo>
                  <a:pt x="61" y="193"/>
                  <a:pt x="61" y="194"/>
                  <a:pt x="61" y="194"/>
                </a:cubicBezTo>
                <a:cubicBezTo>
                  <a:pt x="61" y="194"/>
                  <a:pt x="62" y="193"/>
                  <a:pt x="61" y="193"/>
                </a:cubicBezTo>
                <a:cubicBezTo>
                  <a:pt x="61" y="193"/>
                  <a:pt x="61" y="193"/>
                  <a:pt x="60" y="193"/>
                </a:cubicBezTo>
                <a:close/>
                <a:moveTo>
                  <a:pt x="54" y="191"/>
                </a:moveTo>
                <a:cubicBezTo>
                  <a:pt x="55" y="191"/>
                  <a:pt x="56" y="190"/>
                  <a:pt x="56" y="189"/>
                </a:cubicBezTo>
                <a:cubicBezTo>
                  <a:pt x="55" y="189"/>
                  <a:pt x="54" y="190"/>
                  <a:pt x="54" y="191"/>
                </a:cubicBezTo>
                <a:close/>
                <a:moveTo>
                  <a:pt x="76" y="210"/>
                </a:moveTo>
                <a:cubicBezTo>
                  <a:pt x="77" y="209"/>
                  <a:pt x="78" y="209"/>
                  <a:pt x="78" y="208"/>
                </a:cubicBezTo>
                <a:cubicBezTo>
                  <a:pt x="78" y="208"/>
                  <a:pt x="76" y="210"/>
                  <a:pt x="76" y="210"/>
                </a:cubicBezTo>
                <a:close/>
                <a:moveTo>
                  <a:pt x="75" y="208"/>
                </a:moveTo>
                <a:cubicBezTo>
                  <a:pt x="75" y="208"/>
                  <a:pt x="75" y="208"/>
                  <a:pt x="75" y="208"/>
                </a:cubicBezTo>
                <a:cubicBezTo>
                  <a:pt x="75" y="208"/>
                  <a:pt x="75" y="207"/>
                  <a:pt x="75" y="207"/>
                </a:cubicBezTo>
                <a:cubicBezTo>
                  <a:pt x="75" y="207"/>
                  <a:pt x="75" y="207"/>
                  <a:pt x="75" y="207"/>
                </a:cubicBezTo>
                <a:cubicBezTo>
                  <a:pt x="74" y="207"/>
                  <a:pt x="75" y="207"/>
                  <a:pt x="74" y="208"/>
                </a:cubicBezTo>
                <a:lnTo>
                  <a:pt x="75" y="208"/>
                </a:lnTo>
                <a:close/>
                <a:moveTo>
                  <a:pt x="74" y="206"/>
                </a:moveTo>
                <a:cubicBezTo>
                  <a:pt x="73" y="207"/>
                  <a:pt x="73" y="205"/>
                  <a:pt x="73" y="206"/>
                </a:cubicBezTo>
                <a:cubicBezTo>
                  <a:pt x="73" y="206"/>
                  <a:pt x="72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4" y="207"/>
                  <a:pt x="74" y="206"/>
                  <a:pt x="74" y="206"/>
                </a:cubicBezTo>
                <a:close/>
                <a:moveTo>
                  <a:pt x="50" y="189"/>
                </a:moveTo>
                <a:cubicBezTo>
                  <a:pt x="51" y="190"/>
                  <a:pt x="52" y="189"/>
                  <a:pt x="51" y="188"/>
                </a:cubicBezTo>
                <a:cubicBezTo>
                  <a:pt x="51" y="189"/>
                  <a:pt x="51" y="189"/>
                  <a:pt x="50" y="189"/>
                </a:cubicBezTo>
                <a:close/>
                <a:moveTo>
                  <a:pt x="53" y="192"/>
                </a:moveTo>
                <a:cubicBezTo>
                  <a:pt x="54" y="193"/>
                  <a:pt x="54" y="192"/>
                  <a:pt x="54" y="192"/>
                </a:cubicBezTo>
                <a:cubicBezTo>
                  <a:pt x="54" y="192"/>
                  <a:pt x="54" y="191"/>
                  <a:pt x="54" y="191"/>
                </a:cubicBezTo>
                <a:lnTo>
                  <a:pt x="53" y="192"/>
                </a:lnTo>
                <a:close/>
                <a:moveTo>
                  <a:pt x="73" y="209"/>
                </a:moveTo>
                <a:cubicBezTo>
                  <a:pt x="73" y="209"/>
                  <a:pt x="73" y="210"/>
                  <a:pt x="73" y="209"/>
                </a:cubicBezTo>
                <a:cubicBezTo>
                  <a:pt x="73" y="209"/>
                  <a:pt x="74" y="210"/>
                  <a:pt x="74" y="209"/>
                </a:cubicBezTo>
                <a:cubicBezTo>
                  <a:pt x="74" y="209"/>
                  <a:pt x="74" y="208"/>
                  <a:pt x="74" y="208"/>
                </a:cubicBezTo>
                <a:cubicBezTo>
                  <a:pt x="73" y="209"/>
                  <a:pt x="73" y="208"/>
                  <a:pt x="73" y="208"/>
                </a:cubicBezTo>
                <a:cubicBezTo>
                  <a:pt x="73" y="208"/>
                  <a:pt x="73" y="209"/>
                  <a:pt x="73" y="209"/>
                </a:cubicBezTo>
                <a:cubicBezTo>
                  <a:pt x="73" y="209"/>
                  <a:pt x="73" y="209"/>
                  <a:pt x="73" y="209"/>
                </a:cubicBezTo>
                <a:close/>
                <a:moveTo>
                  <a:pt x="49" y="190"/>
                </a:moveTo>
                <a:cubicBezTo>
                  <a:pt x="49" y="190"/>
                  <a:pt x="50" y="189"/>
                  <a:pt x="50" y="189"/>
                </a:cubicBezTo>
                <a:cubicBezTo>
                  <a:pt x="50" y="189"/>
                  <a:pt x="49" y="190"/>
                  <a:pt x="49" y="190"/>
                </a:cubicBezTo>
                <a:close/>
                <a:moveTo>
                  <a:pt x="52" y="194"/>
                </a:moveTo>
                <a:cubicBezTo>
                  <a:pt x="53" y="194"/>
                  <a:pt x="54" y="193"/>
                  <a:pt x="53" y="192"/>
                </a:cubicBezTo>
                <a:cubicBezTo>
                  <a:pt x="53" y="193"/>
                  <a:pt x="52" y="193"/>
                  <a:pt x="52" y="194"/>
                </a:cubicBezTo>
                <a:close/>
                <a:moveTo>
                  <a:pt x="66" y="205"/>
                </a:moveTo>
                <a:cubicBezTo>
                  <a:pt x="66" y="205"/>
                  <a:pt x="67" y="204"/>
                  <a:pt x="67" y="204"/>
                </a:cubicBezTo>
                <a:cubicBezTo>
                  <a:pt x="67" y="204"/>
                  <a:pt x="67" y="204"/>
                  <a:pt x="67" y="204"/>
                </a:cubicBezTo>
                <a:cubicBezTo>
                  <a:pt x="67" y="204"/>
                  <a:pt x="66" y="205"/>
                  <a:pt x="66" y="205"/>
                </a:cubicBezTo>
                <a:close/>
                <a:moveTo>
                  <a:pt x="58" y="198"/>
                </a:moveTo>
                <a:cubicBezTo>
                  <a:pt x="57" y="198"/>
                  <a:pt x="57" y="197"/>
                  <a:pt x="57" y="197"/>
                </a:cubicBezTo>
                <a:cubicBezTo>
                  <a:pt x="56" y="197"/>
                  <a:pt x="57" y="198"/>
                  <a:pt x="58" y="198"/>
                </a:cubicBezTo>
                <a:close/>
                <a:moveTo>
                  <a:pt x="50" y="197"/>
                </a:moveTo>
                <a:cubicBezTo>
                  <a:pt x="51" y="196"/>
                  <a:pt x="51" y="195"/>
                  <a:pt x="52" y="195"/>
                </a:cubicBezTo>
                <a:cubicBezTo>
                  <a:pt x="52" y="194"/>
                  <a:pt x="52" y="194"/>
                  <a:pt x="52" y="194"/>
                </a:cubicBezTo>
                <a:cubicBezTo>
                  <a:pt x="51" y="195"/>
                  <a:pt x="50" y="196"/>
                  <a:pt x="50" y="197"/>
                </a:cubicBezTo>
                <a:close/>
                <a:moveTo>
                  <a:pt x="79" y="218"/>
                </a:moveTo>
                <a:cubicBezTo>
                  <a:pt x="80" y="219"/>
                  <a:pt x="80" y="218"/>
                  <a:pt x="80" y="218"/>
                </a:cubicBezTo>
                <a:cubicBezTo>
                  <a:pt x="80" y="218"/>
                  <a:pt x="80" y="218"/>
                  <a:pt x="79" y="218"/>
                </a:cubicBezTo>
                <a:close/>
                <a:moveTo>
                  <a:pt x="45" y="192"/>
                </a:moveTo>
                <a:cubicBezTo>
                  <a:pt x="45" y="192"/>
                  <a:pt x="47" y="192"/>
                  <a:pt x="46" y="191"/>
                </a:cubicBezTo>
                <a:cubicBezTo>
                  <a:pt x="46" y="192"/>
                  <a:pt x="45" y="191"/>
                  <a:pt x="45" y="192"/>
                </a:cubicBezTo>
                <a:close/>
                <a:moveTo>
                  <a:pt x="42" y="196"/>
                </a:moveTo>
                <a:cubicBezTo>
                  <a:pt x="44" y="196"/>
                  <a:pt x="43" y="194"/>
                  <a:pt x="45" y="193"/>
                </a:cubicBezTo>
                <a:cubicBezTo>
                  <a:pt x="44" y="193"/>
                  <a:pt x="44" y="193"/>
                  <a:pt x="44" y="193"/>
                </a:cubicBezTo>
                <a:cubicBezTo>
                  <a:pt x="44" y="194"/>
                  <a:pt x="42" y="194"/>
                  <a:pt x="42" y="196"/>
                </a:cubicBezTo>
                <a:close/>
                <a:moveTo>
                  <a:pt x="49" y="199"/>
                </a:moveTo>
                <a:cubicBezTo>
                  <a:pt x="49" y="198"/>
                  <a:pt x="50" y="198"/>
                  <a:pt x="49" y="197"/>
                </a:cubicBezTo>
                <a:cubicBezTo>
                  <a:pt x="49" y="198"/>
                  <a:pt x="48" y="198"/>
                  <a:pt x="49" y="199"/>
                </a:cubicBezTo>
                <a:close/>
                <a:moveTo>
                  <a:pt x="67" y="214"/>
                </a:moveTo>
                <a:cubicBezTo>
                  <a:pt x="67" y="214"/>
                  <a:pt x="66" y="215"/>
                  <a:pt x="67" y="215"/>
                </a:cubicBezTo>
                <a:cubicBezTo>
                  <a:pt x="66" y="214"/>
                  <a:pt x="68" y="214"/>
                  <a:pt x="68" y="214"/>
                </a:cubicBezTo>
                <a:cubicBezTo>
                  <a:pt x="67" y="214"/>
                  <a:pt x="67" y="214"/>
                  <a:pt x="67" y="214"/>
                </a:cubicBezTo>
                <a:close/>
                <a:moveTo>
                  <a:pt x="72" y="224"/>
                </a:moveTo>
                <a:cubicBezTo>
                  <a:pt x="72" y="224"/>
                  <a:pt x="74" y="222"/>
                  <a:pt x="74" y="221"/>
                </a:cubicBezTo>
                <a:cubicBezTo>
                  <a:pt x="74" y="222"/>
                  <a:pt x="72" y="224"/>
                  <a:pt x="72" y="224"/>
                </a:cubicBezTo>
                <a:close/>
                <a:moveTo>
                  <a:pt x="59" y="212"/>
                </a:moveTo>
                <a:cubicBezTo>
                  <a:pt x="59" y="211"/>
                  <a:pt x="61" y="211"/>
                  <a:pt x="61" y="211"/>
                </a:cubicBezTo>
                <a:cubicBezTo>
                  <a:pt x="60" y="211"/>
                  <a:pt x="59" y="211"/>
                  <a:pt x="59" y="212"/>
                </a:cubicBezTo>
                <a:close/>
                <a:moveTo>
                  <a:pt x="71" y="219"/>
                </a:moveTo>
                <a:cubicBezTo>
                  <a:pt x="71" y="219"/>
                  <a:pt x="70" y="219"/>
                  <a:pt x="70" y="218"/>
                </a:cubicBezTo>
                <a:cubicBezTo>
                  <a:pt x="70" y="219"/>
                  <a:pt x="70" y="219"/>
                  <a:pt x="71" y="219"/>
                </a:cubicBezTo>
                <a:close/>
                <a:moveTo>
                  <a:pt x="41" y="197"/>
                </a:moveTo>
                <a:cubicBezTo>
                  <a:pt x="42" y="198"/>
                  <a:pt x="42" y="197"/>
                  <a:pt x="42" y="196"/>
                </a:cubicBezTo>
                <a:cubicBezTo>
                  <a:pt x="42" y="196"/>
                  <a:pt x="42" y="196"/>
                  <a:pt x="41" y="197"/>
                </a:cubicBezTo>
                <a:close/>
                <a:moveTo>
                  <a:pt x="57" y="214"/>
                </a:moveTo>
                <a:cubicBezTo>
                  <a:pt x="57" y="214"/>
                  <a:pt x="57" y="214"/>
                  <a:pt x="57" y="215"/>
                </a:cubicBezTo>
                <a:cubicBezTo>
                  <a:pt x="58" y="214"/>
                  <a:pt x="58" y="214"/>
                  <a:pt x="58" y="213"/>
                </a:cubicBezTo>
                <a:cubicBezTo>
                  <a:pt x="58" y="214"/>
                  <a:pt x="58" y="214"/>
                  <a:pt x="57" y="214"/>
                </a:cubicBezTo>
                <a:close/>
                <a:moveTo>
                  <a:pt x="62" y="219"/>
                </a:moveTo>
                <a:cubicBezTo>
                  <a:pt x="62" y="218"/>
                  <a:pt x="62" y="218"/>
                  <a:pt x="62" y="218"/>
                </a:cubicBezTo>
                <a:cubicBezTo>
                  <a:pt x="61" y="218"/>
                  <a:pt x="61" y="218"/>
                  <a:pt x="62" y="219"/>
                </a:cubicBezTo>
                <a:close/>
                <a:moveTo>
                  <a:pt x="62" y="219"/>
                </a:moveTo>
                <a:cubicBezTo>
                  <a:pt x="62" y="220"/>
                  <a:pt x="63" y="220"/>
                  <a:pt x="63" y="220"/>
                </a:cubicBezTo>
                <a:cubicBezTo>
                  <a:pt x="63" y="220"/>
                  <a:pt x="62" y="219"/>
                  <a:pt x="62" y="219"/>
                </a:cubicBezTo>
                <a:close/>
                <a:moveTo>
                  <a:pt x="43" y="206"/>
                </a:moveTo>
                <a:cubicBezTo>
                  <a:pt x="43" y="205"/>
                  <a:pt x="44" y="204"/>
                  <a:pt x="43" y="204"/>
                </a:cubicBezTo>
                <a:cubicBezTo>
                  <a:pt x="42" y="205"/>
                  <a:pt x="42" y="205"/>
                  <a:pt x="43" y="206"/>
                </a:cubicBezTo>
                <a:close/>
                <a:moveTo>
                  <a:pt x="59" y="218"/>
                </a:moveTo>
                <a:cubicBezTo>
                  <a:pt x="60" y="219"/>
                  <a:pt x="60" y="218"/>
                  <a:pt x="60" y="217"/>
                </a:cubicBezTo>
                <a:cubicBezTo>
                  <a:pt x="60" y="217"/>
                  <a:pt x="59" y="218"/>
                  <a:pt x="59" y="218"/>
                </a:cubicBezTo>
                <a:close/>
                <a:moveTo>
                  <a:pt x="57" y="218"/>
                </a:moveTo>
                <a:cubicBezTo>
                  <a:pt x="57" y="217"/>
                  <a:pt x="58" y="217"/>
                  <a:pt x="58" y="216"/>
                </a:cubicBezTo>
                <a:cubicBezTo>
                  <a:pt x="58" y="216"/>
                  <a:pt x="57" y="217"/>
                  <a:pt x="57" y="218"/>
                </a:cubicBezTo>
                <a:close/>
                <a:moveTo>
                  <a:pt x="64" y="226"/>
                </a:moveTo>
                <a:cubicBezTo>
                  <a:pt x="65" y="225"/>
                  <a:pt x="66" y="225"/>
                  <a:pt x="66" y="224"/>
                </a:cubicBezTo>
                <a:cubicBezTo>
                  <a:pt x="66" y="224"/>
                  <a:pt x="66" y="224"/>
                  <a:pt x="66" y="223"/>
                </a:cubicBezTo>
                <a:cubicBezTo>
                  <a:pt x="65" y="224"/>
                  <a:pt x="64" y="225"/>
                  <a:pt x="64" y="226"/>
                </a:cubicBezTo>
                <a:close/>
                <a:moveTo>
                  <a:pt x="49" y="214"/>
                </a:moveTo>
                <a:cubicBezTo>
                  <a:pt x="50" y="214"/>
                  <a:pt x="51" y="213"/>
                  <a:pt x="51" y="212"/>
                </a:cubicBezTo>
                <a:cubicBezTo>
                  <a:pt x="50" y="213"/>
                  <a:pt x="49" y="213"/>
                  <a:pt x="49" y="214"/>
                </a:cubicBezTo>
                <a:close/>
                <a:moveTo>
                  <a:pt x="57" y="221"/>
                </a:moveTo>
                <a:cubicBezTo>
                  <a:pt x="58" y="220"/>
                  <a:pt x="59" y="220"/>
                  <a:pt x="59" y="219"/>
                </a:cubicBezTo>
                <a:cubicBezTo>
                  <a:pt x="58" y="219"/>
                  <a:pt x="56" y="220"/>
                  <a:pt x="57" y="221"/>
                </a:cubicBezTo>
                <a:close/>
                <a:moveTo>
                  <a:pt x="41" y="208"/>
                </a:moveTo>
                <a:cubicBezTo>
                  <a:pt x="41" y="208"/>
                  <a:pt x="41" y="207"/>
                  <a:pt x="41" y="207"/>
                </a:cubicBezTo>
                <a:cubicBezTo>
                  <a:pt x="41" y="207"/>
                  <a:pt x="40" y="208"/>
                  <a:pt x="41" y="208"/>
                </a:cubicBezTo>
                <a:close/>
                <a:moveTo>
                  <a:pt x="62" y="226"/>
                </a:moveTo>
                <a:cubicBezTo>
                  <a:pt x="62" y="225"/>
                  <a:pt x="63" y="225"/>
                  <a:pt x="62" y="224"/>
                </a:cubicBezTo>
                <a:cubicBezTo>
                  <a:pt x="62" y="225"/>
                  <a:pt x="61" y="225"/>
                  <a:pt x="62" y="226"/>
                </a:cubicBezTo>
                <a:close/>
                <a:moveTo>
                  <a:pt x="53" y="219"/>
                </a:moveTo>
                <a:cubicBezTo>
                  <a:pt x="54" y="219"/>
                  <a:pt x="54" y="220"/>
                  <a:pt x="55" y="219"/>
                </a:cubicBezTo>
                <a:cubicBezTo>
                  <a:pt x="54" y="219"/>
                  <a:pt x="54" y="218"/>
                  <a:pt x="53" y="219"/>
                </a:cubicBezTo>
                <a:close/>
                <a:moveTo>
                  <a:pt x="68" y="232"/>
                </a:moveTo>
                <a:cubicBezTo>
                  <a:pt x="69" y="233"/>
                  <a:pt x="70" y="231"/>
                  <a:pt x="69" y="231"/>
                </a:cubicBezTo>
                <a:cubicBezTo>
                  <a:pt x="69" y="231"/>
                  <a:pt x="69" y="232"/>
                  <a:pt x="68" y="232"/>
                </a:cubicBezTo>
                <a:close/>
                <a:moveTo>
                  <a:pt x="55" y="224"/>
                </a:moveTo>
                <a:cubicBezTo>
                  <a:pt x="56" y="223"/>
                  <a:pt x="57" y="222"/>
                  <a:pt x="57" y="221"/>
                </a:cubicBezTo>
                <a:cubicBezTo>
                  <a:pt x="56" y="222"/>
                  <a:pt x="56" y="223"/>
                  <a:pt x="55" y="224"/>
                </a:cubicBezTo>
                <a:close/>
                <a:moveTo>
                  <a:pt x="62" y="228"/>
                </a:moveTo>
                <a:cubicBezTo>
                  <a:pt x="63" y="228"/>
                  <a:pt x="63" y="228"/>
                  <a:pt x="64" y="228"/>
                </a:cubicBezTo>
                <a:cubicBezTo>
                  <a:pt x="63" y="227"/>
                  <a:pt x="64" y="227"/>
                  <a:pt x="63" y="226"/>
                </a:cubicBezTo>
                <a:cubicBezTo>
                  <a:pt x="63" y="227"/>
                  <a:pt x="62" y="228"/>
                  <a:pt x="62" y="228"/>
                </a:cubicBezTo>
                <a:close/>
                <a:moveTo>
                  <a:pt x="53" y="220"/>
                </a:moveTo>
                <a:cubicBezTo>
                  <a:pt x="53" y="220"/>
                  <a:pt x="54" y="219"/>
                  <a:pt x="53" y="219"/>
                </a:cubicBezTo>
                <a:cubicBezTo>
                  <a:pt x="52" y="221"/>
                  <a:pt x="51" y="222"/>
                  <a:pt x="53" y="220"/>
                </a:cubicBezTo>
                <a:close/>
                <a:moveTo>
                  <a:pt x="47" y="216"/>
                </a:moveTo>
                <a:cubicBezTo>
                  <a:pt x="47" y="217"/>
                  <a:pt x="46" y="217"/>
                  <a:pt x="47" y="218"/>
                </a:cubicBezTo>
                <a:cubicBezTo>
                  <a:pt x="47" y="217"/>
                  <a:pt x="47" y="217"/>
                  <a:pt x="48" y="217"/>
                </a:cubicBezTo>
                <a:cubicBezTo>
                  <a:pt x="48" y="216"/>
                  <a:pt x="48" y="216"/>
                  <a:pt x="47" y="216"/>
                </a:cubicBezTo>
                <a:close/>
                <a:moveTo>
                  <a:pt x="59" y="227"/>
                </a:moveTo>
                <a:cubicBezTo>
                  <a:pt x="59" y="227"/>
                  <a:pt x="59" y="227"/>
                  <a:pt x="59" y="228"/>
                </a:cubicBezTo>
                <a:cubicBezTo>
                  <a:pt x="59" y="227"/>
                  <a:pt x="60" y="227"/>
                  <a:pt x="60" y="226"/>
                </a:cubicBezTo>
                <a:cubicBezTo>
                  <a:pt x="60" y="227"/>
                  <a:pt x="59" y="226"/>
                  <a:pt x="59" y="227"/>
                </a:cubicBezTo>
                <a:close/>
                <a:moveTo>
                  <a:pt x="57" y="227"/>
                </a:moveTo>
                <a:cubicBezTo>
                  <a:pt x="57" y="227"/>
                  <a:pt x="59" y="226"/>
                  <a:pt x="58" y="226"/>
                </a:cubicBezTo>
                <a:cubicBezTo>
                  <a:pt x="58" y="226"/>
                  <a:pt x="57" y="226"/>
                  <a:pt x="57" y="227"/>
                </a:cubicBezTo>
                <a:close/>
                <a:moveTo>
                  <a:pt x="51" y="223"/>
                </a:moveTo>
                <a:cubicBezTo>
                  <a:pt x="51" y="222"/>
                  <a:pt x="52" y="222"/>
                  <a:pt x="52" y="221"/>
                </a:cubicBezTo>
                <a:cubicBezTo>
                  <a:pt x="51" y="222"/>
                  <a:pt x="51" y="222"/>
                  <a:pt x="51" y="223"/>
                </a:cubicBezTo>
                <a:close/>
                <a:moveTo>
                  <a:pt x="33" y="211"/>
                </a:moveTo>
                <a:cubicBezTo>
                  <a:pt x="34" y="212"/>
                  <a:pt x="35" y="210"/>
                  <a:pt x="35" y="209"/>
                </a:cubicBezTo>
                <a:cubicBezTo>
                  <a:pt x="34" y="210"/>
                  <a:pt x="34" y="211"/>
                  <a:pt x="33" y="211"/>
                </a:cubicBezTo>
                <a:close/>
                <a:moveTo>
                  <a:pt x="40" y="214"/>
                </a:moveTo>
                <a:cubicBezTo>
                  <a:pt x="40" y="214"/>
                  <a:pt x="41" y="214"/>
                  <a:pt x="40" y="213"/>
                </a:cubicBezTo>
                <a:cubicBezTo>
                  <a:pt x="40" y="213"/>
                  <a:pt x="39" y="214"/>
                  <a:pt x="40" y="214"/>
                </a:cubicBezTo>
                <a:close/>
                <a:moveTo>
                  <a:pt x="35" y="215"/>
                </a:moveTo>
                <a:cubicBezTo>
                  <a:pt x="36" y="215"/>
                  <a:pt x="37" y="214"/>
                  <a:pt x="37" y="213"/>
                </a:cubicBezTo>
                <a:cubicBezTo>
                  <a:pt x="36" y="214"/>
                  <a:pt x="35" y="215"/>
                  <a:pt x="35" y="215"/>
                </a:cubicBezTo>
                <a:close/>
                <a:moveTo>
                  <a:pt x="48" y="223"/>
                </a:moveTo>
                <a:cubicBezTo>
                  <a:pt x="49" y="223"/>
                  <a:pt x="49" y="222"/>
                  <a:pt x="48" y="222"/>
                </a:cubicBezTo>
                <a:cubicBezTo>
                  <a:pt x="48" y="222"/>
                  <a:pt x="48" y="223"/>
                  <a:pt x="48" y="223"/>
                </a:cubicBezTo>
                <a:close/>
                <a:moveTo>
                  <a:pt x="38" y="217"/>
                </a:moveTo>
                <a:cubicBezTo>
                  <a:pt x="38" y="217"/>
                  <a:pt x="39" y="216"/>
                  <a:pt x="39" y="215"/>
                </a:cubicBezTo>
                <a:lnTo>
                  <a:pt x="38" y="217"/>
                </a:lnTo>
                <a:close/>
                <a:moveTo>
                  <a:pt x="43" y="223"/>
                </a:moveTo>
                <a:cubicBezTo>
                  <a:pt x="43" y="223"/>
                  <a:pt x="45" y="222"/>
                  <a:pt x="44" y="221"/>
                </a:cubicBezTo>
                <a:cubicBezTo>
                  <a:pt x="44" y="222"/>
                  <a:pt x="42" y="223"/>
                  <a:pt x="43" y="223"/>
                </a:cubicBezTo>
                <a:close/>
                <a:moveTo>
                  <a:pt x="62" y="237"/>
                </a:moveTo>
                <a:cubicBezTo>
                  <a:pt x="62" y="237"/>
                  <a:pt x="63" y="236"/>
                  <a:pt x="62" y="235"/>
                </a:cubicBezTo>
                <a:cubicBezTo>
                  <a:pt x="62" y="236"/>
                  <a:pt x="61" y="237"/>
                  <a:pt x="62" y="237"/>
                </a:cubicBezTo>
                <a:close/>
                <a:moveTo>
                  <a:pt x="30" y="213"/>
                </a:moveTo>
                <a:cubicBezTo>
                  <a:pt x="30" y="212"/>
                  <a:pt x="31" y="212"/>
                  <a:pt x="30" y="211"/>
                </a:cubicBezTo>
                <a:cubicBezTo>
                  <a:pt x="30" y="212"/>
                  <a:pt x="29" y="212"/>
                  <a:pt x="30" y="213"/>
                </a:cubicBezTo>
                <a:close/>
                <a:moveTo>
                  <a:pt x="49" y="228"/>
                </a:moveTo>
                <a:cubicBezTo>
                  <a:pt x="50" y="229"/>
                  <a:pt x="50" y="227"/>
                  <a:pt x="50" y="228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0" y="228"/>
                  <a:pt x="49" y="227"/>
                  <a:pt x="49" y="228"/>
                </a:cubicBezTo>
                <a:close/>
                <a:moveTo>
                  <a:pt x="44" y="225"/>
                </a:moveTo>
                <a:cubicBezTo>
                  <a:pt x="44" y="224"/>
                  <a:pt x="45" y="224"/>
                  <a:pt x="44" y="223"/>
                </a:cubicBezTo>
                <a:cubicBezTo>
                  <a:pt x="44" y="224"/>
                  <a:pt x="44" y="224"/>
                  <a:pt x="44" y="225"/>
                </a:cubicBezTo>
                <a:close/>
                <a:moveTo>
                  <a:pt x="64" y="238"/>
                </a:moveTo>
                <a:cubicBezTo>
                  <a:pt x="63" y="238"/>
                  <a:pt x="63" y="239"/>
                  <a:pt x="63" y="239"/>
                </a:cubicBezTo>
                <a:cubicBezTo>
                  <a:pt x="64" y="239"/>
                  <a:pt x="64" y="239"/>
                  <a:pt x="64" y="238"/>
                </a:cubicBezTo>
                <a:close/>
                <a:moveTo>
                  <a:pt x="29" y="217"/>
                </a:moveTo>
                <a:cubicBezTo>
                  <a:pt x="30" y="217"/>
                  <a:pt x="30" y="216"/>
                  <a:pt x="30" y="215"/>
                </a:cubicBezTo>
                <a:cubicBezTo>
                  <a:pt x="30" y="216"/>
                  <a:pt x="29" y="216"/>
                  <a:pt x="29" y="217"/>
                </a:cubicBezTo>
                <a:close/>
                <a:moveTo>
                  <a:pt x="55" y="237"/>
                </a:moveTo>
                <a:cubicBezTo>
                  <a:pt x="55" y="236"/>
                  <a:pt x="56" y="236"/>
                  <a:pt x="56" y="235"/>
                </a:cubicBezTo>
                <a:cubicBezTo>
                  <a:pt x="55" y="235"/>
                  <a:pt x="55" y="236"/>
                  <a:pt x="55" y="237"/>
                </a:cubicBezTo>
                <a:close/>
                <a:moveTo>
                  <a:pt x="47" y="231"/>
                </a:moveTo>
                <a:cubicBezTo>
                  <a:pt x="47" y="232"/>
                  <a:pt x="48" y="230"/>
                  <a:pt x="48" y="230"/>
                </a:cubicBezTo>
                <a:cubicBezTo>
                  <a:pt x="47" y="230"/>
                  <a:pt x="47" y="230"/>
                  <a:pt x="47" y="231"/>
                </a:cubicBezTo>
                <a:close/>
                <a:moveTo>
                  <a:pt x="61" y="240"/>
                </a:moveTo>
                <a:cubicBezTo>
                  <a:pt x="62" y="240"/>
                  <a:pt x="61" y="240"/>
                  <a:pt x="61" y="239"/>
                </a:cubicBezTo>
                <a:cubicBezTo>
                  <a:pt x="61" y="240"/>
                  <a:pt x="61" y="240"/>
                  <a:pt x="61" y="240"/>
                </a:cubicBezTo>
                <a:close/>
                <a:moveTo>
                  <a:pt x="34" y="223"/>
                </a:moveTo>
                <a:cubicBezTo>
                  <a:pt x="34" y="222"/>
                  <a:pt x="35" y="222"/>
                  <a:pt x="35" y="221"/>
                </a:cubicBezTo>
                <a:cubicBezTo>
                  <a:pt x="34" y="221"/>
                  <a:pt x="33" y="222"/>
                  <a:pt x="34" y="223"/>
                </a:cubicBezTo>
                <a:close/>
                <a:moveTo>
                  <a:pt x="26" y="217"/>
                </a:moveTo>
                <a:cubicBezTo>
                  <a:pt x="26" y="217"/>
                  <a:pt x="27" y="217"/>
                  <a:pt x="26" y="216"/>
                </a:cubicBezTo>
                <a:cubicBezTo>
                  <a:pt x="26" y="217"/>
                  <a:pt x="26" y="217"/>
                  <a:pt x="26" y="217"/>
                </a:cubicBezTo>
                <a:close/>
                <a:moveTo>
                  <a:pt x="32" y="222"/>
                </a:moveTo>
                <a:cubicBezTo>
                  <a:pt x="33" y="222"/>
                  <a:pt x="33" y="222"/>
                  <a:pt x="33" y="221"/>
                </a:cubicBezTo>
                <a:cubicBezTo>
                  <a:pt x="32" y="221"/>
                  <a:pt x="32" y="222"/>
                  <a:pt x="32" y="222"/>
                </a:cubicBezTo>
                <a:close/>
                <a:moveTo>
                  <a:pt x="27" y="218"/>
                </a:moveTo>
                <a:cubicBezTo>
                  <a:pt x="27" y="219"/>
                  <a:pt x="26" y="220"/>
                  <a:pt x="27" y="221"/>
                </a:cubicBezTo>
                <a:cubicBezTo>
                  <a:pt x="27" y="220"/>
                  <a:pt x="27" y="220"/>
                  <a:pt x="28" y="219"/>
                </a:cubicBezTo>
                <a:cubicBezTo>
                  <a:pt x="28" y="219"/>
                  <a:pt x="28" y="218"/>
                  <a:pt x="27" y="218"/>
                </a:cubicBezTo>
                <a:close/>
                <a:moveTo>
                  <a:pt x="32" y="225"/>
                </a:moveTo>
                <a:cubicBezTo>
                  <a:pt x="33" y="224"/>
                  <a:pt x="33" y="224"/>
                  <a:pt x="34" y="223"/>
                </a:cubicBezTo>
                <a:cubicBezTo>
                  <a:pt x="33" y="223"/>
                  <a:pt x="33" y="223"/>
                  <a:pt x="33" y="223"/>
                </a:cubicBezTo>
                <a:cubicBezTo>
                  <a:pt x="32" y="223"/>
                  <a:pt x="32" y="224"/>
                  <a:pt x="32" y="225"/>
                </a:cubicBezTo>
                <a:close/>
                <a:moveTo>
                  <a:pt x="23" y="221"/>
                </a:moveTo>
                <a:cubicBezTo>
                  <a:pt x="24" y="220"/>
                  <a:pt x="25" y="219"/>
                  <a:pt x="26" y="217"/>
                </a:cubicBezTo>
                <a:cubicBezTo>
                  <a:pt x="25" y="219"/>
                  <a:pt x="24" y="220"/>
                  <a:pt x="23" y="221"/>
                </a:cubicBezTo>
                <a:close/>
                <a:moveTo>
                  <a:pt x="57" y="242"/>
                </a:moveTo>
                <a:cubicBezTo>
                  <a:pt x="58" y="243"/>
                  <a:pt x="58" y="243"/>
                  <a:pt x="58" y="243"/>
                </a:cubicBezTo>
                <a:cubicBezTo>
                  <a:pt x="59" y="243"/>
                  <a:pt x="58" y="242"/>
                  <a:pt x="58" y="241"/>
                </a:cubicBezTo>
                <a:lnTo>
                  <a:pt x="57" y="242"/>
                </a:lnTo>
                <a:close/>
                <a:moveTo>
                  <a:pt x="25" y="220"/>
                </a:moveTo>
                <a:cubicBezTo>
                  <a:pt x="26" y="220"/>
                  <a:pt x="26" y="219"/>
                  <a:pt x="26" y="218"/>
                </a:cubicBezTo>
                <a:cubicBezTo>
                  <a:pt x="26" y="218"/>
                  <a:pt x="25" y="219"/>
                  <a:pt x="25" y="220"/>
                </a:cubicBezTo>
                <a:close/>
                <a:moveTo>
                  <a:pt x="44" y="234"/>
                </a:moveTo>
                <a:cubicBezTo>
                  <a:pt x="44" y="234"/>
                  <a:pt x="45" y="233"/>
                  <a:pt x="45" y="233"/>
                </a:cubicBezTo>
                <a:cubicBezTo>
                  <a:pt x="44" y="233"/>
                  <a:pt x="43" y="233"/>
                  <a:pt x="44" y="234"/>
                </a:cubicBezTo>
                <a:close/>
                <a:moveTo>
                  <a:pt x="49" y="243"/>
                </a:moveTo>
                <a:cubicBezTo>
                  <a:pt x="50" y="242"/>
                  <a:pt x="52" y="240"/>
                  <a:pt x="52" y="239"/>
                </a:cubicBezTo>
                <a:cubicBezTo>
                  <a:pt x="51" y="241"/>
                  <a:pt x="49" y="241"/>
                  <a:pt x="49" y="243"/>
                </a:cubicBezTo>
                <a:close/>
                <a:moveTo>
                  <a:pt x="31" y="225"/>
                </a:moveTo>
                <a:cubicBezTo>
                  <a:pt x="32" y="225"/>
                  <a:pt x="31" y="226"/>
                  <a:pt x="31" y="226"/>
                </a:cubicBezTo>
                <a:cubicBezTo>
                  <a:pt x="32" y="226"/>
                  <a:pt x="32" y="226"/>
                  <a:pt x="32" y="225"/>
                </a:cubicBezTo>
                <a:cubicBezTo>
                  <a:pt x="32" y="225"/>
                  <a:pt x="32" y="225"/>
                  <a:pt x="31" y="225"/>
                </a:cubicBezTo>
                <a:close/>
                <a:moveTo>
                  <a:pt x="42" y="242"/>
                </a:moveTo>
                <a:cubicBezTo>
                  <a:pt x="43" y="241"/>
                  <a:pt x="45" y="239"/>
                  <a:pt x="46" y="236"/>
                </a:cubicBezTo>
                <a:cubicBezTo>
                  <a:pt x="46" y="237"/>
                  <a:pt x="46" y="238"/>
                  <a:pt x="47" y="237"/>
                </a:cubicBezTo>
                <a:cubicBezTo>
                  <a:pt x="47" y="236"/>
                  <a:pt x="46" y="236"/>
                  <a:pt x="46" y="235"/>
                </a:cubicBezTo>
                <a:cubicBezTo>
                  <a:pt x="45" y="238"/>
                  <a:pt x="42" y="240"/>
                  <a:pt x="42" y="242"/>
                </a:cubicBezTo>
                <a:close/>
                <a:moveTo>
                  <a:pt x="23" y="220"/>
                </a:moveTo>
                <a:cubicBezTo>
                  <a:pt x="23" y="220"/>
                  <a:pt x="22" y="220"/>
                  <a:pt x="23" y="219"/>
                </a:cubicBezTo>
                <a:cubicBezTo>
                  <a:pt x="22" y="219"/>
                  <a:pt x="22" y="219"/>
                  <a:pt x="22" y="219"/>
                </a:cubicBezTo>
                <a:cubicBezTo>
                  <a:pt x="22" y="219"/>
                  <a:pt x="22" y="221"/>
                  <a:pt x="23" y="220"/>
                </a:cubicBezTo>
                <a:close/>
                <a:moveTo>
                  <a:pt x="30" y="227"/>
                </a:moveTo>
                <a:cubicBezTo>
                  <a:pt x="30" y="227"/>
                  <a:pt x="30" y="227"/>
                  <a:pt x="31" y="228"/>
                </a:cubicBezTo>
                <a:cubicBezTo>
                  <a:pt x="31" y="227"/>
                  <a:pt x="31" y="227"/>
                  <a:pt x="31" y="227"/>
                </a:cubicBezTo>
                <a:cubicBezTo>
                  <a:pt x="31" y="226"/>
                  <a:pt x="32" y="227"/>
                  <a:pt x="31" y="226"/>
                </a:cubicBezTo>
                <a:cubicBezTo>
                  <a:pt x="31" y="226"/>
                  <a:pt x="31" y="226"/>
                  <a:pt x="30" y="227"/>
                </a:cubicBezTo>
                <a:close/>
                <a:moveTo>
                  <a:pt x="31" y="230"/>
                </a:moveTo>
                <a:cubicBezTo>
                  <a:pt x="32" y="229"/>
                  <a:pt x="33" y="228"/>
                  <a:pt x="33" y="228"/>
                </a:cubicBezTo>
                <a:cubicBezTo>
                  <a:pt x="32" y="228"/>
                  <a:pt x="31" y="229"/>
                  <a:pt x="31" y="230"/>
                </a:cubicBezTo>
                <a:close/>
                <a:moveTo>
                  <a:pt x="57" y="246"/>
                </a:moveTo>
                <a:cubicBezTo>
                  <a:pt x="57" y="246"/>
                  <a:pt x="57" y="246"/>
                  <a:pt x="58" y="246"/>
                </a:cubicBezTo>
                <a:cubicBezTo>
                  <a:pt x="57" y="246"/>
                  <a:pt x="57" y="246"/>
                  <a:pt x="57" y="246"/>
                </a:cubicBezTo>
                <a:close/>
                <a:moveTo>
                  <a:pt x="21" y="224"/>
                </a:moveTo>
                <a:cubicBezTo>
                  <a:pt x="22" y="224"/>
                  <a:pt x="22" y="223"/>
                  <a:pt x="22" y="223"/>
                </a:cubicBezTo>
                <a:cubicBezTo>
                  <a:pt x="22" y="223"/>
                  <a:pt x="21" y="224"/>
                  <a:pt x="21" y="224"/>
                </a:cubicBezTo>
                <a:close/>
                <a:moveTo>
                  <a:pt x="52" y="249"/>
                </a:moveTo>
                <a:cubicBezTo>
                  <a:pt x="52" y="249"/>
                  <a:pt x="52" y="249"/>
                  <a:pt x="51" y="249"/>
                </a:cubicBezTo>
                <a:cubicBezTo>
                  <a:pt x="52" y="250"/>
                  <a:pt x="52" y="249"/>
                  <a:pt x="52" y="250"/>
                </a:cubicBezTo>
                <a:cubicBezTo>
                  <a:pt x="53" y="248"/>
                  <a:pt x="53" y="248"/>
                  <a:pt x="54" y="247"/>
                </a:cubicBezTo>
                <a:cubicBezTo>
                  <a:pt x="53" y="247"/>
                  <a:pt x="52" y="248"/>
                  <a:pt x="52" y="249"/>
                </a:cubicBezTo>
                <a:close/>
                <a:moveTo>
                  <a:pt x="29" y="230"/>
                </a:moveTo>
                <a:cubicBezTo>
                  <a:pt x="29" y="230"/>
                  <a:pt x="29" y="230"/>
                  <a:pt x="29" y="230"/>
                </a:cubicBezTo>
                <a:cubicBezTo>
                  <a:pt x="29" y="229"/>
                  <a:pt x="28" y="230"/>
                  <a:pt x="29" y="230"/>
                </a:cubicBezTo>
                <a:close/>
                <a:moveTo>
                  <a:pt x="54" y="249"/>
                </a:moveTo>
                <a:cubicBezTo>
                  <a:pt x="55" y="250"/>
                  <a:pt x="54" y="251"/>
                  <a:pt x="55" y="250"/>
                </a:cubicBezTo>
                <a:cubicBezTo>
                  <a:pt x="56" y="251"/>
                  <a:pt x="55" y="250"/>
                  <a:pt x="55" y="251"/>
                </a:cubicBezTo>
                <a:cubicBezTo>
                  <a:pt x="56" y="251"/>
                  <a:pt x="56" y="250"/>
                  <a:pt x="56" y="250"/>
                </a:cubicBezTo>
                <a:cubicBezTo>
                  <a:pt x="55" y="249"/>
                  <a:pt x="55" y="249"/>
                  <a:pt x="54" y="249"/>
                </a:cubicBezTo>
                <a:close/>
                <a:moveTo>
                  <a:pt x="47" y="245"/>
                </a:moveTo>
                <a:cubicBezTo>
                  <a:pt x="47" y="246"/>
                  <a:pt x="46" y="246"/>
                  <a:pt x="47" y="246"/>
                </a:cubicBezTo>
                <a:cubicBezTo>
                  <a:pt x="48" y="245"/>
                  <a:pt x="48" y="245"/>
                  <a:pt x="48" y="245"/>
                </a:cubicBezTo>
                <a:cubicBezTo>
                  <a:pt x="48" y="245"/>
                  <a:pt x="47" y="245"/>
                  <a:pt x="47" y="245"/>
                </a:cubicBezTo>
                <a:close/>
                <a:moveTo>
                  <a:pt x="28" y="231"/>
                </a:moveTo>
                <a:cubicBezTo>
                  <a:pt x="28" y="232"/>
                  <a:pt x="27" y="232"/>
                  <a:pt x="27" y="233"/>
                </a:cubicBezTo>
                <a:cubicBezTo>
                  <a:pt x="28" y="232"/>
                  <a:pt x="28" y="231"/>
                  <a:pt x="28" y="231"/>
                </a:cubicBezTo>
                <a:cubicBezTo>
                  <a:pt x="28" y="231"/>
                  <a:pt x="28" y="230"/>
                  <a:pt x="28" y="231"/>
                </a:cubicBezTo>
                <a:close/>
                <a:moveTo>
                  <a:pt x="28" y="235"/>
                </a:moveTo>
                <a:cubicBezTo>
                  <a:pt x="29" y="234"/>
                  <a:pt x="30" y="233"/>
                  <a:pt x="29" y="232"/>
                </a:cubicBezTo>
                <a:cubicBezTo>
                  <a:pt x="29" y="233"/>
                  <a:pt x="29" y="234"/>
                  <a:pt x="28" y="235"/>
                </a:cubicBezTo>
                <a:close/>
                <a:moveTo>
                  <a:pt x="48" y="247"/>
                </a:moveTo>
                <a:cubicBezTo>
                  <a:pt x="48" y="248"/>
                  <a:pt x="49" y="248"/>
                  <a:pt x="49" y="248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49" y="248"/>
                  <a:pt x="49" y="247"/>
                  <a:pt x="48" y="247"/>
                </a:cubicBezTo>
                <a:close/>
                <a:moveTo>
                  <a:pt x="17" y="226"/>
                </a:moveTo>
                <a:cubicBezTo>
                  <a:pt x="17" y="226"/>
                  <a:pt x="17" y="227"/>
                  <a:pt x="17" y="227"/>
                </a:cubicBezTo>
                <a:cubicBezTo>
                  <a:pt x="17" y="226"/>
                  <a:pt x="18" y="227"/>
                  <a:pt x="18" y="227"/>
                </a:cubicBezTo>
                <a:cubicBezTo>
                  <a:pt x="18" y="226"/>
                  <a:pt x="17" y="226"/>
                  <a:pt x="17" y="225"/>
                </a:cubicBezTo>
                <a:lnTo>
                  <a:pt x="17" y="226"/>
                </a:lnTo>
                <a:close/>
                <a:moveTo>
                  <a:pt x="41" y="244"/>
                </a:moveTo>
                <a:cubicBezTo>
                  <a:pt x="41" y="244"/>
                  <a:pt x="42" y="243"/>
                  <a:pt x="41" y="243"/>
                </a:cubicBezTo>
                <a:cubicBezTo>
                  <a:pt x="40" y="245"/>
                  <a:pt x="39" y="245"/>
                  <a:pt x="41" y="244"/>
                </a:cubicBezTo>
                <a:close/>
                <a:moveTo>
                  <a:pt x="50" y="252"/>
                </a:moveTo>
                <a:cubicBezTo>
                  <a:pt x="50" y="251"/>
                  <a:pt x="51" y="252"/>
                  <a:pt x="51" y="252"/>
                </a:cubicBezTo>
                <a:cubicBezTo>
                  <a:pt x="50" y="252"/>
                  <a:pt x="51" y="251"/>
                  <a:pt x="51" y="250"/>
                </a:cubicBezTo>
                <a:cubicBezTo>
                  <a:pt x="51" y="252"/>
                  <a:pt x="49" y="251"/>
                  <a:pt x="50" y="252"/>
                </a:cubicBezTo>
                <a:close/>
                <a:moveTo>
                  <a:pt x="42" y="245"/>
                </a:moveTo>
                <a:cubicBezTo>
                  <a:pt x="42" y="246"/>
                  <a:pt x="42" y="246"/>
                  <a:pt x="43" y="246"/>
                </a:cubicBezTo>
                <a:cubicBezTo>
                  <a:pt x="43" y="245"/>
                  <a:pt x="42" y="245"/>
                  <a:pt x="42" y="245"/>
                </a:cubicBezTo>
                <a:close/>
                <a:moveTo>
                  <a:pt x="53" y="255"/>
                </a:moveTo>
                <a:cubicBezTo>
                  <a:pt x="53" y="254"/>
                  <a:pt x="54" y="254"/>
                  <a:pt x="53" y="253"/>
                </a:cubicBezTo>
                <a:cubicBezTo>
                  <a:pt x="53" y="254"/>
                  <a:pt x="52" y="254"/>
                  <a:pt x="53" y="255"/>
                </a:cubicBezTo>
                <a:close/>
                <a:moveTo>
                  <a:pt x="40" y="247"/>
                </a:moveTo>
                <a:cubicBezTo>
                  <a:pt x="41" y="247"/>
                  <a:pt x="42" y="246"/>
                  <a:pt x="41" y="246"/>
                </a:cubicBezTo>
                <a:lnTo>
                  <a:pt x="40" y="247"/>
                </a:lnTo>
                <a:close/>
                <a:moveTo>
                  <a:pt x="43" y="248"/>
                </a:moveTo>
                <a:cubicBezTo>
                  <a:pt x="44" y="249"/>
                  <a:pt x="44" y="249"/>
                  <a:pt x="44" y="249"/>
                </a:cubicBezTo>
                <a:cubicBezTo>
                  <a:pt x="44" y="248"/>
                  <a:pt x="43" y="248"/>
                  <a:pt x="43" y="248"/>
                </a:cubicBezTo>
                <a:close/>
                <a:moveTo>
                  <a:pt x="15" y="234"/>
                </a:moveTo>
                <a:cubicBezTo>
                  <a:pt x="15" y="233"/>
                  <a:pt x="15" y="233"/>
                  <a:pt x="15" y="232"/>
                </a:cubicBezTo>
                <a:cubicBezTo>
                  <a:pt x="15" y="233"/>
                  <a:pt x="15" y="233"/>
                  <a:pt x="15" y="233"/>
                </a:cubicBezTo>
                <a:cubicBezTo>
                  <a:pt x="16" y="234"/>
                  <a:pt x="16" y="234"/>
                  <a:pt x="16" y="234"/>
                </a:cubicBezTo>
                <a:cubicBezTo>
                  <a:pt x="17" y="232"/>
                  <a:pt x="17" y="233"/>
                  <a:pt x="18" y="231"/>
                </a:cubicBezTo>
                <a:cubicBezTo>
                  <a:pt x="18" y="231"/>
                  <a:pt x="17" y="231"/>
                  <a:pt x="17" y="230"/>
                </a:cubicBezTo>
                <a:cubicBezTo>
                  <a:pt x="17" y="230"/>
                  <a:pt x="17" y="231"/>
                  <a:pt x="17" y="230"/>
                </a:cubicBezTo>
                <a:cubicBezTo>
                  <a:pt x="17" y="232"/>
                  <a:pt x="16" y="232"/>
                  <a:pt x="15" y="234"/>
                </a:cubicBezTo>
                <a:close/>
                <a:moveTo>
                  <a:pt x="51" y="255"/>
                </a:moveTo>
                <a:cubicBezTo>
                  <a:pt x="51" y="256"/>
                  <a:pt x="50" y="257"/>
                  <a:pt x="51" y="257"/>
                </a:cubicBezTo>
                <a:cubicBezTo>
                  <a:pt x="51" y="256"/>
                  <a:pt x="52" y="256"/>
                  <a:pt x="52" y="255"/>
                </a:cubicBezTo>
                <a:cubicBezTo>
                  <a:pt x="51" y="255"/>
                  <a:pt x="51" y="255"/>
                  <a:pt x="51" y="255"/>
                </a:cubicBezTo>
                <a:close/>
                <a:moveTo>
                  <a:pt x="20" y="235"/>
                </a:moveTo>
                <a:cubicBezTo>
                  <a:pt x="19" y="235"/>
                  <a:pt x="19" y="236"/>
                  <a:pt x="19" y="236"/>
                </a:cubicBezTo>
                <a:cubicBezTo>
                  <a:pt x="20" y="236"/>
                  <a:pt x="20" y="236"/>
                  <a:pt x="20" y="236"/>
                </a:cubicBezTo>
                <a:cubicBezTo>
                  <a:pt x="20" y="236"/>
                  <a:pt x="21" y="235"/>
                  <a:pt x="21" y="235"/>
                </a:cubicBezTo>
                <a:cubicBezTo>
                  <a:pt x="20" y="235"/>
                  <a:pt x="20" y="236"/>
                  <a:pt x="20" y="235"/>
                </a:cubicBezTo>
                <a:close/>
                <a:moveTo>
                  <a:pt x="21" y="238"/>
                </a:moveTo>
                <a:cubicBezTo>
                  <a:pt x="21" y="237"/>
                  <a:pt x="22" y="237"/>
                  <a:pt x="22" y="236"/>
                </a:cubicBezTo>
                <a:cubicBezTo>
                  <a:pt x="21" y="236"/>
                  <a:pt x="21" y="237"/>
                  <a:pt x="21" y="238"/>
                </a:cubicBezTo>
                <a:close/>
                <a:moveTo>
                  <a:pt x="17" y="236"/>
                </a:moveTo>
                <a:cubicBezTo>
                  <a:pt x="18" y="236"/>
                  <a:pt x="18" y="235"/>
                  <a:pt x="18" y="235"/>
                </a:cubicBezTo>
                <a:cubicBezTo>
                  <a:pt x="18" y="235"/>
                  <a:pt x="17" y="236"/>
                  <a:pt x="17" y="236"/>
                </a:cubicBezTo>
                <a:close/>
                <a:moveTo>
                  <a:pt x="23" y="243"/>
                </a:moveTo>
                <a:cubicBezTo>
                  <a:pt x="24" y="243"/>
                  <a:pt x="25" y="241"/>
                  <a:pt x="26" y="240"/>
                </a:cubicBezTo>
                <a:cubicBezTo>
                  <a:pt x="25" y="240"/>
                  <a:pt x="25" y="240"/>
                  <a:pt x="25" y="240"/>
                </a:cubicBezTo>
                <a:cubicBezTo>
                  <a:pt x="24" y="241"/>
                  <a:pt x="24" y="242"/>
                  <a:pt x="23" y="243"/>
                </a:cubicBezTo>
                <a:close/>
                <a:moveTo>
                  <a:pt x="17" y="238"/>
                </a:moveTo>
                <a:cubicBezTo>
                  <a:pt x="17" y="237"/>
                  <a:pt x="18" y="237"/>
                  <a:pt x="18" y="236"/>
                </a:cubicBezTo>
                <a:cubicBezTo>
                  <a:pt x="17" y="236"/>
                  <a:pt x="16" y="237"/>
                  <a:pt x="17" y="238"/>
                </a:cubicBezTo>
                <a:close/>
                <a:moveTo>
                  <a:pt x="35" y="251"/>
                </a:moveTo>
                <a:cubicBezTo>
                  <a:pt x="35" y="252"/>
                  <a:pt x="36" y="250"/>
                  <a:pt x="36" y="250"/>
                </a:cubicBezTo>
                <a:lnTo>
                  <a:pt x="35" y="251"/>
                </a:lnTo>
                <a:close/>
                <a:moveTo>
                  <a:pt x="38" y="255"/>
                </a:moveTo>
                <a:cubicBezTo>
                  <a:pt x="39" y="254"/>
                  <a:pt x="39" y="254"/>
                  <a:pt x="39" y="254"/>
                </a:cubicBezTo>
                <a:cubicBezTo>
                  <a:pt x="39" y="254"/>
                  <a:pt x="38" y="254"/>
                  <a:pt x="38" y="255"/>
                </a:cubicBezTo>
                <a:close/>
                <a:moveTo>
                  <a:pt x="12" y="236"/>
                </a:moveTo>
                <a:cubicBezTo>
                  <a:pt x="12" y="236"/>
                  <a:pt x="12" y="237"/>
                  <a:pt x="12" y="237"/>
                </a:cubicBezTo>
                <a:cubicBezTo>
                  <a:pt x="13" y="236"/>
                  <a:pt x="13" y="236"/>
                  <a:pt x="13" y="236"/>
                </a:cubicBezTo>
                <a:cubicBezTo>
                  <a:pt x="13" y="236"/>
                  <a:pt x="12" y="236"/>
                  <a:pt x="12" y="236"/>
                </a:cubicBezTo>
                <a:close/>
                <a:moveTo>
                  <a:pt x="38" y="253"/>
                </a:moveTo>
                <a:cubicBezTo>
                  <a:pt x="36" y="252"/>
                  <a:pt x="36" y="252"/>
                  <a:pt x="36" y="252"/>
                </a:cubicBezTo>
                <a:cubicBezTo>
                  <a:pt x="36" y="253"/>
                  <a:pt x="37" y="254"/>
                  <a:pt x="38" y="253"/>
                </a:cubicBezTo>
                <a:close/>
                <a:moveTo>
                  <a:pt x="12" y="239"/>
                </a:moveTo>
                <a:cubicBezTo>
                  <a:pt x="13" y="238"/>
                  <a:pt x="13" y="238"/>
                  <a:pt x="13" y="238"/>
                </a:cubicBezTo>
                <a:cubicBezTo>
                  <a:pt x="13" y="238"/>
                  <a:pt x="13" y="239"/>
                  <a:pt x="13" y="238"/>
                </a:cubicBezTo>
                <a:cubicBezTo>
                  <a:pt x="12" y="238"/>
                  <a:pt x="14" y="237"/>
                  <a:pt x="13" y="237"/>
                </a:cubicBezTo>
                <a:cubicBezTo>
                  <a:pt x="12" y="237"/>
                  <a:pt x="12" y="238"/>
                  <a:pt x="12" y="239"/>
                </a:cubicBezTo>
                <a:close/>
                <a:moveTo>
                  <a:pt x="35" y="256"/>
                </a:moveTo>
                <a:cubicBezTo>
                  <a:pt x="35" y="256"/>
                  <a:pt x="36" y="257"/>
                  <a:pt x="36" y="257"/>
                </a:cubicBezTo>
                <a:cubicBezTo>
                  <a:pt x="36" y="256"/>
                  <a:pt x="35" y="256"/>
                  <a:pt x="35" y="256"/>
                </a:cubicBezTo>
                <a:close/>
                <a:moveTo>
                  <a:pt x="27" y="255"/>
                </a:moveTo>
                <a:cubicBezTo>
                  <a:pt x="27" y="255"/>
                  <a:pt x="28" y="254"/>
                  <a:pt x="28" y="254"/>
                </a:cubicBezTo>
                <a:cubicBezTo>
                  <a:pt x="27" y="254"/>
                  <a:pt x="27" y="254"/>
                  <a:pt x="27" y="255"/>
                </a:cubicBezTo>
                <a:close/>
                <a:moveTo>
                  <a:pt x="8" y="244"/>
                </a:moveTo>
                <a:cubicBezTo>
                  <a:pt x="7" y="244"/>
                  <a:pt x="7" y="244"/>
                  <a:pt x="7" y="244"/>
                </a:cubicBezTo>
                <a:cubicBezTo>
                  <a:pt x="8" y="245"/>
                  <a:pt x="8" y="243"/>
                  <a:pt x="7" y="243"/>
                </a:cubicBezTo>
                <a:cubicBezTo>
                  <a:pt x="7" y="243"/>
                  <a:pt x="7" y="243"/>
                  <a:pt x="8" y="244"/>
                </a:cubicBezTo>
                <a:close/>
                <a:moveTo>
                  <a:pt x="6" y="247"/>
                </a:moveTo>
                <a:cubicBezTo>
                  <a:pt x="7" y="248"/>
                  <a:pt x="9" y="244"/>
                  <a:pt x="8" y="244"/>
                </a:cubicBezTo>
                <a:cubicBezTo>
                  <a:pt x="7" y="245"/>
                  <a:pt x="7" y="246"/>
                  <a:pt x="6" y="247"/>
                </a:cubicBezTo>
                <a:close/>
                <a:moveTo>
                  <a:pt x="11" y="248"/>
                </a:moveTo>
                <a:cubicBezTo>
                  <a:pt x="12" y="248"/>
                  <a:pt x="12" y="247"/>
                  <a:pt x="11" y="247"/>
                </a:cubicBezTo>
                <a:cubicBezTo>
                  <a:pt x="11" y="247"/>
                  <a:pt x="11" y="248"/>
                  <a:pt x="11" y="248"/>
                </a:cubicBezTo>
                <a:close/>
                <a:moveTo>
                  <a:pt x="32" y="264"/>
                </a:moveTo>
                <a:cubicBezTo>
                  <a:pt x="33" y="264"/>
                  <a:pt x="33" y="264"/>
                  <a:pt x="33" y="263"/>
                </a:cubicBezTo>
                <a:cubicBezTo>
                  <a:pt x="32" y="263"/>
                  <a:pt x="32" y="263"/>
                  <a:pt x="32" y="264"/>
                </a:cubicBezTo>
                <a:close/>
                <a:moveTo>
                  <a:pt x="10" y="250"/>
                </a:moveTo>
                <a:cubicBezTo>
                  <a:pt x="10" y="250"/>
                  <a:pt x="11" y="249"/>
                  <a:pt x="11" y="249"/>
                </a:cubicBezTo>
                <a:cubicBezTo>
                  <a:pt x="10" y="248"/>
                  <a:pt x="10" y="248"/>
                  <a:pt x="10" y="248"/>
                </a:cubicBezTo>
                <a:cubicBezTo>
                  <a:pt x="10" y="249"/>
                  <a:pt x="9" y="249"/>
                  <a:pt x="10" y="250"/>
                </a:cubicBezTo>
                <a:close/>
                <a:moveTo>
                  <a:pt x="7" y="252"/>
                </a:moveTo>
                <a:cubicBezTo>
                  <a:pt x="7" y="251"/>
                  <a:pt x="9" y="249"/>
                  <a:pt x="8" y="248"/>
                </a:cubicBezTo>
                <a:cubicBezTo>
                  <a:pt x="8" y="249"/>
                  <a:pt x="6" y="251"/>
                  <a:pt x="7" y="252"/>
                </a:cubicBezTo>
                <a:close/>
                <a:moveTo>
                  <a:pt x="3" y="247"/>
                </a:moveTo>
                <a:cubicBezTo>
                  <a:pt x="3" y="246"/>
                  <a:pt x="4" y="246"/>
                  <a:pt x="4" y="246"/>
                </a:cubicBezTo>
                <a:cubicBezTo>
                  <a:pt x="3" y="246"/>
                  <a:pt x="2" y="246"/>
                  <a:pt x="3" y="247"/>
                </a:cubicBezTo>
                <a:close/>
                <a:moveTo>
                  <a:pt x="0" y="255"/>
                </a:moveTo>
                <a:cubicBezTo>
                  <a:pt x="1" y="253"/>
                  <a:pt x="3" y="253"/>
                  <a:pt x="2" y="251"/>
                </a:cubicBezTo>
                <a:cubicBezTo>
                  <a:pt x="2" y="253"/>
                  <a:pt x="0" y="254"/>
                  <a:pt x="0" y="255"/>
                </a:cubicBezTo>
                <a:close/>
                <a:moveTo>
                  <a:pt x="30" y="271"/>
                </a:moveTo>
                <a:cubicBezTo>
                  <a:pt x="30" y="271"/>
                  <a:pt x="31" y="271"/>
                  <a:pt x="31" y="271"/>
                </a:cubicBezTo>
                <a:cubicBezTo>
                  <a:pt x="31" y="271"/>
                  <a:pt x="30" y="270"/>
                  <a:pt x="30" y="271"/>
                </a:cubicBezTo>
                <a:close/>
                <a:moveTo>
                  <a:pt x="34" y="274"/>
                </a:moveTo>
                <a:cubicBezTo>
                  <a:pt x="35" y="275"/>
                  <a:pt x="34" y="275"/>
                  <a:pt x="35" y="275"/>
                </a:cubicBezTo>
                <a:cubicBezTo>
                  <a:pt x="36" y="275"/>
                  <a:pt x="35" y="275"/>
                  <a:pt x="35" y="274"/>
                </a:cubicBezTo>
                <a:cubicBezTo>
                  <a:pt x="35" y="274"/>
                  <a:pt x="35" y="274"/>
                  <a:pt x="34" y="274"/>
                </a:cubicBezTo>
                <a:close/>
                <a:moveTo>
                  <a:pt x="3" y="254"/>
                </a:moveTo>
                <a:cubicBezTo>
                  <a:pt x="2" y="254"/>
                  <a:pt x="2" y="254"/>
                  <a:pt x="2" y="253"/>
                </a:cubicBezTo>
                <a:cubicBezTo>
                  <a:pt x="2" y="254"/>
                  <a:pt x="2" y="254"/>
                  <a:pt x="2" y="254"/>
                </a:cubicBezTo>
                <a:cubicBezTo>
                  <a:pt x="2" y="254"/>
                  <a:pt x="4" y="254"/>
                  <a:pt x="3" y="253"/>
                </a:cubicBezTo>
                <a:lnTo>
                  <a:pt x="3" y="254"/>
                </a:lnTo>
                <a:close/>
                <a:moveTo>
                  <a:pt x="27" y="271"/>
                </a:moveTo>
                <a:cubicBezTo>
                  <a:pt x="27" y="271"/>
                  <a:pt x="27" y="272"/>
                  <a:pt x="28" y="271"/>
                </a:cubicBezTo>
                <a:cubicBezTo>
                  <a:pt x="28" y="271"/>
                  <a:pt x="27" y="270"/>
                  <a:pt x="27" y="271"/>
                </a:cubicBezTo>
                <a:close/>
                <a:moveTo>
                  <a:pt x="31" y="278"/>
                </a:moveTo>
                <a:cubicBezTo>
                  <a:pt x="31" y="277"/>
                  <a:pt x="30" y="277"/>
                  <a:pt x="30" y="276"/>
                </a:cubicBezTo>
                <a:cubicBezTo>
                  <a:pt x="30" y="277"/>
                  <a:pt x="31" y="277"/>
                  <a:pt x="31" y="278"/>
                </a:cubicBezTo>
                <a:close/>
                <a:moveTo>
                  <a:pt x="31" y="281"/>
                </a:moveTo>
                <a:cubicBezTo>
                  <a:pt x="32" y="281"/>
                  <a:pt x="32" y="281"/>
                  <a:pt x="32" y="281"/>
                </a:cubicBezTo>
                <a:cubicBezTo>
                  <a:pt x="32" y="280"/>
                  <a:pt x="32" y="280"/>
                  <a:pt x="33" y="280"/>
                </a:cubicBezTo>
                <a:cubicBezTo>
                  <a:pt x="33" y="280"/>
                  <a:pt x="33" y="279"/>
                  <a:pt x="33" y="279"/>
                </a:cubicBezTo>
                <a:cubicBezTo>
                  <a:pt x="32" y="280"/>
                  <a:pt x="32" y="281"/>
                  <a:pt x="31" y="281"/>
                </a:cubicBezTo>
                <a:close/>
                <a:moveTo>
                  <a:pt x="782" y="255"/>
                </a:moveTo>
                <a:cubicBezTo>
                  <a:pt x="781" y="255"/>
                  <a:pt x="779" y="253"/>
                  <a:pt x="779" y="256"/>
                </a:cubicBezTo>
                <a:cubicBezTo>
                  <a:pt x="781" y="259"/>
                  <a:pt x="782" y="261"/>
                  <a:pt x="783" y="263"/>
                </a:cubicBezTo>
                <a:cubicBezTo>
                  <a:pt x="781" y="263"/>
                  <a:pt x="777" y="259"/>
                  <a:pt x="774" y="258"/>
                </a:cubicBezTo>
                <a:cubicBezTo>
                  <a:pt x="775" y="259"/>
                  <a:pt x="777" y="263"/>
                  <a:pt x="778" y="264"/>
                </a:cubicBezTo>
                <a:cubicBezTo>
                  <a:pt x="779" y="267"/>
                  <a:pt x="779" y="268"/>
                  <a:pt x="780" y="271"/>
                </a:cubicBezTo>
                <a:cubicBezTo>
                  <a:pt x="779" y="271"/>
                  <a:pt x="779" y="271"/>
                  <a:pt x="779" y="272"/>
                </a:cubicBezTo>
                <a:cubicBezTo>
                  <a:pt x="776" y="269"/>
                  <a:pt x="775" y="267"/>
                  <a:pt x="772" y="264"/>
                </a:cubicBezTo>
                <a:cubicBezTo>
                  <a:pt x="771" y="262"/>
                  <a:pt x="772" y="262"/>
                  <a:pt x="771" y="260"/>
                </a:cubicBezTo>
                <a:cubicBezTo>
                  <a:pt x="770" y="259"/>
                  <a:pt x="767" y="254"/>
                  <a:pt x="766" y="252"/>
                </a:cubicBezTo>
                <a:cubicBezTo>
                  <a:pt x="766" y="254"/>
                  <a:pt x="763" y="249"/>
                  <a:pt x="762" y="246"/>
                </a:cubicBezTo>
                <a:cubicBezTo>
                  <a:pt x="763" y="250"/>
                  <a:pt x="761" y="249"/>
                  <a:pt x="764" y="255"/>
                </a:cubicBezTo>
                <a:cubicBezTo>
                  <a:pt x="763" y="252"/>
                  <a:pt x="764" y="254"/>
                  <a:pt x="765" y="256"/>
                </a:cubicBezTo>
                <a:cubicBezTo>
                  <a:pt x="765" y="257"/>
                  <a:pt x="765" y="255"/>
                  <a:pt x="765" y="255"/>
                </a:cubicBezTo>
                <a:cubicBezTo>
                  <a:pt x="766" y="256"/>
                  <a:pt x="766" y="257"/>
                  <a:pt x="766" y="258"/>
                </a:cubicBezTo>
                <a:cubicBezTo>
                  <a:pt x="767" y="259"/>
                  <a:pt x="768" y="260"/>
                  <a:pt x="770" y="260"/>
                </a:cubicBezTo>
                <a:cubicBezTo>
                  <a:pt x="770" y="262"/>
                  <a:pt x="771" y="264"/>
                  <a:pt x="772" y="267"/>
                </a:cubicBezTo>
                <a:cubicBezTo>
                  <a:pt x="771" y="267"/>
                  <a:pt x="768" y="261"/>
                  <a:pt x="769" y="264"/>
                </a:cubicBezTo>
                <a:cubicBezTo>
                  <a:pt x="768" y="262"/>
                  <a:pt x="766" y="259"/>
                  <a:pt x="766" y="260"/>
                </a:cubicBezTo>
                <a:cubicBezTo>
                  <a:pt x="766" y="259"/>
                  <a:pt x="764" y="256"/>
                  <a:pt x="764" y="255"/>
                </a:cubicBezTo>
                <a:cubicBezTo>
                  <a:pt x="763" y="254"/>
                  <a:pt x="762" y="254"/>
                  <a:pt x="761" y="253"/>
                </a:cubicBezTo>
                <a:cubicBezTo>
                  <a:pt x="761" y="252"/>
                  <a:pt x="762" y="253"/>
                  <a:pt x="762" y="252"/>
                </a:cubicBezTo>
                <a:cubicBezTo>
                  <a:pt x="762" y="251"/>
                  <a:pt x="761" y="249"/>
                  <a:pt x="761" y="249"/>
                </a:cubicBezTo>
                <a:cubicBezTo>
                  <a:pt x="757" y="243"/>
                  <a:pt x="757" y="246"/>
                  <a:pt x="752" y="241"/>
                </a:cubicBezTo>
                <a:cubicBezTo>
                  <a:pt x="752" y="241"/>
                  <a:pt x="755" y="244"/>
                  <a:pt x="755" y="245"/>
                </a:cubicBezTo>
                <a:cubicBezTo>
                  <a:pt x="755" y="246"/>
                  <a:pt x="755" y="245"/>
                  <a:pt x="755" y="244"/>
                </a:cubicBezTo>
                <a:cubicBezTo>
                  <a:pt x="755" y="244"/>
                  <a:pt x="755" y="246"/>
                  <a:pt x="756" y="246"/>
                </a:cubicBezTo>
                <a:cubicBezTo>
                  <a:pt x="757" y="248"/>
                  <a:pt x="756" y="247"/>
                  <a:pt x="757" y="249"/>
                </a:cubicBezTo>
                <a:cubicBezTo>
                  <a:pt x="755" y="246"/>
                  <a:pt x="755" y="248"/>
                  <a:pt x="753" y="248"/>
                </a:cubicBezTo>
                <a:cubicBezTo>
                  <a:pt x="752" y="245"/>
                  <a:pt x="751" y="244"/>
                  <a:pt x="750" y="245"/>
                </a:cubicBezTo>
                <a:cubicBezTo>
                  <a:pt x="748" y="242"/>
                  <a:pt x="747" y="243"/>
                  <a:pt x="745" y="239"/>
                </a:cubicBezTo>
                <a:cubicBezTo>
                  <a:pt x="744" y="239"/>
                  <a:pt x="744" y="239"/>
                  <a:pt x="744" y="239"/>
                </a:cubicBezTo>
                <a:cubicBezTo>
                  <a:pt x="743" y="237"/>
                  <a:pt x="741" y="236"/>
                  <a:pt x="739" y="233"/>
                </a:cubicBezTo>
                <a:cubicBezTo>
                  <a:pt x="739" y="232"/>
                  <a:pt x="739" y="231"/>
                  <a:pt x="740" y="231"/>
                </a:cubicBezTo>
                <a:cubicBezTo>
                  <a:pt x="741" y="233"/>
                  <a:pt x="741" y="234"/>
                  <a:pt x="742" y="234"/>
                </a:cubicBezTo>
                <a:cubicBezTo>
                  <a:pt x="742" y="234"/>
                  <a:pt x="741" y="231"/>
                  <a:pt x="743" y="234"/>
                </a:cubicBezTo>
                <a:cubicBezTo>
                  <a:pt x="743" y="233"/>
                  <a:pt x="742" y="232"/>
                  <a:pt x="741" y="231"/>
                </a:cubicBezTo>
                <a:cubicBezTo>
                  <a:pt x="740" y="230"/>
                  <a:pt x="741" y="231"/>
                  <a:pt x="740" y="231"/>
                </a:cubicBezTo>
                <a:cubicBezTo>
                  <a:pt x="739" y="227"/>
                  <a:pt x="737" y="229"/>
                  <a:pt x="736" y="226"/>
                </a:cubicBezTo>
                <a:cubicBezTo>
                  <a:pt x="736" y="227"/>
                  <a:pt x="735" y="226"/>
                  <a:pt x="733" y="224"/>
                </a:cubicBezTo>
                <a:cubicBezTo>
                  <a:pt x="734" y="226"/>
                  <a:pt x="737" y="229"/>
                  <a:pt x="738" y="231"/>
                </a:cubicBezTo>
                <a:cubicBezTo>
                  <a:pt x="735" y="229"/>
                  <a:pt x="728" y="217"/>
                  <a:pt x="726" y="218"/>
                </a:cubicBezTo>
                <a:cubicBezTo>
                  <a:pt x="724" y="215"/>
                  <a:pt x="723" y="213"/>
                  <a:pt x="721" y="210"/>
                </a:cubicBezTo>
                <a:cubicBezTo>
                  <a:pt x="715" y="205"/>
                  <a:pt x="707" y="195"/>
                  <a:pt x="698" y="186"/>
                </a:cubicBezTo>
                <a:cubicBezTo>
                  <a:pt x="698" y="186"/>
                  <a:pt x="701" y="188"/>
                  <a:pt x="700" y="188"/>
                </a:cubicBezTo>
                <a:cubicBezTo>
                  <a:pt x="696" y="184"/>
                  <a:pt x="693" y="182"/>
                  <a:pt x="688" y="177"/>
                </a:cubicBezTo>
                <a:cubicBezTo>
                  <a:pt x="689" y="178"/>
                  <a:pt x="690" y="178"/>
                  <a:pt x="690" y="177"/>
                </a:cubicBezTo>
                <a:cubicBezTo>
                  <a:pt x="689" y="176"/>
                  <a:pt x="689" y="176"/>
                  <a:pt x="689" y="176"/>
                </a:cubicBezTo>
                <a:cubicBezTo>
                  <a:pt x="687" y="174"/>
                  <a:pt x="689" y="177"/>
                  <a:pt x="688" y="177"/>
                </a:cubicBezTo>
                <a:cubicBezTo>
                  <a:pt x="686" y="175"/>
                  <a:pt x="687" y="175"/>
                  <a:pt x="686" y="174"/>
                </a:cubicBezTo>
                <a:cubicBezTo>
                  <a:pt x="684" y="172"/>
                  <a:pt x="686" y="174"/>
                  <a:pt x="684" y="173"/>
                </a:cubicBezTo>
                <a:cubicBezTo>
                  <a:pt x="683" y="172"/>
                  <a:pt x="682" y="169"/>
                  <a:pt x="681" y="170"/>
                </a:cubicBezTo>
                <a:cubicBezTo>
                  <a:pt x="680" y="169"/>
                  <a:pt x="681" y="169"/>
                  <a:pt x="681" y="169"/>
                </a:cubicBezTo>
                <a:cubicBezTo>
                  <a:pt x="680" y="168"/>
                  <a:pt x="679" y="168"/>
                  <a:pt x="678" y="168"/>
                </a:cubicBezTo>
                <a:cubicBezTo>
                  <a:pt x="676" y="165"/>
                  <a:pt x="672" y="163"/>
                  <a:pt x="672" y="161"/>
                </a:cubicBezTo>
                <a:cubicBezTo>
                  <a:pt x="670" y="160"/>
                  <a:pt x="662" y="154"/>
                  <a:pt x="657" y="149"/>
                </a:cubicBezTo>
                <a:cubicBezTo>
                  <a:pt x="660" y="152"/>
                  <a:pt x="654" y="146"/>
                  <a:pt x="654" y="146"/>
                </a:cubicBezTo>
                <a:cubicBezTo>
                  <a:pt x="653" y="145"/>
                  <a:pt x="653" y="145"/>
                  <a:pt x="652" y="145"/>
                </a:cubicBezTo>
                <a:cubicBezTo>
                  <a:pt x="648" y="142"/>
                  <a:pt x="644" y="139"/>
                  <a:pt x="645" y="138"/>
                </a:cubicBezTo>
                <a:cubicBezTo>
                  <a:pt x="641" y="135"/>
                  <a:pt x="641" y="135"/>
                  <a:pt x="641" y="135"/>
                </a:cubicBezTo>
                <a:cubicBezTo>
                  <a:pt x="642" y="137"/>
                  <a:pt x="641" y="136"/>
                  <a:pt x="640" y="136"/>
                </a:cubicBezTo>
                <a:cubicBezTo>
                  <a:pt x="637" y="133"/>
                  <a:pt x="636" y="133"/>
                  <a:pt x="633" y="130"/>
                </a:cubicBezTo>
                <a:cubicBezTo>
                  <a:pt x="633" y="130"/>
                  <a:pt x="632" y="129"/>
                  <a:pt x="633" y="129"/>
                </a:cubicBezTo>
                <a:cubicBezTo>
                  <a:pt x="629" y="126"/>
                  <a:pt x="631" y="129"/>
                  <a:pt x="629" y="128"/>
                </a:cubicBezTo>
                <a:cubicBezTo>
                  <a:pt x="628" y="126"/>
                  <a:pt x="625" y="124"/>
                  <a:pt x="622" y="123"/>
                </a:cubicBezTo>
                <a:cubicBezTo>
                  <a:pt x="626" y="124"/>
                  <a:pt x="620" y="120"/>
                  <a:pt x="618" y="120"/>
                </a:cubicBezTo>
                <a:cubicBezTo>
                  <a:pt x="618" y="120"/>
                  <a:pt x="620" y="122"/>
                  <a:pt x="621" y="122"/>
                </a:cubicBezTo>
                <a:cubicBezTo>
                  <a:pt x="623" y="124"/>
                  <a:pt x="615" y="119"/>
                  <a:pt x="617" y="119"/>
                </a:cubicBezTo>
                <a:cubicBezTo>
                  <a:pt x="614" y="117"/>
                  <a:pt x="614" y="117"/>
                  <a:pt x="614" y="117"/>
                </a:cubicBezTo>
                <a:cubicBezTo>
                  <a:pt x="613" y="116"/>
                  <a:pt x="614" y="118"/>
                  <a:pt x="611" y="116"/>
                </a:cubicBezTo>
                <a:cubicBezTo>
                  <a:pt x="611" y="116"/>
                  <a:pt x="613" y="116"/>
                  <a:pt x="612" y="115"/>
                </a:cubicBezTo>
                <a:cubicBezTo>
                  <a:pt x="610" y="114"/>
                  <a:pt x="612" y="116"/>
                  <a:pt x="610" y="115"/>
                </a:cubicBezTo>
                <a:cubicBezTo>
                  <a:pt x="607" y="112"/>
                  <a:pt x="602" y="111"/>
                  <a:pt x="596" y="106"/>
                </a:cubicBezTo>
                <a:cubicBezTo>
                  <a:pt x="596" y="106"/>
                  <a:pt x="595" y="106"/>
                  <a:pt x="595" y="105"/>
                </a:cubicBezTo>
                <a:cubicBezTo>
                  <a:pt x="594" y="105"/>
                  <a:pt x="594" y="105"/>
                  <a:pt x="594" y="106"/>
                </a:cubicBezTo>
                <a:cubicBezTo>
                  <a:pt x="587" y="101"/>
                  <a:pt x="583" y="99"/>
                  <a:pt x="576" y="95"/>
                </a:cubicBezTo>
                <a:cubicBezTo>
                  <a:pt x="573" y="94"/>
                  <a:pt x="576" y="96"/>
                  <a:pt x="575" y="96"/>
                </a:cubicBezTo>
                <a:cubicBezTo>
                  <a:pt x="575" y="95"/>
                  <a:pt x="571" y="94"/>
                  <a:pt x="571" y="94"/>
                </a:cubicBezTo>
                <a:cubicBezTo>
                  <a:pt x="568" y="92"/>
                  <a:pt x="566" y="90"/>
                  <a:pt x="562" y="88"/>
                </a:cubicBezTo>
                <a:cubicBezTo>
                  <a:pt x="555" y="85"/>
                  <a:pt x="548" y="82"/>
                  <a:pt x="540" y="79"/>
                </a:cubicBezTo>
                <a:cubicBezTo>
                  <a:pt x="540" y="78"/>
                  <a:pt x="540" y="78"/>
                  <a:pt x="540" y="78"/>
                </a:cubicBezTo>
                <a:cubicBezTo>
                  <a:pt x="537" y="77"/>
                  <a:pt x="535" y="76"/>
                  <a:pt x="533" y="75"/>
                </a:cubicBezTo>
                <a:cubicBezTo>
                  <a:pt x="530" y="74"/>
                  <a:pt x="529" y="74"/>
                  <a:pt x="526" y="73"/>
                </a:cubicBezTo>
                <a:cubicBezTo>
                  <a:pt x="526" y="72"/>
                  <a:pt x="526" y="72"/>
                  <a:pt x="526" y="72"/>
                </a:cubicBezTo>
                <a:cubicBezTo>
                  <a:pt x="521" y="71"/>
                  <a:pt x="517" y="70"/>
                  <a:pt x="514" y="68"/>
                </a:cubicBezTo>
                <a:cubicBezTo>
                  <a:pt x="510" y="68"/>
                  <a:pt x="504" y="65"/>
                  <a:pt x="502" y="64"/>
                </a:cubicBezTo>
                <a:cubicBezTo>
                  <a:pt x="500" y="63"/>
                  <a:pt x="502" y="65"/>
                  <a:pt x="502" y="65"/>
                </a:cubicBezTo>
                <a:cubicBezTo>
                  <a:pt x="497" y="64"/>
                  <a:pt x="493" y="62"/>
                  <a:pt x="488" y="60"/>
                </a:cubicBezTo>
                <a:cubicBezTo>
                  <a:pt x="485" y="60"/>
                  <a:pt x="481" y="60"/>
                  <a:pt x="480" y="59"/>
                </a:cubicBezTo>
                <a:cubicBezTo>
                  <a:pt x="483" y="59"/>
                  <a:pt x="485" y="60"/>
                  <a:pt x="484" y="59"/>
                </a:cubicBezTo>
                <a:cubicBezTo>
                  <a:pt x="482" y="58"/>
                  <a:pt x="480" y="59"/>
                  <a:pt x="480" y="58"/>
                </a:cubicBezTo>
                <a:cubicBezTo>
                  <a:pt x="479" y="58"/>
                  <a:pt x="479" y="58"/>
                  <a:pt x="479" y="59"/>
                </a:cubicBezTo>
                <a:cubicBezTo>
                  <a:pt x="474" y="58"/>
                  <a:pt x="470" y="57"/>
                  <a:pt x="468" y="56"/>
                </a:cubicBezTo>
                <a:cubicBezTo>
                  <a:pt x="466" y="56"/>
                  <a:pt x="469" y="57"/>
                  <a:pt x="464" y="56"/>
                </a:cubicBezTo>
                <a:cubicBezTo>
                  <a:pt x="465" y="55"/>
                  <a:pt x="461" y="54"/>
                  <a:pt x="459" y="54"/>
                </a:cubicBezTo>
                <a:cubicBezTo>
                  <a:pt x="459" y="54"/>
                  <a:pt x="459" y="54"/>
                  <a:pt x="458" y="54"/>
                </a:cubicBezTo>
                <a:cubicBezTo>
                  <a:pt x="458" y="54"/>
                  <a:pt x="459" y="54"/>
                  <a:pt x="461" y="54"/>
                </a:cubicBezTo>
                <a:cubicBezTo>
                  <a:pt x="461" y="53"/>
                  <a:pt x="460" y="53"/>
                  <a:pt x="458" y="53"/>
                </a:cubicBezTo>
                <a:cubicBezTo>
                  <a:pt x="457" y="53"/>
                  <a:pt x="456" y="53"/>
                  <a:pt x="456" y="54"/>
                </a:cubicBezTo>
                <a:cubicBezTo>
                  <a:pt x="453" y="53"/>
                  <a:pt x="452" y="52"/>
                  <a:pt x="450" y="52"/>
                </a:cubicBezTo>
                <a:cubicBezTo>
                  <a:pt x="448" y="51"/>
                  <a:pt x="451" y="52"/>
                  <a:pt x="450" y="52"/>
                </a:cubicBezTo>
                <a:cubicBezTo>
                  <a:pt x="442" y="51"/>
                  <a:pt x="434" y="51"/>
                  <a:pt x="428" y="49"/>
                </a:cubicBezTo>
                <a:cubicBezTo>
                  <a:pt x="426" y="49"/>
                  <a:pt x="429" y="50"/>
                  <a:pt x="427" y="50"/>
                </a:cubicBezTo>
                <a:cubicBezTo>
                  <a:pt x="424" y="50"/>
                  <a:pt x="424" y="49"/>
                  <a:pt x="426" y="49"/>
                </a:cubicBezTo>
                <a:cubicBezTo>
                  <a:pt x="426" y="48"/>
                  <a:pt x="425" y="49"/>
                  <a:pt x="423" y="48"/>
                </a:cubicBezTo>
                <a:cubicBezTo>
                  <a:pt x="423" y="49"/>
                  <a:pt x="423" y="49"/>
                  <a:pt x="423" y="49"/>
                </a:cubicBezTo>
                <a:cubicBezTo>
                  <a:pt x="416" y="48"/>
                  <a:pt x="410" y="48"/>
                  <a:pt x="402" y="48"/>
                </a:cubicBezTo>
                <a:cubicBezTo>
                  <a:pt x="404" y="47"/>
                  <a:pt x="401" y="47"/>
                  <a:pt x="397" y="47"/>
                </a:cubicBezTo>
                <a:cubicBezTo>
                  <a:pt x="397" y="46"/>
                  <a:pt x="397" y="46"/>
                  <a:pt x="397" y="46"/>
                </a:cubicBezTo>
                <a:cubicBezTo>
                  <a:pt x="394" y="47"/>
                  <a:pt x="393" y="46"/>
                  <a:pt x="391" y="46"/>
                </a:cubicBezTo>
                <a:cubicBezTo>
                  <a:pt x="389" y="46"/>
                  <a:pt x="395" y="47"/>
                  <a:pt x="393" y="48"/>
                </a:cubicBezTo>
                <a:cubicBezTo>
                  <a:pt x="390" y="47"/>
                  <a:pt x="390" y="47"/>
                  <a:pt x="388" y="47"/>
                </a:cubicBezTo>
                <a:cubicBezTo>
                  <a:pt x="386" y="47"/>
                  <a:pt x="388" y="47"/>
                  <a:pt x="388" y="48"/>
                </a:cubicBezTo>
                <a:cubicBezTo>
                  <a:pt x="385" y="48"/>
                  <a:pt x="385" y="47"/>
                  <a:pt x="382" y="48"/>
                </a:cubicBezTo>
                <a:cubicBezTo>
                  <a:pt x="382" y="47"/>
                  <a:pt x="383" y="47"/>
                  <a:pt x="384" y="47"/>
                </a:cubicBezTo>
                <a:cubicBezTo>
                  <a:pt x="383" y="47"/>
                  <a:pt x="380" y="48"/>
                  <a:pt x="380" y="47"/>
                </a:cubicBezTo>
                <a:cubicBezTo>
                  <a:pt x="379" y="47"/>
                  <a:pt x="380" y="48"/>
                  <a:pt x="377" y="48"/>
                </a:cubicBezTo>
                <a:cubicBezTo>
                  <a:pt x="376" y="47"/>
                  <a:pt x="377" y="47"/>
                  <a:pt x="376" y="47"/>
                </a:cubicBezTo>
                <a:cubicBezTo>
                  <a:pt x="375" y="47"/>
                  <a:pt x="371" y="48"/>
                  <a:pt x="375" y="48"/>
                </a:cubicBezTo>
                <a:cubicBezTo>
                  <a:pt x="374" y="48"/>
                  <a:pt x="373" y="49"/>
                  <a:pt x="371" y="49"/>
                </a:cubicBezTo>
                <a:cubicBezTo>
                  <a:pt x="372" y="48"/>
                  <a:pt x="370" y="48"/>
                  <a:pt x="371" y="47"/>
                </a:cubicBezTo>
                <a:cubicBezTo>
                  <a:pt x="370" y="47"/>
                  <a:pt x="367" y="48"/>
                  <a:pt x="368" y="47"/>
                </a:cubicBezTo>
                <a:cubicBezTo>
                  <a:pt x="365" y="48"/>
                  <a:pt x="363" y="48"/>
                  <a:pt x="361" y="48"/>
                </a:cubicBezTo>
                <a:cubicBezTo>
                  <a:pt x="361" y="47"/>
                  <a:pt x="362" y="47"/>
                  <a:pt x="363" y="47"/>
                </a:cubicBezTo>
                <a:cubicBezTo>
                  <a:pt x="363" y="47"/>
                  <a:pt x="361" y="47"/>
                  <a:pt x="359" y="47"/>
                </a:cubicBezTo>
                <a:cubicBezTo>
                  <a:pt x="358" y="48"/>
                  <a:pt x="355" y="48"/>
                  <a:pt x="351" y="48"/>
                </a:cubicBezTo>
                <a:cubicBezTo>
                  <a:pt x="351" y="49"/>
                  <a:pt x="354" y="48"/>
                  <a:pt x="354" y="49"/>
                </a:cubicBezTo>
                <a:cubicBezTo>
                  <a:pt x="350" y="50"/>
                  <a:pt x="351" y="49"/>
                  <a:pt x="348" y="49"/>
                </a:cubicBezTo>
                <a:cubicBezTo>
                  <a:pt x="350" y="50"/>
                  <a:pt x="344" y="50"/>
                  <a:pt x="342" y="50"/>
                </a:cubicBezTo>
                <a:cubicBezTo>
                  <a:pt x="340" y="50"/>
                  <a:pt x="343" y="50"/>
                  <a:pt x="341" y="51"/>
                </a:cubicBezTo>
                <a:cubicBezTo>
                  <a:pt x="336" y="52"/>
                  <a:pt x="334" y="52"/>
                  <a:pt x="332" y="51"/>
                </a:cubicBezTo>
                <a:cubicBezTo>
                  <a:pt x="334" y="50"/>
                  <a:pt x="335" y="51"/>
                  <a:pt x="335" y="51"/>
                </a:cubicBezTo>
                <a:cubicBezTo>
                  <a:pt x="336" y="51"/>
                  <a:pt x="336" y="51"/>
                  <a:pt x="336" y="51"/>
                </a:cubicBezTo>
                <a:cubicBezTo>
                  <a:pt x="336" y="50"/>
                  <a:pt x="334" y="51"/>
                  <a:pt x="335" y="50"/>
                </a:cubicBezTo>
                <a:cubicBezTo>
                  <a:pt x="331" y="51"/>
                  <a:pt x="331" y="51"/>
                  <a:pt x="331" y="52"/>
                </a:cubicBezTo>
                <a:cubicBezTo>
                  <a:pt x="330" y="51"/>
                  <a:pt x="326" y="51"/>
                  <a:pt x="326" y="52"/>
                </a:cubicBezTo>
                <a:cubicBezTo>
                  <a:pt x="323" y="53"/>
                  <a:pt x="325" y="52"/>
                  <a:pt x="326" y="51"/>
                </a:cubicBezTo>
                <a:cubicBezTo>
                  <a:pt x="326" y="51"/>
                  <a:pt x="322" y="52"/>
                  <a:pt x="321" y="53"/>
                </a:cubicBezTo>
                <a:cubicBezTo>
                  <a:pt x="321" y="53"/>
                  <a:pt x="322" y="53"/>
                  <a:pt x="323" y="53"/>
                </a:cubicBezTo>
                <a:cubicBezTo>
                  <a:pt x="321" y="53"/>
                  <a:pt x="315" y="54"/>
                  <a:pt x="316" y="55"/>
                </a:cubicBezTo>
                <a:cubicBezTo>
                  <a:pt x="314" y="56"/>
                  <a:pt x="314" y="55"/>
                  <a:pt x="312" y="55"/>
                </a:cubicBezTo>
                <a:cubicBezTo>
                  <a:pt x="313" y="55"/>
                  <a:pt x="314" y="54"/>
                  <a:pt x="315" y="54"/>
                </a:cubicBezTo>
                <a:cubicBezTo>
                  <a:pt x="317" y="53"/>
                  <a:pt x="317" y="53"/>
                  <a:pt x="320" y="52"/>
                </a:cubicBezTo>
                <a:cubicBezTo>
                  <a:pt x="319" y="52"/>
                  <a:pt x="314" y="54"/>
                  <a:pt x="313" y="54"/>
                </a:cubicBezTo>
                <a:cubicBezTo>
                  <a:pt x="310" y="54"/>
                  <a:pt x="314" y="54"/>
                  <a:pt x="312" y="55"/>
                </a:cubicBezTo>
                <a:cubicBezTo>
                  <a:pt x="308" y="56"/>
                  <a:pt x="308" y="56"/>
                  <a:pt x="304" y="57"/>
                </a:cubicBezTo>
                <a:cubicBezTo>
                  <a:pt x="305" y="57"/>
                  <a:pt x="307" y="57"/>
                  <a:pt x="307" y="56"/>
                </a:cubicBezTo>
                <a:cubicBezTo>
                  <a:pt x="305" y="56"/>
                  <a:pt x="302" y="58"/>
                  <a:pt x="302" y="58"/>
                </a:cubicBezTo>
                <a:cubicBezTo>
                  <a:pt x="299" y="59"/>
                  <a:pt x="304" y="57"/>
                  <a:pt x="301" y="58"/>
                </a:cubicBezTo>
                <a:cubicBezTo>
                  <a:pt x="301" y="57"/>
                  <a:pt x="304" y="57"/>
                  <a:pt x="303" y="57"/>
                </a:cubicBezTo>
                <a:cubicBezTo>
                  <a:pt x="303" y="57"/>
                  <a:pt x="298" y="58"/>
                  <a:pt x="297" y="58"/>
                </a:cubicBezTo>
                <a:cubicBezTo>
                  <a:pt x="298" y="59"/>
                  <a:pt x="301" y="57"/>
                  <a:pt x="301" y="58"/>
                </a:cubicBezTo>
                <a:cubicBezTo>
                  <a:pt x="296" y="59"/>
                  <a:pt x="295" y="60"/>
                  <a:pt x="292" y="60"/>
                </a:cubicBezTo>
                <a:cubicBezTo>
                  <a:pt x="290" y="61"/>
                  <a:pt x="289" y="61"/>
                  <a:pt x="289" y="62"/>
                </a:cubicBezTo>
                <a:cubicBezTo>
                  <a:pt x="288" y="62"/>
                  <a:pt x="283" y="62"/>
                  <a:pt x="283" y="63"/>
                </a:cubicBezTo>
                <a:cubicBezTo>
                  <a:pt x="279" y="65"/>
                  <a:pt x="279" y="64"/>
                  <a:pt x="276" y="65"/>
                </a:cubicBezTo>
                <a:cubicBezTo>
                  <a:pt x="274" y="66"/>
                  <a:pt x="277" y="66"/>
                  <a:pt x="276" y="66"/>
                </a:cubicBezTo>
                <a:cubicBezTo>
                  <a:pt x="273" y="67"/>
                  <a:pt x="273" y="67"/>
                  <a:pt x="273" y="67"/>
                </a:cubicBezTo>
                <a:cubicBezTo>
                  <a:pt x="275" y="65"/>
                  <a:pt x="264" y="71"/>
                  <a:pt x="260" y="71"/>
                </a:cubicBezTo>
                <a:cubicBezTo>
                  <a:pt x="259" y="72"/>
                  <a:pt x="259" y="72"/>
                  <a:pt x="259" y="73"/>
                </a:cubicBezTo>
                <a:cubicBezTo>
                  <a:pt x="257" y="73"/>
                  <a:pt x="254" y="74"/>
                  <a:pt x="253" y="75"/>
                </a:cubicBezTo>
                <a:cubicBezTo>
                  <a:pt x="253" y="75"/>
                  <a:pt x="253" y="75"/>
                  <a:pt x="253" y="74"/>
                </a:cubicBezTo>
                <a:cubicBezTo>
                  <a:pt x="248" y="77"/>
                  <a:pt x="246" y="78"/>
                  <a:pt x="239" y="81"/>
                </a:cubicBezTo>
                <a:cubicBezTo>
                  <a:pt x="240" y="80"/>
                  <a:pt x="244" y="78"/>
                  <a:pt x="245" y="78"/>
                </a:cubicBezTo>
                <a:cubicBezTo>
                  <a:pt x="244" y="78"/>
                  <a:pt x="244" y="76"/>
                  <a:pt x="243" y="77"/>
                </a:cubicBezTo>
                <a:cubicBezTo>
                  <a:pt x="243" y="77"/>
                  <a:pt x="242" y="76"/>
                  <a:pt x="243" y="75"/>
                </a:cubicBezTo>
                <a:cubicBezTo>
                  <a:pt x="244" y="75"/>
                  <a:pt x="244" y="75"/>
                  <a:pt x="245" y="75"/>
                </a:cubicBezTo>
                <a:cubicBezTo>
                  <a:pt x="247" y="74"/>
                  <a:pt x="243" y="74"/>
                  <a:pt x="246" y="73"/>
                </a:cubicBezTo>
                <a:cubicBezTo>
                  <a:pt x="245" y="73"/>
                  <a:pt x="244" y="74"/>
                  <a:pt x="243" y="75"/>
                </a:cubicBezTo>
                <a:cubicBezTo>
                  <a:pt x="243" y="73"/>
                  <a:pt x="250" y="71"/>
                  <a:pt x="252" y="71"/>
                </a:cubicBezTo>
                <a:cubicBezTo>
                  <a:pt x="254" y="70"/>
                  <a:pt x="251" y="70"/>
                  <a:pt x="254" y="69"/>
                </a:cubicBezTo>
                <a:cubicBezTo>
                  <a:pt x="247" y="70"/>
                  <a:pt x="242" y="74"/>
                  <a:pt x="237" y="76"/>
                </a:cubicBezTo>
                <a:cubicBezTo>
                  <a:pt x="236" y="76"/>
                  <a:pt x="237" y="76"/>
                  <a:pt x="237" y="76"/>
                </a:cubicBezTo>
                <a:cubicBezTo>
                  <a:pt x="235" y="77"/>
                  <a:pt x="233" y="78"/>
                  <a:pt x="233" y="78"/>
                </a:cubicBezTo>
                <a:cubicBezTo>
                  <a:pt x="234" y="77"/>
                  <a:pt x="235" y="77"/>
                  <a:pt x="235" y="76"/>
                </a:cubicBezTo>
                <a:cubicBezTo>
                  <a:pt x="232" y="77"/>
                  <a:pt x="234" y="77"/>
                  <a:pt x="231" y="78"/>
                </a:cubicBezTo>
                <a:cubicBezTo>
                  <a:pt x="229" y="78"/>
                  <a:pt x="231" y="77"/>
                  <a:pt x="227" y="79"/>
                </a:cubicBezTo>
                <a:cubicBezTo>
                  <a:pt x="227" y="78"/>
                  <a:pt x="230" y="77"/>
                  <a:pt x="231" y="76"/>
                </a:cubicBezTo>
                <a:cubicBezTo>
                  <a:pt x="229" y="77"/>
                  <a:pt x="228" y="77"/>
                  <a:pt x="224" y="79"/>
                </a:cubicBezTo>
                <a:cubicBezTo>
                  <a:pt x="227" y="76"/>
                  <a:pt x="236" y="73"/>
                  <a:pt x="233" y="72"/>
                </a:cubicBezTo>
                <a:cubicBezTo>
                  <a:pt x="233" y="72"/>
                  <a:pt x="231" y="72"/>
                  <a:pt x="231" y="72"/>
                </a:cubicBezTo>
                <a:cubicBezTo>
                  <a:pt x="229" y="73"/>
                  <a:pt x="233" y="72"/>
                  <a:pt x="230" y="73"/>
                </a:cubicBezTo>
                <a:cubicBezTo>
                  <a:pt x="230" y="73"/>
                  <a:pt x="232" y="73"/>
                  <a:pt x="232" y="73"/>
                </a:cubicBezTo>
                <a:cubicBezTo>
                  <a:pt x="227" y="76"/>
                  <a:pt x="222" y="80"/>
                  <a:pt x="219" y="80"/>
                </a:cubicBezTo>
                <a:cubicBezTo>
                  <a:pt x="223" y="79"/>
                  <a:pt x="216" y="80"/>
                  <a:pt x="222" y="77"/>
                </a:cubicBezTo>
                <a:cubicBezTo>
                  <a:pt x="221" y="76"/>
                  <a:pt x="216" y="78"/>
                  <a:pt x="218" y="76"/>
                </a:cubicBezTo>
                <a:cubicBezTo>
                  <a:pt x="217" y="77"/>
                  <a:pt x="210" y="80"/>
                  <a:pt x="210" y="82"/>
                </a:cubicBezTo>
                <a:cubicBezTo>
                  <a:pt x="205" y="84"/>
                  <a:pt x="210" y="81"/>
                  <a:pt x="203" y="85"/>
                </a:cubicBezTo>
                <a:cubicBezTo>
                  <a:pt x="207" y="83"/>
                  <a:pt x="205" y="85"/>
                  <a:pt x="206" y="85"/>
                </a:cubicBezTo>
                <a:cubicBezTo>
                  <a:pt x="203" y="87"/>
                  <a:pt x="205" y="85"/>
                  <a:pt x="204" y="85"/>
                </a:cubicBezTo>
                <a:cubicBezTo>
                  <a:pt x="202" y="86"/>
                  <a:pt x="201" y="88"/>
                  <a:pt x="199" y="88"/>
                </a:cubicBezTo>
                <a:cubicBezTo>
                  <a:pt x="199" y="89"/>
                  <a:pt x="199" y="89"/>
                  <a:pt x="198" y="89"/>
                </a:cubicBezTo>
                <a:cubicBezTo>
                  <a:pt x="200" y="89"/>
                  <a:pt x="202" y="86"/>
                  <a:pt x="203" y="86"/>
                </a:cubicBezTo>
                <a:cubicBezTo>
                  <a:pt x="204" y="87"/>
                  <a:pt x="202" y="88"/>
                  <a:pt x="201" y="88"/>
                </a:cubicBezTo>
                <a:cubicBezTo>
                  <a:pt x="201" y="89"/>
                  <a:pt x="205" y="87"/>
                  <a:pt x="202" y="89"/>
                </a:cubicBezTo>
                <a:cubicBezTo>
                  <a:pt x="202" y="89"/>
                  <a:pt x="204" y="88"/>
                  <a:pt x="205" y="87"/>
                </a:cubicBezTo>
                <a:cubicBezTo>
                  <a:pt x="203" y="89"/>
                  <a:pt x="198" y="91"/>
                  <a:pt x="198" y="92"/>
                </a:cubicBezTo>
                <a:cubicBezTo>
                  <a:pt x="198" y="92"/>
                  <a:pt x="198" y="91"/>
                  <a:pt x="195" y="93"/>
                </a:cubicBezTo>
                <a:cubicBezTo>
                  <a:pt x="195" y="92"/>
                  <a:pt x="196" y="92"/>
                  <a:pt x="197" y="91"/>
                </a:cubicBezTo>
                <a:cubicBezTo>
                  <a:pt x="196" y="91"/>
                  <a:pt x="194" y="92"/>
                  <a:pt x="192" y="94"/>
                </a:cubicBezTo>
                <a:cubicBezTo>
                  <a:pt x="191" y="94"/>
                  <a:pt x="190" y="94"/>
                  <a:pt x="190" y="93"/>
                </a:cubicBezTo>
                <a:cubicBezTo>
                  <a:pt x="187" y="95"/>
                  <a:pt x="190" y="94"/>
                  <a:pt x="187" y="96"/>
                </a:cubicBezTo>
                <a:cubicBezTo>
                  <a:pt x="189" y="94"/>
                  <a:pt x="184" y="97"/>
                  <a:pt x="184" y="96"/>
                </a:cubicBezTo>
                <a:cubicBezTo>
                  <a:pt x="182" y="98"/>
                  <a:pt x="180" y="99"/>
                  <a:pt x="179" y="100"/>
                </a:cubicBezTo>
                <a:cubicBezTo>
                  <a:pt x="179" y="99"/>
                  <a:pt x="179" y="98"/>
                  <a:pt x="181" y="98"/>
                </a:cubicBezTo>
                <a:cubicBezTo>
                  <a:pt x="184" y="96"/>
                  <a:pt x="180" y="98"/>
                  <a:pt x="180" y="97"/>
                </a:cubicBezTo>
                <a:cubicBezTo>
                  <a:pt x="184" y="95"/>
                  <a:pt x="186" y="93"/>
                  <a:pt x="191" y="90"/>
                </a:cubicBezTo>
                <a:cubicBezTo>
                  <a:pt x="188" y="92"/>
                  <a:pt x="189" y="92"/>
                  <a:pt x="192" y="90"/>
                </a:cubicBezTo>
                <a:cubicBezTo>
                  <a:pt x="194" y="88"/>
                  <a:pt x="194" y="88"/>
                  <a:pt x="198" y="86"/>
                </a:cubicBezTo>
                <a:cubicBezTo>
                  <a:pt x="200" y="85"/>
                  <a:pt x="196" y="86"/>
                  <a:pt x="200" y="84"/>
                </a:cubicBezTo>
                <a:cubicBezTo>
                  <a:pt x="199" y="85"/>
                  <a:pt x="204" y="82"/>
                  <a:pt x="204" y="84"/>
                </a:cubicBezTo>
                <a:cubicBezTo>
                  <a:pt x="204" y="84"/>
                  <a:pt x="206" y="83"/>
                  <a:pt x="208" y="82"/>
                </a:cubicBezTo>
                <a:cubicBezTo>
                  <a:pt x="208" y="81"/>
                  <a:pt x="209" y="81"/>
                  <a:pt x="209" y="81"/>
                </a:cubicBezTo>
                <a:cubicBezTo>
                  <a:pt x="209" y="80"/>
                  <a:pt x="205" y="82"/>
                  <a:pt x="207" y="82"/>
                </a:cubicBezTo>
                <a:cubicBezTo>
                  <a:pt x="205" y="83"/>
                  <a:pt x="203" y="84"/>
                  <a:pt x="203" y="83"/>
                </a:cubicBezTo>
                <a:cubicBezTo>
                  <a:pt x="206" y="81"/>
                  <a:pt x="206" y="81"/>
                  <a:pt x="206" y="81"/>
                </a:cubicBezTo>
                <a:cubicBezTo>
                  <a:pt x="206" y="81"/>
                  <a:pt x="205" y="82"/>
                  <a:pt x="206" y="82"/>
                </a:cubicBezTo>
                <a:cubicBezTo>
                  <a:pt x="208" y="81"/>
                  <a:pt x="207" y="81"/>
                  <a:pt x="207" y="80"/>
                </a:cubicBezTo>
                <a:cubicBezTo>
                  <a:pt x="208" y="79"/>
                  <a:pt x="209" y="80"/>
                  <a:pt x="210" y="79"/>
                </a:cubicBezTo>
                <a:cubicBezTo>
                  <a:pt x="212" y="78"/>
                  <a:pt x="209" y="81"/>
                  <a:pt x="213" y="79"/>
                </a:cubicBezTo>
                <a:cubicBezTo>
                  <a:pt x="215" y="78"/>
                  <a:pt x="214" y="77"/>
                  <a:pt x="216" y="77"/>
                </a:cubicBezTo>
                <a:cubicBezTo>
                  <a:pt x="218" y="75"/>
                  <a:pt x="218" y="73"/>
                  <a:pt x="217" y="73"/>
                </a:cubicBezTo>
                <a:cubicBezTo>
                  <a:pt x="216" y="74"/>
                  <a:pt x="216" y="74"/>
                  <a:pt x="213" y="75"/>
                </a:cubicBezTo>
                <a:cubicBezTo>
                  <a:pt x="213" y="74"/>
                  <a:pt x="213" y="74"/>
                  <a:pt x="213" y="74"/>
                </a:cubicBezTo>
                <a:cubicBezTo>
                  <a:pt x="219" y="70"/>
                  <a:pt x="218" y="72"/>
                  <a:pt x="221" y="70"/>
                </a:cubicBezTo>
                <a:cubicBezTo>
                  <a:pt x="222" y="70"/>
                  <a:pt x="220" y="71"/>
                  <a:pt x="219" y="72"/>
                </a:cubicBezTo>
                <a:cubicBezTo>
                  <a:pt x="218" y="73"/>
                  <a:pt x="221" y="71"/>
                  <a:pt x="219" y="73"/>
                </a:cubicBezTo>
                <a:cubicBezTo>
                  <a:pt x="219" y="73"/>
                  <a:pt x="223" y="71"/>
                  <a:pt x="222" y="72"/>
                </a:cubicBezTo>
                <a:cubicBezTo>
                  <a:pt x="224" y="71"/>
                  <a:pt x="221" y="72"/>
                  <a:pt x="221" y="71"/>
                </a:cubicBezTo>
                <a:cubicBezTo>
                  <a:pt x="224" y="70"/>
                  <a:pt x="221" y="70"/>
                  <a:pt x="224" y="68"/>
                </a:cubicBezTo>
                <a:cubicBezTo>
                  <a:pt x="224" y="68"/>
                  <a:pt x="224" y="68"/>
                  <a:pt x="224" y="68"/>
                </a:cubicBezTo>
                <a:cubicBezTo>
                  <a:pt x="223" y="68"/>
                  <a:pt x="223" y="69"/>
                  <a:pt x="221" y="70"/>
                </a:cubicBezTo>
                <a:cubicBezTo>
                  <a:pt x="224" y="66"/>
                  <a:pt x="231" y="66"/>
                  <a:pt x="235" y="63"/>
                </a:cubicBezTo>
                <a:cubicBezTo>
                  <a:pt x="234" y="63"/>
                  <a:pt x="233" y="64"/>
                  <a:pt x="234" y="62"/>
                </a:cubicBezTo>
                <a:cubicBezTo>
                  <a:pt x="231" y="63"/>
                  <a:pt x="234" y="63"/>
                  <a:pt x="231" y="64"/>
                </a:cubicBezTo>
                <a:cubicBezTo>
                  <a:pt x="233" y="63"/>
                  <a:pt x="232" y="63"/>
                  <a:pt x="234" y="61"/>
                </a:cubicBezTo>
                <a:cubicBezTo>
                  <a:pt x="236" y="60"/>
                  <a:pt x="235" y="61"/>
                  <a:pt x="234" y="61"/>
                </a:cubicBezTo>
                <a:cubicBezTo>
                  <a:pt x="235" y="61"/>
                  <a:pt x="236" y="61"/>
                  <a:pt x="236" y="62"/>
                </a:cubicBezTo>
                <a:cubicBezTo>
                  <a:pt x="239" y="60"/>
                  <a:pt x="239" y="60"/>
                  <a:pt x="241" y="59"/>
                </a:cubicBezTo>
                <a:cubicBezTo>
                  <a:pt x="240" y="60"/>
                  <a:pt x="244" y="58"/>
                  <a:pt x="245" y="58"/>
                </a:cubicBezTo>
                <a:cubicBezTo>
                  <a:pt x="248" y="57"/>
                  <a:pt x="244" y="57"/>
                  <a:pt x="247" y="57"/>
                </a:cubicBezTo>
                <a:cubicBezTo>
                  <a:pt x="249" y="55"/>
                  <a:pt x="249" y="56"/>
                  <a:pt x="249" y="56"/>
                </a:cubicBezTo>
                <a:cubicBezTo>
                  <a:pt x="248" y="58"/>
                  <a:pt x="246" y="58"/>
                  <a:pt x="244" y="59"/>
                </a:cubicBezTo>
                <a:cubicBezTo>
                  <a:pt x="245" y="59"/>
                  <a:pt x="246" y="59"/>
                  <a:pt x="244" y="61"/>
                </a:cubicBezTo>
                <a:cubicBezTo>
                  <a:pt x="244" y="61"/>
                  <a:pt x="245" y="60"/>
                  <a:pt x="245" y="61"/>
                </a:cubicBezTo>
                <a:cubicBezTo>
                  <a:pt x="245" y="60"/>
                  <a:pt x="245" y="60"/>
                  <a:pt x="246" y="59"/>
                </a:cubicBezTo>
                <a:cubicBezTo>
                  <a:pt x="247" y="59"/>
                  <a:pt x="248" y="59"/>
                  <a:pt x="248" y="59"/>
                </a:cubicBezTo>
                <a:cubicBezTo>
                  <a:pt x="250" y="58"/>
                  <a:pt x="245" y="59"/>
                  <a:pt x="246" y="59"/>
                </a:cubicBezTo>
                <a:cubicBezTo>
                  <a:pt x="248" y="57"/>
                  <a:pt x="253" y="56"/>
                  <a:pt x="253" y="55"/>
                </a:cubicBezTo>
                <a:cubicBezTo>
                  <a:pt x="255" y="54"/>
                  <a:pt x="255" y="55"/>
                  <a:pt x="257" y="55"/>
                </a:cubicBezTo>
                <a:cubicBezTo>
                  <a:pt x="257" y="54"/>
                  <a:pt x="264" y="50"/>
                  <a:pt x="267" y="50"/>
                </a:cubicBezTo>
                <a:cubicBezTo>
                  <a:pt x="271" y="49"/>
                  <a:pt x="268" y="48"/>
                  <a:pt x="268" y="48"/>
                </a:cubicBezTo>
                <a:cubicBezTo>
                  <a:pt x="266" y="49"/>
                  <a:pt x="263" y="49"/>
                  <a:pt x="263" y="50"/>
                </a:cubicBezTo>
                <a:cubicBezTo>
                  <a:pt x="263" y="50"/>
                  <a:pt x="265" y="50"/>
                  <a:pt x="266" y="49"/>
                </a:cubicBezTo>
                <a:cubicBezTo>
                  <a:pt x="263" y="51"/>
                  <a:pt x="256" y="53"/>
                  <a:pt x="253" y="55"/>
                </a:cubicBezTo>
                <a:cubicBezTo>
                  <a:pt x="253" y="54"/>
                  <a:pt x="252" y="54"/>
                  <a:pt x="254" y="53"/>
                </a:cubicBezTo>
                <a:cubicBezTo>
                  <a:pt x="256" y="52"/>
                  <a:pt x="258" y="52"/>
                  <a:pt x="258" y="51"/>
                </a:cubicBezTo>
                <a:cubicBezTo>
                  <a:pt x="261" y="50"/>
                  <a:pt x="259" y="52"/>
                  <a:pt x="257" y="52"/>
                </a:cubicBezTo>
                <a:cubicBezTo>
                  <a:pt x="261" y="51"/>
                  <a:pt x="263" y="49"/>
                  <a:pt x="267" y="48"/>
                </a:cubicBezTo>
                <a:cubicBezTo>
                  <a:pt x="262" y="49"/>
                  <a:pt x="253" y="52"/>
                  <a:pt x="247" y="55"/>
                </a:cubicBezTo>
                <a:cubicBezTo>
                  <a:pt x="244" y="56"/>
                  <a:pt x="242" y="56"/>
                  <a:pt x="242" y="55"/>
                </a:cubicBezTo>
                <a:cubicBezTo>
                  <a:pt x="240" y="56"/>
                  <a:pt x="242" y="56"/>
                  <a:pt x="242" y="57"/>
                </a:cubicBezTo>
                <a:cubicBezTo>
                  <a:pt x="240" y="57"/>
                  <a:pt x="241" y="58"/>
                  <a:pt x="239" y="58"/>
                </a:cubicBezTo>
                <a:cubicBezTo>
                  <a:pt x="238" y="58"/>
                  <a:pt x="240" y="57"/>
                  <a:pt x="239" y="57"/>
                </a:cubicBezTo>
                <a:cubicBezTo>
                  <a:pt x="238" y="57"/>
                  <a:pt x="236" y="58"/>
                  <a:pt x="234" y="59"/>
                </a:cubicBezTo>
                <a:cubicBezTo>
                  <a:pt x="233" y="60"/>
                  <a:pt x="235" y="59"/>
                  <a:pt x="234" y="60"/>
                </a:cubicBezTo>
                <a:cubicBezTo>
                  <a:pt x="236" y="59"/>
                  <a:pt x="235" y="59"/>
                  <a:pt x="235" y="59"/>
                </a:cubicBezTo>
                <a:cubicBezTo>
                  <a:pt x="237" y="57"/>
                  <a:pt x="237" y="58"/>
                  <a:pt x="239" y="58"/>
                </a:cubicBezTo>
                <a:cubicBezTo>
                  <a:pt x="238" y="59"/>
                  <a:pt x="227" y="63"/>
                  <a:pt x="229" y="64"/>
                </a:cubicBezTo>
                <a:cubicBezTo>
                  <a:pt x="228" y="64"/>
                  <a:pt x="227" y="64"/>
                  <a:pt x="226" y="64"/>
                </a:cubicBezTo>
                <a:cubicBezTo>
                  <a:pt x="229" y="61"/>
                  <a:pt x="225" y="63"/>
                  <a:pt x="223" y="62"/>
                </a:cubicBezTo>
                <a:cubicBezTo>
                  <a:pt x="222" y="63"/>
                  <a:pt x="222" y="63"/>
                  <a:pt x="220" y="64"/>
                </a:cubicBezTo>
                <a:cubicBezTo>
                  <a:pt x="220" y="64"/>
                  <a:pt x="221" y="63"/>
                  <a:pt x="221" y="63"/>
                </a:cubicBezTo>
                <a:cubicBezTo>
                  <a:pt x="216" y="65"/>
                  <a:pt x="222" y="64"/>
                  <a:pt x="217" y="66"/>
                </a:cubicBezTo>
                <a:cubicBezTo>
                  <a:pt x="217" y="65"/>
                  <a:pt x="218" y="65"/>
                  <a:pt x="218" y="64"/>
                </a:cubicBezTo>
                <a:cubicBezTo>
                  <a:pt x="213" y="68"/>
                  <a:pt x="214" y="68"/>
                  <a:pt x="210" y="70"/>
                </a:cubicBezTo>
                <a:cubicBezTo>
                  <a:pt x="209" y="69"/>
                  <a:pt x="209" y="69"/>
                  <a:pt x="209" y="69"/>
                </a:cubicBezTo>
                <a:cubicBezTo>
                  <a:pt x="209" y="69"/>
                  <a:pt x="207" y="71"/>
                  <a:pt x="205" y="72"/>
                </a:cubicBezTo>
                <a:cubicBezTo>
                  <a:pt x="205" y="72"/>
                  <a:pt x="207" y="72"/>
                  <a:pt x="204" y="74"/>
                </a:cubicBezTo>
                <a:cubicBezTo>
                  <a:pt x="204" y="73"/>
                  <a:pt x="205" y="72"/>
                  <a:pt x="203" y="73"/>
                </a:cubicBezTo>
                <a:cubicBezTo>
                  <a:pt x="201" y="75"/>
                  <a:pt x="199" y="76"/>
                  <a:pt x="198" y="77"/>
                </a:cubicBezTo>
                <a:cubicBezTo>
                  <a:pt x="199" y="76"/>
                  <a:pt x="202" y="75"/>
                  <a:pt x="198" y="78"/>
                </a:cubicBezTo>
                <a:cubicBezTo>
                  <a:pt x="199" y="78"/>
                  <a:pt x="201" y="77"/>
                  <a:pt x="203" y="75"/>
                </a:cubicBezTo>
                <a:cubicBezTo>
                  <a:pt x="203" y="76"/>
                  <a:pt x="196" y="80"/>
                  <a:pt x="194" y="81"/>
                </a:cubicBezTo>
                <a:cubicBezTo>
                  <a:pt x="197" y="79"/>
                  <a:pt x="196" y="79"/>
                  <a:pt x="197" y="77"/>
                </a:cubicBezTo>
                <a:cubicBezTo>
                  <a:pt x="194" y="79"/>
                  <a:pt x="195" y="78"/>
                  <a:pt x="192" y="80"/>
                </a:cubicBezTo>
                <a:cubicBezTo>
                  <a:pt x="191" y="80"/>
                  <a:pt x="192" y="80"/>
                  <a:pt x="192" y="81"/>
                </a:cubicBezTo>
                <a:cubicBezTo>
                  <a:pt x="187" y="83"/>
                  <a:pt x="184" y="85"/>
                  <a:pt x="179" y="89"/>
                </a:cubicBezTo>
                <a:cubicBezTo>
                  <a:pt x="179" y="89"/>
                  <a:pt x="180" y="89"/>
                  <a:pt x="180" y="89"/>
                </a:cubicBezTo>
                <a:cubicBezTo>
                  <a:pt x="181" y="88"/>
                  <a:pt x="181" y="88"/>
                  <a:pt x="183" y="87"/>
                </a:cubicBezTo>
                <a:cubicBezTo>
                  <a:pt x="182" y="88"/>
                  <a:pt x="182" y="89"/>
                  <a:pt x="182" y="90"/>
                </a:cubicBezTo>
                <a:cubicBezTo>
                  <a:pt x="179" y="91"/>
                  <a:pt x="178" y="93"/>
                  <a:pt x="177" y="92"/>
                </a:cubicBezTo>
                <a:cubicBezTo>
                  <a:pt x="176" y="94"/>
                  <a:pt x="174" y="95"/>
                  <a:pt x="172" y="96"/>
                </a:cubicBezTo>
                <a:cubicBezTo>
                  <a:pt x="171" y="96"/>
                  <a:pt x="173" y="94"/>
                  <a:pt x="173" y="94"/>
                </a:cubicBezTo>
                <a:cubicBezTo>
                  <a:pt x="169" y="96"/>
                  <a:pt x="172" y="96"/>
                  <a:pt x="171" y="97"/>
                </a:cubicBezTo>
                <a:cubicBezTo>
                  <a:pt x="171" y="97"/>
                  <a:pt x="172" y="96"/>
                  <a:pt x="173" y="95"/>
                </a:cubicBezTo>
                <a:cubicBezTo>
                  <a:pt x="173" y="96"/>
                  <a:pt x="169" y="100"/>
                  <a:pt x="173" y="97"/>
                </a:cubicBezTo>
                <a:cubicBezTo>
                  <a:pt x="171" y="99"/>
                  <a:pt x="166" y="102"/>
                  <a:pt x="166" y="101"/>
                </a:cubicBezTo>
                <a:cubicBezTo>
                  <a:pt x="169" y="98"/>
                  <a:pt x="167" y="98"/>
                  <a:pt x="169" y="97"/>
                </a:cubicBezTo>
                <a:cubicBezTo>
                  <a:pt x="168" y="96"/>
                  <a:pt x="165" y="99"/>
                  <a:pt x="163" y="101"/>
                </a:cubicBezTo>
                <a:cubicBezTo>
                  <a:pt x="163" y="101"/>
                  <a:pt x="162" y="101"/>
                  <a:pt x="162" y="101"/>
                </a:cubicBezTo>
                <a:cubicBezTo>
                  <a:pt x="162" y="101"/>
                  <a:pt x="163" y="100"/>
                  <a:pt x="163" y="100"/>
                </a:cubicBezTo>
                <a:cubicBezTo>
                  <a:pt x="163" y="100"/>
                  <a:pt x="162" y="100"/>
                  <a:pt x="161" y="101"/>
                </a:cubicBezTo>
                <a:cubicBezTo>
                  <a:pt x="162" y="102"/>
                  <a:pt x="162" y="102"/>
                  <a:pt x="158" y="102"/>
                </a:cubicBezTo>
                <a:cubicBezTo>
                  <a:pt x="157" y="104"/>
                  <a:pt x="161" y="102"/>
                  <a:pt x="157" y="105"/>
                </a:cubicBezTo>
                <a:cubicBezTo>
                  <a:pt x="157" y="104"/>
                  <a:pt x="155" y="105"/>
                  <a:pt x="154" y="106"/>
                </a:cubicBezTo>
                <a:cubicBezTo>
                  <a:pt x="157" y="105"/>
                  <a:pt x="154" y="107"/>
                  <a:pt x="154" y="107"/>
                </a:cubicBezTo>
                <a:cubicBezTo>
                  <a:pt x="152" y="109"/>
                  <a:pt x="153" y="108"/>
                  <a:pt x="151" y="109"/>
                </a:cubicBezTo>
                <a:cubicBezTo>
                  <a:pt x="151" y="109"/>
                  <a:pt x="153" y="108"/>
                  <a:pt x="152" y="108"/>
                </a:cubicBezTo>
                <a:cubicBezTo>
                  <a:pt x="152" y="108"/>
                  <a:pt x="152" y="108"/>
                  <a:pt x="151" y="108"/>
                </a:cubicBezTo>
                <a:cubicBezTo>
                  <a:pt x="150" y="109"/>
                  <a:pt x="151" y="109"/>
                  <a:pt x="150" y="110"/>
                </a:cubicBezTo>
                <a:cubicBezTo>
                  <a:pt x="150" y="111"/>
                  <a:pt x="153" y="108"/>
                  <a:pt x="150" y="111"/>
                </a:cubicBezTo>
                <a:cubicBezTo>
                  <a:pt x="151" y="111"/>
                  <a:pt x="154" y="109"/>
                  <a:pt x="154" y="108"/>
                </a:cubicBezTo>
                <a:cubicBezTo>
                  <a:pt x="154" y="109"/>
                  <a:pt x="156" y="108"/>
                  <a:pt x="156" y="108"/>
                </a:cubicBezTo>
                <a:cubicBezTo>
                  <a:pt x="154" y="110"/>
                  <a:pt x="154" y="109"/>
                  <a:pt x="153" y="110"/>
                </a:cubicBezTo>
                <a:cubicBezTo>
                  <a:pt x="152" y="111"/>
                  <a:pt x="149" y="113"/>
                  <a:pt x="149" y="114"/>
                </a:cubicBezTo>
                <a:cubicBezTo>
                  <a:pt x="150" y="113"/>
                  <a:pt x="153" y="110"/>
                  <a:pt x="154" y="111"/>
                </a:cubicBezTo>
                <a:cubicBezTo>
                  <a:pt x="151" y="113"/>
                  <a:pt x="152" y="113"/>
                  <a:pt x="153" y="113"/>
                </a:cubicBezTo>
                <a:cubicBezTo>
                  <a:pt x="153" y="113"/>
                  <a:pt x="152" y="113"/>
                  <a:pt x="152" y="113"/>
                </a:cubicBezTo>
                <a:cubicBezTo>
                  <a:pt x="152" y="113"/>
                  <a:pt x="152" y="114"/>
                  <a:pt x="152" y="114"/>
                </a:cubicBezTo>
                <a:cubicBezTo>
                  <a:pt x="150" y="114"/>
                  <a:pt x="153" y="111"/>
                  <a:pt x="149" y="114"/>
                </a:cubicBezTo>
                <a:cubicBezTo>
                  <a:pt x="149" y="116"/>
                  <a:pt x="146" y="119"/>
                  <a:pt x="150" y="117"/>
                </a:cubicBezTo>
                <a:cubicBezTo>
                  <a:pt x="149" y="118"/>
                  <a:pt x="149" y="118"/>
                  <a:pt x="149" y="118"/>
                </a:cubicBezTo>
                <a:cubicBezTo>
                  <a:pt x="147" y="120"/>
                  <a:pt x="146" y="119"/>
                  <a:pt x="147" y="118"/>
                </a:cubicBezTo>
                <a:cubicBezTo>
                  <a:pt x="144" y="118"/>
                  <a:pt x="140" y="124"/>
                  <a:pt x="138" y="124"/>
                </a:cubicBezTo>
                <a:cubicBezTo>
                  <a:pt x="139" y="124"/>
                  <a:pt x="136" y="126"/>
                  <a:pt x="136" y="127"/>
                </a:cubicBezTo>
                <a:cubicBezTo>
                  <a:pt x="137" y="127"/>
                  <a:pt x="140" y="125"/>
                  <a:pt x="143" y="122"/>
                </a:cubicBezTo>
                <a:cubicBezTo>
                  <a:pt x="143" y="122"/>
                  <a:pt x="143" y="122"/>
                  <a:pt x="143" y="122"/>
                </a:cubicBezTo>
                <a:cubicBezTo>
                  <a:pt x="144" y="121"/>
                  <a:pt x="142" y="123"/>
                  <a:pt x="144" y="123"/>
                </a:cubicBezTo>
                <a:cubicBezTo>
                  <a:pt x="142" y="122"/>
                  <a:pt x="139" y="127"/>
                  <a:pt x="138" y="126"/>
                </a:cubicBezTo>
                <a:cubicBezTo>
                  <a:pt x="135" y="128"/>
                  <a:pt x="135" y="129"/>
                  <a:pt x="134" y="130"/>
                </a:cubicBezTo>
                <a:cubicBezTo>
                  <a:pt x="137" y="129"/>
                  <a:pt x="137" y="128"/>
                  <a:pt x="139" y="127"/>
                </a:cubicBezTo>
                <a:cubicBezTo>
                  <a:pt x="139" y="128"/>
                  <a:pt x="140" y="127"/>
                  <a:pt x="139" y="128"/>
                </a:cubicBezTo>
                <a:cubicBezTo>
                  <a:pt x="140" y="128"/>
                  <a:pt x="141" y="127"/>
                  <a:pt x="141" y="127"/>
                </a:cubicBezTo>
                <a:cubicBezTo>
                  <a:pt x="142" y="126"/>
                  <a:pt x="142" y="126"/>
                  <a:pt x="142" y="126"/>
                </a:cubicBezTo>
                <a:cubicBezTo>
                  <a:pt x="143" y="125"/>
                  <a:pt x="144" y="125"/>
                  <a:pt x="146" y="123"/>
                </a:cubicBezTo>
                <a:cubicBezTo>
                  <a:pt x="147" y="121"/>
                  <a:pt x="151" y="120"/>
                  <a:pt x="154" y="116"/>
                </a:cubicBezTo>
                <a:cubicBezTo>
                  <a:pt x="159" y="114"/>
                  <a:pt x="160" y="110"/>
                  <a:pt x="162" y="111"/>
                </a:cubicBezTo>
                <a:cubicBezTo>
                  <a:pt x="165" y="107"/>
                  <a:pt x="169" y="106"/>
                  <a:pt x="173" y="103"/>
                </a:cubicBezTo>
                <a:cubicBezTo>
                  <a:pt x="175" y="101"/>
                  <a:pt x="172" y="103"/>
                  <a:pt x="174" y="102"/>
                </a:cubicBezTo>
                <a:cubicBezTo>
                  <a:pt x="175" y="101"/>
                  <a:pt x="176" y="101"/>
                  <a:pt x="178" y="100"/>
                </a:cubicBezTo>
                <a:cubicBezTo>
                  <a:pt x="174" y="104"/>
                  <a:pt x="169" y="106"/>
                  <a:pt x="163" y="111"/>
                </a:cubicBezTo>
                <a:cubicBezTo>
                  <a:pt x="166" y="111"/>
                  <a:pt x="178" y="99"/>
                  <a:pt x="183" y="98"/>
                </a:cubicBezTo>
                <a:cubicBezTo>
                  <a:pt x="183" y="98"/>
                  <a:pt x="180" y="101"/>
                  <a:pt x="183" y="99"/>
                </a:cubicBezTo>
                <a:cubicBezTo>
                  <a:pt x="183" y="100"/>
                  <a:pt x="177" y="103"/>
                  <a:pt x="177" y="104"/>
                </a:cubicBezTo>
                <a:cubicBezTo>
                  <a:pt x="173" y="106"/>
                  <a:pt x="172" y="108"/>
                  <a:pt x="168" y="110"/>
                </a:cubicBezTo>
                <a:cubicBezTo>
                  <a:pt x="168" y="111"/>
                  <a:pt x="168" y="111"/>
                  <a:pt x="168" y="111"/>
                </a:cubicBezTo>
                <a:cubicBezTo>
                  <a:pt x="170" y="109"/>
                  <a:pt x="173" y="108"/>
                  <a:pt x="176" y="106"/>
                </a:cubicBezTo>
                <a:cubicBezTo>
                  <a:pt x="175" y="107"/>
                  <a:pt x="175" y="107"/>
                  <a:pt x="176" y="107"/>
                </a:cubicBezTo>
                <a:cubicBezTo>
                  <a:pt x="173" y="109"/>
                  <a:pt x="173" y="109"/>
                  <a:pt x="169" y="112"/>
                </a:cubicBezTo>
                <a:cubicBezTo>
                  <a:pt x="168" y="112"/>
                  <a:pt x="168" y="112"/>
                  <a:pt x="168" y="112"/>
                </a:cubicBezTo>
                <a:cubicBezTo>
                  <a:pt x="166" y="114"/>
                  <a:pt x="163" y="116"/>
                  <a:pt x="159" y="119"/>
                </a:cubicBezTo>
                <a:cubicBezTo>
                  <a:pt x="160" y="120"/>
                  <a:pt x="165" y="115"/>
                  <a:pt x="166" y="114"/>
                </a:cubicBezTo>
                <a:cubicBezTo>
                  <a:pt x="167" y="114"/>
                  <a:pt x="166" y="114"/>
                  <a:pt x="166" y="114"/>
                </a:cubicBezTo>
                <a:cubicBezTo>
                  <a:pt x="164" y="116"/>
                  <a:pt x="168" y="113"/>
                  <a:pt x="168" y="114"/>
                </a:cubicBezTo>
                <a:cubicBezTo>
                  <a:pt x="169" y="112"/>
                  <a:pt x="172" y="111"/>
                  <a:pt x="175" y="108"/>
                </a:cubicBezTo>
                <a:cubicBezTo>
                  <a:pt x="175" y="109"/>
                  <a:pt x="174" y="110"/>
                  <a:pt x="174" y="110"/>
                </a:cubicBezTo>
                <a:cubicBezTo>
                  <a:pt x="176" y="108"/>
                  <a:pt x="181" y="104"/>
                  <a:pt x="183" y="104"/>
                </a:cubicBezTo>
                <a:cubicBezTo>
                  <a:pt x="185" y="102"/>
                  <a:pt x="189" y="100"/>
                  <a:pt x="190" y="98"/>
                </a:cubicBezTo>
                <a:cubicBezTo>
                  <a:pt x="191" y="98"/>
                  <a:pt x="196" y="95"/>
                  <a:pt x="199" y="93"/>
                </a:cubicBezTo>
                <a:cubicBezTo>
                  <a:pt x="199" y="93"/>
                  <a:pt x="198" y="94"/>
                  <a:pt x="198" y="94"/>
                </a:cubicBezTo>
                <a:cubicBezTo>
                  <a:pt x="203" y="90"/>
                  <a:pt x="208" y="88"/>
                  <a:pt x="215" y="83"/>
                </a:cubicBezTo>
                <a:cubicBezTo>
                  <a:pt x="214" y="84"/>
                  <a:pt x="214" y="85"/>
                  <a:pt x="215" y="84"/>
                </a:cubicBezTo>
                <a:cubicBezTo>
                  <a:pt x="218" y="83"/>
                  <a:pt x="214" y="85"/>
                  <a:pt x="215" y="85"/>
                </a:cubicBezTo>
                <a:cubicBezTo>
                  <a:pt x="212" y="86"/>
                  <a:pt x="211" y="87"/>
                  <a:pt x="208" y="88"/>
                </a:cubicBezTo>
                <a:cubicBezTo>
                  <a:pt x="206" y="89"/>
                  <a:pt x="209" y="88"/>
                  <a:pt x="209" y="89"/>
                </a:cubicBezTo>
                <a:cubicBezTo>
                  <a:pt x="204" y="91"/>
                  <a:pt x="202" y="93"/>
                  <a:pt x="200" y="95"/>
                </a:cubicBezTo>
                <a:cubicBezTo>
                  <a:pt x="198" y="95"/>
                  <a:pt x="196" y="97"/>
                  <a:pt x="194" y="98"/>
                </a:cubicBezTo>
                <a:cubicBezTo>
                  <a:pt x="193" y="99"/>
                  <a:pt x="193" y="99"/>
                  <a:pt x="193" y="99"/>
                </a:cubicBezTo>
                <a:cubicBezTo>
                  <a:pt x="190" y="100"/>
                  <a:pt x="188" y="102"/>
                  <a:pt x="184" y="105"/>
                </a:cubicBezTo>
                <a:cubicBezTo>
                  <a:pt x="184" y="104"/>
                  <a:pt x="184" y="104"/>
                  <a:pt x="184" y="104"/>
                </a:cubicBezTo>
                <a:cubicBezTo>
                  <a:pt x="183" y="105"/>
                  <a:pt x="182" y="106"/>
                  <a:pt x="182" y="106"/>
                </a:cubicBezTo>
                <a:cubicBezTo>
                  <a:pt x="182" y="106"/>
                  <a:pt x="175" y="111"/>
                  <a:pt x="170" y="115"/>
                </a:cubicBezTo>
                <a:cubicBezTo>
                  <a:pt x="170" y="115"/>
                  <a:pt x="170" y="115"/>
                  <a:pt x="170" y="115"/>
                </a:cubicBezTo>
                <a:cubicBezTo>
                  <a:pt x="164" y="119"/>
                  <a:pt x="167" y="119"/>
                  <a:pt x="161" y="123"/>
                </a:cubicBezTo>
                <a:cubicBezTo>
                  <a:pt x="162" y="123"/>
                  <a:pt x="161" y="124"/>
                  <a:pt x="162" y="123"/>
                </a:cubicBezTo>
                <a:cubicBezTo>
                  <a:pt x="161" y="124"/>
                  <a:pt x="156" y="128"/>
                  <a:pt x="156" y="128"/>
                </a:cubicBezTo>
                <a:cubicBezTo>
                  <a:pt x="155" y="128"/>
                  <a:pt x="156" y="129"/>
                  <a:pt x="155" y="130"/>
                </a:cubicBezTo>
                <a:cubicBezTo>
                  <a:pt x="152" y="130"/>
                  <a:pt x="154" y="128"/>
                  <a:pt x="154" y="127"/>
                </a:cubicBezTo>
                <a:cubicBezTo>
                  <a:pt x="151" y="129"/>
                  <a:pt x="154" y="128"/>
                  <a:pt x="151" y="131"/>
                </a:cubicBezTo>
                <a:cubicBezTo>
                  <a:pt x="151" y="131"/>
                  <a:pt x="152" y="130"/>
                  <a:pt x="152" y="131"/>
                </a:cubicBezTo>
                <a:cubicBezTo>
                  <a:pt x="149" y="133"/>
                  <a:pt x="150" y="133"/>
                  <a:pt x="148" y="135"/>
                </a:cubicBezTo>
                <a:cubicBezTo>
                  <a:pt x="146" y="136"/>
                  <a:pt x="146" y="137"/>
                  <a:pt x="145" y="138"/>
                </a:cubicBezTo>
                <a:cubicBezTo>
                  <a:pt x="145" y="137"/>
                  <a:pt x="145" y="137"/>
                  <a:pt x="142" y="139"/>
                </a:cubicBezTo>
                <a:cubicBezTo>
                  <a:pt x="140" y="141"/>
                  <a:pt x="144" y="138"/>
                  <a:pt x="143" y="139"/>
                </a:cubicBezTo>
                <a:cubicBezTo>
                  <a:pt x="142" y="140"/>
                  <a:pt x="139" y="142"/>
                  <a:pt x="141" y="141"/>
                </a:cubicBezTo>
                <a:cubicBezTo>
                  <a:pt x="141" y="141"/>
                  <a:pt x="139" y="143"/>
                  <a:pt x="139" y="142"/>
                </a:cubicBezTo>
                <a:cubicBezTo>
                  <a:pt x="138" y="144"/>
                  <a:pt x="137" y="145"/>
                  <a:pt x="135" y="148"/>
                </a:cubicBezTo>
                <a:cubicBezTo>
                  <a:pt x="139" y="145"/>
                  <a:pt x="143" y="141"/>
                  <a:pt x="147" y="137"/>
                </a:cubicBezTo>
                <a:cubicBezTo>
                  <a:pt x="149" y="137"/>
                  <a:pt x="147" y="138"/>
                  <a:pt x="149" y="137"/>
                </a:cubicBezTo>
                <a:cubicBezTo>
                  <a:pt x="151" y="135"/>
                  <a:pt x="151" y="135"/>
                  <a:pt x="151" y="134"/>
                </a:cubicBezTo>
                <a:cubicBezTo>
                  <a:pt x="154" y="132"/>
                  <a:pt x="152" y="134"/>
                  <a:pt x="151" y="135"/>
                </a:cubicBezTo>
                <a:cubicBezTo>
                  <a:pt x="152" y="135"/>
                  <a:pt x="154" y="133"/>
                  <a:pt x="156" y="132"/>
                </a:cubicBezTo>
                <a:cubicBezTo>
                  <a:pt x="153" y="132"/>
                  <a:pt x="159" y="128"/>
                  <a:pt x="161" y="127"/>
                </a:cubicBezTo>
                <a:cubicBezTo>
                  <a:pt x="163" y="125"/>
                  <a:pt x="159" y="129"/>
                  <a:pt x="157" y="130"/>
                </a:cubicBezTo>
                <a:cubicBezTo>
                  <a:pt x="159" y="130"/>
                  <a:pt x="156" y="132"/>
                  <a:pt x="156" y="133"/>
                </a:cubicBezTo>
                <a:cubicBezTo>
                  <a:pt x="155" y="134"/>
                  <a:pt x="150" y="138"/>
                  <a:pt x="150" y="139"/>
                </a:cubicBezTo>
                <a:cubicBezTo>
                  <a:pt x="148" y="140"/>
                  <a:pt x="146" y="141"/>
                  <a:pt x="145" y="143"/>
                </a:cubicBezTo>
                <a:cubicBezTo>
                  <a:pt x="144" y="143"/>
                  <a:pt x="145" y="143"/>
                  <a:pt x="145" y="142"/>
                </a:cubicBezTo>
                <a:cubicBezTo>
                  <a:pt x="144" y="145"/>
                  <a:pt x="143" y="144"/>
                  <a:pt x="141" y="145"/>
                </a:cubicBezTo>
                <a:cubicBezTo>
                  <a:pt x="139" y="147"/>
                  <a:pt x="142" y="145"/>
                  <a:pt x="142" y="146"/>
                </a:cubicBezTo>
                <a:cubicBezTo>
                  <a:pt x="140" y="147"/>
                  <a:pt x="141" y="147"/>
                  <a:pt x="139" y="148"/>
                </a:cubicBezTo>
                <a:cubicBezTo>
                  <a:pt x="138" y="148"/>
                  <a:pt x="138" y="147"/>
                  <a:pt x="140" y="145"/>
                </a:cubicBezTo>
                <a:cubicBezTo>
                  <a:pt x="140" y="145"/>
                  <a:pt x="139" y="145"/>
                  <a:pt x="139" y="145"/>
                </a:cubicBezTo>
                <a:cubicBezTo>
                  <a:pt x="137" y="148"/>
                  <a:pt x="135" y="150"/>
                  <a:pt x="136" y="151"/>
                </a:cubicBezTo>
                <a:cubicBezTo>
                  <a:pt x="134" y="153"/>
                  <a:pt x="135" y="151"/>
                  <a:pt x="133" y="152"/>
                </a:cubicBezTo>
                <a:cubicBezTo>
                  <a:pt x="133" y="153"/>
                  <a:pt x="134" y="153"/>
                  <a:pt x="131" y="156"/>
                </a:cubicBezTo>
                <a:cubicBezTo>
                  <a:pt x="131" y="155"/>
                  <a:pt x="131" y="155"/>
                  <a:pt x="130" y="155"/>
                </a:cubicBezTo>
                <a:cubicBezTo>
                  <a:pt x="130" y="156"/>
                  <a:pt x="129" y="157"/>
                  <a:pt x="129" y="158"/>
                </a:cubicBezTo>
                <a:cubicBezTo>
                  <a:pt x="125" y="161"/>
                  <a:pt x="122" y="164"/>
                  <a:pt x="119" y="167"/>
                </a:cubicBezTo>
                <a:cubicBezTo>
                  <a:pt x="118" y="168"/>
                  <a:pt x="118" y="168"/>
                  <a:pt x="118" y="168"/>
                </a:cubicBezTo>
                <a:cubicBezTo>
                  <a:pt x="116" y="169"/>
                  <a:pt x="117" y="169"/>
                  <a:pt x="115" y="171"/>
                </a:cubicBezTo>
                <a:cubicBezTo>
                  <a:pt x="113" y="171"/>
                  <a:pt x="111" y="174"/>
                  <a:pt x="109" y="175"/>
                </a:cubicBezTo>
                <a:cubicBezTo>
                  <a:pt x="110" y="174"/>
                  <a:pt x="110" y="174"/>
                  <a:pt x="110" y="173"/>
                </a:cubicBezTo>
                <a:cubicBezTo>
                  <a:pt x="114" y="170"/>
                  <a:pt x="118" y="163"/>
                  <a:pt x="121" y="162"/>
                </a:cubicBezTo>
                <a:cubicBezTo>
                  <a:pt x="125" y="157"/>
                  <a:pt x="129" y="153"/>
                  <a:pt x="133" y="151"/>
                </a:cubicBezTo>
                <a:cubicBezTo>
                  <a:pt x="134" y="150"/>
                  <a:pt x="134" y="149"/>
                  <a:pt x="134" y="149"/>
                </a:cubicBezTo>
                <a:cubicBezTo>
                  <a:pt x="134" y="148"/>
                  <a:pt x="130" y="152"/>
                  <a:pt x="130" y="150"/>
                </a:cubicBezTo>
                <a:cubicBezTo>
                  <a:pt x="131" y="150"/>
                  <a:pt x="131" y="150"/>
                  <a:pt x="131" y="150"/>
                </a:cubicBezTo>
                <a:cubicBezTo>
                  <a:pt x="133" y="149"/>
                  <a:pt x="133" y="148"/>
                  <a:pt x="135" y="147"/>
                </a:cubicBezTo>
                <a:cubicBezTo>
                  <a:pt x="126" y="153"/>
                  <a:pt x="125" y="155"/>
                  <a:pt x="119" y="161"/>
                </a:cubicBezTo>
                <a:cubicBezTo>
                  <a:pt x="118" y="160"/>
                  <a:pt x="122" y="157"/>
                  <a:pt x="123" y="155"/>
                </a:cubicBezTo>
                <a:cubicBezTo>
                  <a:pt x="121" y="157"/>
                  <a:pt x="123" y="155"/>
                  <a:pt x="121" y="156"/>
                </a:cubicBezTo>
                <a:cubicBezTo>
                  <a:pt x="121" y="155"/>
                  <a:pt x="123" y="153"/>
                  <a:pt x="123" y="153"/>
                </a:cubicBezTo>
                <a:cubicBezTo>
                  <a:pt x="125" y="151"/>
                  <a:pt x="125" y="153"/>
                  <a:pt x="123" y="155"/>
                </a:cubicBezTo>
                <a:cubicBezTo>
                  <a:pt x="123" y="155"/>
                  <a:pt x="127" y="151"/>
                  <a:pt x="125" y="153"/>
                </a:cubicBezTo>
                <a:cubicBezTo>
                  <a:pt x="128" y="151"/>
                  <a:pt x="128" y="151"/>
                  <a:pt x="131" y="148"/>
                </a:cubicBezTo>
                <a:cubicBezTo>
                  <a:pt x="132" y="145"/>
                  <a:pt x="130" y="145"/>
                  <a:pt x="125" y="149"/>
                </a:cubicBezTo>
                <a:cubicBezTo>
                  <a:pt x="120" y="156"/>
                  <a:pt x="111" y="162"/>
                  <a:pt x="106" y="170"/>
                </a:cubicBezTo>
                <a:cubicBezTo>
                  <a:pt x="104" y="170"/>
                  <a:pt x="103" y="171"/>
                  <a:pt x="102" y="172"/>
                </a:cubicBezTo>
                <a:cubicBezTo>
                  <a:pt x="101" y="173"/>
                  <a:pt x="100" y="174"/>
                  <a:pt x="100" y="174"/>
                </a:cubicBezTo>
                <a:cubicBezTo>
                  <a:pt x="100" y="175"/>
                  <a:pt x="100" y="175"/>
                  <a:pt x="99" y="176"/>
                </a:cubicBezTo>
                <a:cubicBezTo>
                  <a:pt x="100" y="176"/>
                  <a:pt x="100" y="176"/>
                  <a:pt x="100" y="175"/>
                </a:cubicBezTo>
                <a:cubicBezTo>
                  <a:pt x="101" y="176"/>
                  <a:pt x="99" y="176"/>
                  <a:pt x="100" y="177"/>
                </a:cubicBezTo>
                <a:cubicBezTo>
                  <a:pt x="99" y="176"/>
                  <a:pt x="98" y="175"/>
                  <a:pt x="97" y="175"/>
                </a:cubicBezTo>
                <a:cubicBezTo>
                  <a:pt x="97" y="175"/>
                  <a:pt x="97" y="176"/>
                  <a:pt x="97" y="176"/>
                </a:cubicBezTo>
                <a:cubicBezTo>
                  <a:pt x="97" y="175"/>
                  <a:pt x="96" y="177"/>
                  <a:pt x="96" y="176"/>
                </a:cubicBezTo>
                <a:cubicBezTo>
                  <a:pt x="97" y="175"/>
                  <a:pt x="97" y="174"/>
                  <a:pt x="98" y="175"/>
                </a:cubicBezTo>
                <a:cubicBezTo>
                  <a:pt x="98" y="174"/>
                  <a:pt x="97" y="174"/>
                  <a:pt x="98" y="174"/>
                </a:cubicBezTo>
                <a:cubicBezTo>
                  <a:pt x="97" y="173"/>
                  <a:pt x="96" y="175"/>
                  <a:pt x="95" y="176"/>
                </a:cubicBezTo>
                <a:cubicBezTo>
                  <a:pt x="95" y="176"/>
                  <a:pt x="95" y="177"/>
                  <a:pt x="94" y="177"/>
                </a:cubicBezTo>
                <a:cubicBezTo>
                  <a:pt x="95" y="178"/>
                  <a:pt x="95" y="177"/>
                  <a:pt x="96" y="177"/>
                </a:cubicBezTo>
                <a:cubicBezTo>
                  <a:pt x="95" y="178"/>
                  <a:pt x="95" y="178"/>
                  <a:pt x="94" y="178"/>
                </a:cubicBezTo>
                <a:cubicBezTo>
                  <a:pt x="94" y="179"/>
                  <a:pt x="95" y="179"/>
                  <a:pt x="95" y="179"/>
                </a:cubicBezTo>
                <a:cubicBezTo>
                  <a:pt x="94" y="179"/>
                  <a:pt x="92" y="179"/>
                  <a:pt x="92" y="180"/>
                </a:cubicBezTo>
                <a:cubicBezTo>
                  <a:pt x="92" y="180"/>
                  <a:pt x="92" y="180"/>
                  <a:pt x="93" y="180"/>
                </a:cubicBezTo>
                <a:cubicBezTo>
                  <a:pt x="93" y="180"/>
                  <a:pt x="93" y="181"/>
                  <a:pt x="93" y="181"/>
                </a:cubicBezTo>
                <a:cubicBezTo>
                  <a:pt x="92" y="181"/>
                  <a:pt x="92" y="180"/>
                  <a:pt x="92" y="181"/>
                </a:cubicBezTo>
                <a:cubicBezTo>
                  <a:pt x="91" y="181"/>
                  <a:pt x="92" y="181"/>
                  <a:pt x="92" y="181"/>
                </a:cubicBezTo>
                <a:cubicBezTo>
                  <a:pt x="92" y="182"/>
                  <a:pt x="91" y="181"/>
                  <a:pt x="91" y="182"/>
                </a:cubicBezTo>
                <a:cubicBezTo>
                  <a:pt x="90" y="182"/>
                  <a:pt x="90" y="183"/>
                  <a:pt x="89" y="183"/>
                </a:cubicBezTo>
                <a:cubicBezTo>
                  <a:pt x="89" y="183"/>
                  <a:pt x="90" y="182"/>
                  <a:pt x="90" y="183"/>
                </a:cubicBezTo>
                <a:cubicBezTo>
                  <a:pt x="89" y="183"/>
                  <a:pt x="89" y="183"/>
                  <a:pt x="88" y="183"/>
                </a:cubicBezTo>
                <a:cubicBezTo>
                  <a:pt x="87" y="184"/>
                  <a:pt x="88" y="184"/>
                  <a:pt x="88" y="184"/>
                </a:cubicBezTo>
                <a:cubicBezTo>
                  <a:pt x="87" y="184"/>
                  <a:pt x="87" y="186"/>
                  <a:pt x="86" y="186"/>
                </a:cubicBezTo>
                <a:cubicBezTo>
                  <a:pt x="86" y="186"/>
                  <a:pt x="86" y="186"/>
                  <a:pt x="86" y="186"/>
                </a:cubicBezTo>
                <a:cubicBezTo>
                  <a:pt x="86" y="186"/>
                  <a:pt x="86" y="186"/>
                  <a:pt x="85" y="186"/>
                </a:cubicBezTo>
                <a:cubicBezTo>
                  <a:pt x="85" y="186"/>
                  <a:pt x="86" y="186"/>
                  <a:pt x="86" y="186"/>
                </a:cubicBezTo>
                <a:cubicBezTo>
                  <a:pt x="84" y="188"/>
                  <a:pt x="83" y="190"/>
                  <a:pt x="81" y="192"/>
                </a:cubicBezTo>
                <a:cubicBezTo>
                  <a:pt x="81" y="192"/>
                  <a:pt x="81" y="192"/>
                  <a:pt x="81" y="192"/>
                </a:cubicBezTo>
                <a:cubicBezTo>
                  <a:pt x="81" y="193"/>
                  <a:pt x="82" y="192"/>
                  <a:pt x="81" y="193"/>
                </a:cubicBezTo>
                <a:cubicBezTo>
                  <a:pt x="81" y="193"/>
                  <a:pt x="81" y="193"/>
                  <a:pt x="81" y="193"/>
                </a:cubicBezTo>
                <a:cubicBezTo>
                  <a:pt x="80" y="193"/>
                  <a:pt x="80" y="194"/>
                  <a:pt x="80" y="193"/>
                </a:cubicBezTo>
                <a:cubicBezTo>
                  <a:pt x="79" y="193"/>
                  <a:pt x="81" y="192"/>
                  <a:pt x="80" y="192"/>
                </a:cubicBezTo>
                <a:cubicBezTo>
                  <a:pt x="80" y="191"/>
                  <a:pt x="80" y="192"/>
                  <a:pt x="80" y="192"/>
                </a:cubicBezTo>
                <a:cubicBezTo>
                  <a:pt x="79" y="191"/>
                  <a:pt x="80" y="191"/>
                  <a:pt x="81" y="190"/>
                </a:cubicBezTo>
                <a:cubicBezTo>
                  <a:pt x="81" y="191"/>
                  <a:pt x="80" y="191"/>
                  <a:pt x="81" y="191"/>
                </a:cubicBezTo>
                <a:cubicBezTo>
                  <a:pt x="81" y="191"/>
                  <a:pt x="82" y="191"/>
                  <a:pt x="82" y="190"/>
                </a:cubicBezTo>
                <a:cubicBezTo>
                  <a:pt x="82" y="190"/>
                  <a:pt x="81" y="191"/>
                  <a:pt x="81" y="190"/>
                </a:cubicBezTo>
                <a:cubicBezTo>
                  <a:pt x="81" y="189"/>
                  <a:pt x="82" y="190"/>
                  <a:pt x="82" y="190"/>
                </a:cubicBezTo>
                <a:cubicBezTo>
                  <a:pt x="83" y="189"/>
                  <a:pt x="82" y="189"/>
                  <a:pt x="81" y="189"/>
                </a:cubicBezTo>
                <a:cubicBezTo>
                  <a:pt x="81" y="189"/>
                  <a:pt x="81" y="190"/>
                  <a:pt x="81" y="190"/>
                </a:cubicBezTo>
                <a:cubicBezTo>
                  <a:pt x="80" y="190"/>
                  <a:pt x="82" y="188"/>
                  <a:pt x="82" y="188"/>
                </a:cubicBezTo>
                <a:cubicBezTo>
                  <a:pt x="83" y="188"/>
                  <a:pt x="82" y="189"/>
                  <a:pt x="82" y="189"/>
                </a:cubicBezTo>
                <a:cubicBezTo>
                  <a:pt x="83" y="189"/>
                  <a:pt x="83" y="188"/>
                  <a:pt x="83" y="189"/>
                </a:cubicBezTo>
                <a:cubicBezTo>
                  <a:pt x="83" y="188"/>
                  <a:pt x="83" y="188"/>
                  <a:pt x="83" y="187"/>
                </a:cubicBezTo>
                <a:cubicBezTo>
                  <a:pt x="86" y="183"/>
                  <a:pt x="86" y="183"/>
                  <a:pt x="86" y="183"/>
                </a:cubicBezTo>
                <a:cubicBezTo>
                  <a:pt x="86" y="184"/>
                  <a:pt x="86" y="183"/>
                  <a:pt x="87" y="184"/>
                </a:cubicBezTo>
                <a:cubicBezTo>
                  <a:pt x="87" y="183"/>
                  <a:pt x="87" y="183"/>
                  <a:pt x="86" y="183"/>
                </a:cubicBezTo>
                <a:cubicBezTo>
                  <a:pt x="87" y="183"/>
                  <a:pt x="86" y="182"/>
                  <a:pt x="87" y="182"/>
                </a:cubicBezTo>
                <a:cubicBezTo>
                  <a:pt x="87" y="182"/>
                  <a:pt x="87" y="182"/>
                  <a:pt x="87" y="183"/>
                </a:cubicBezTo>
                <a:cubicBezTo>
                  <a:pt x="88" y="182"/>
                  <a:pt x="87" y="182"/>
                  <a:pt x="87" y="182"/>
                </a:cubicBezTo>
                <a:cubicBezTo>
                  <a:pt x="89" y="179"/>
                  <a:pt x="92" y="175"/>
                  <a:pt x="95" y="172"/>
                </a:cubicBezTo>
                <a:cubicBezTo>
                  <a:pt x="95" y="172"/>
                  <a:pt x="95" y="172"/>
                  <a:pt x="95" y="172"/>
                </a:cubicBezTo>
                <a:cubicBezTo>
                  <a:pt x="95" y="172"/>
                  <a:pt x="95" y="171"/>
                  <a:pt x="95" y="171"/>
                </a:cubicBezTo>
                <a:cubicBezTo>
                  <a:pt x="95" y="170"/>
                  <a:pt x="95" y="171"/>
                  <a:pt x="95" y="171"/>
                </a:cubicBezTo>
                <a:cubicBezTo>
                  <a:pt x="95" y="171"/>
                  <a:pt x="95" y="171"/>
                  <a:pt x="95" y="170"/>
                </a:cubicBezTo>
                <a:cubicBezTo>
                  <a:pt x="94" y="170"/>
                  <a:pt x="94" y="170"/>
                  <a:pt x="94" y="171"/>
                </a:cubicBezTo>
                <a:cubicBezTo>
                  <a:pt x="93" y="170"/>
                  <a:pt x="94" y="169"/>
                  <a:pt x="95" y="169"/>
                </a:cubicBezTo>
                <a:cubicBezTo>
                  <a:pt x="95" y="169"/>
                  <a:pt x="94" y="169"/>
                  <a:pt x="95" y="170"/>
                </a:cubicBezTo>
                <a:cubicBezTo>
                  <a:pt x="95" y="170"/>
                  <a:pt x="95" y="169"/>
                  <a:pt x="95" y="169"/>
                </a:cubicBezTo>
                <a:cubicBezTo>
                  <a:pt x="96" y="170"/>
                  <a:pt x="95" y="170"/>
                  <a:pt x="95" y="170"/>
                </a:cubicBezTo>
                <a:cubicBezTo>
                  <a:pt x="96" y="170"/>
                  <a:pt x="96" y="170"/>
                  <a:pt x="96" y="170"/>
                </a:cubicBezTo>
                <a:cubicBezTo>
                  <a:pt x="96" y="168"/>
                  <a:pt x="103" y="164"/>
                  <a:pt x="102" y="163"/>
                </a:cubicBezTo>
                <a:cubicBezTo>
                  <a:pt x="105" y="161"/>
                  <a:pt x="102" y="163"/>
                  <a:pt x="105" y="161"/>
                </a:cubicBezTo>
                <a:cubicBezTo>
                  <a:pt x="107" y="157"/>
                  <a:pt x="113" y="152"/>
                  <a:pt x="118" y="147"/>
                </a:cubicBezTo>
                <a:cubicBezTo>
                  <a:pt x="116" y="151"/>
                  <a:pt x="121" y="145"/>
                  <a:pt x="123" y="143"/>
                </a:cubicBezTo>
                <a:cubicBezTo>
                  <a:pt x="123" y="143"/>
                  <a:pt x="123" y="143"/>
                  <a:pt x="123" y="143"/>
                </a:cubicBezTo>
                <a:cubicBezTo>
                  <a:pt x="124" y="142"/>
                  <a:pt x="124" y="143"/>
                  <a:pt x="126" y="141"/>
                </a:cubicBezTo>
                <a:cubicBezTo>
                  <a:pt x="124" y="141"/>
                  <a:pt x="130" y="137"/>
                  <a:pt x="128" y="138"/>
                </a:cubicBezTo>
                <a:cubicBezTo>
                  <a:pt x="129" y="136"/>
                  <a:pt x="131" y="136"/>
                  <a:pt x="131" y="136"/>
                </a:cubicBezTo>
                <a:cubicBezTo>
                  <a:pt x="132" y="135"/>
                  <a:pt x="131" y="135"/>
                  <a:pt x="131" y="135"/>
                </a:cubicBezTo>
                <a:cubicBezTo>
                  <a:pt x="133" y="134"/>
                  <a:pt x="133" y="133"/>
                  <a:pt x="136" y="131"/>
                </a:cubicBezTo>
                <a:cubicBezTo>
                  <a:pt x="135" y="132"/>
                  <a:pt x="136" y="132"/>
                  <a:pt x="137" y="131"/>
                </a:cubicBezTo>
                <a:cubicBezTo>
                  <a:pt x="141" y="128"/>
                  <a:pt x="136" y="130"/>
                  <a:pt x="139" y="128"/>
                </a:cubicBezTo>
                <a:cubicBezTo>
                  <a:pt x="138" y="128"/>
                  <a:pt x="136" y="130"/>
                  <a:pt x="135" y="130"/>
                </a:cubicBezTo>
                <a:cubicBezTo>
                  <a:pt x="134" y="131"/>
                  <a:pt x="134" y="132"/>
                  <a:pt x="134" y="132"/>
                </a:cubicBezTo>
                <a:cubicBezTo>
                  <a:pt x="130" y="134"/>
                  <a:pt x="128" y="137"/>
                  <a:pt x="123" y="141"/>
                </a:cubicBezTo>
                <a:cubicBezTo>
                  <a:pt x="122" y="141"/>
                  <a:pt x="121" y="143"/>
                  <a:pt x="122" y="141"/>
                </a:cubicBezTo>
                <a:cubicBezTo>
                  <a:pt x="121" y="142"/>
                  <a:pt x="120" y="143"/>
                  <a:pt x="117" y="145"/>
                </a:cubicBezTo>
                <a:cubicBezTo>
                  <a:pt x="121" y="141"/>
                  <a:pt x="127" y="135"/>
                  <a:pt x="130" y="134"/>
                </a:cubicBezTo>
                <a:cubicBezTo>
                  <a:pt x="131" y="133"/>
                  <a:pt x="130" y="132"/>
                  <a:pt x="131" y="132"/>
                </a:cubicBezTo>
                <a:cubicBezTo>
                  <a:pt x="129" y="133"/>
                  <a:pt x="130" y="133"/>
                  <a:pt x="128" y="135"/>
                </a:cubicBezTo>
                <a:cubicBezTo>
                  <a:pt x="131" y="131"/>
                  <a:pt x="126" y="134"/>
                  <a:pt x="127" y="132"/>
                </a:cubicBezTo>
                <a:cubicBezTo>
                  <a:pt x="125" y="133"/>
                  <a:pt x="125" y="133"/>
                  <a:pt x="125" y="133"/>
                </a:cubicBezTo>
                <a:cubicBezTo>
                  <a:pt x="124" y="134"/>
                  <a:pt x="127" y="133"/>
                  <a:pt x="125" y="135"/>
                </a:cubicBezTo>
                <a:cubicBezTo>
                  <a:pt x="126" y="134"/>
                  <a:pt x="126" y="134"/>
                  <a:pt x="126" y="134"/>
                </a:cubicBezTo>
                <a:cubicBezTo>
                  <a:pt x="113" y="146"/>
                  <a:pt x="113" y="146"/>
                  <a:pt x="113" y="146"/>
                </a:cubicBezTo>
                <a:cubicBezTo>
                  <a:pt x="112" y="146"/>
                  <a:pt x="112" y="146"/>
                  <a:pt x="113" y="145"/>
                </a:cubicBezTo>
                <a:cubicBezTo>
                  <a:pt x="111" y="147"/>
                  <a:pt x="111" y="147"/>
                  <a:pt x="111" y="147"/>
                </a:cubicBezTo>
                <a:cubicBezTo>
                  <a:pt x="111" y="148"/>
                  <a:pt x="112" y="146"/>
                  <a:pt x="113" y="146"/>
                </a:cubicBezTo>
                <a:cubicBezTo>
                  <a:pt x="113" y="147"/>
                  <a:pt x="111" y="147"/>
                  <a:pt x="110" y="148"/>
                </a:cubicBezTo>
                <a:cubicBezTo>
                  <a:pt x="106" y="153"/>
                  <a:pt x="106" y="153"/>
                  <a:pt x="106" y="153"/>
                </a:cubicBezTo>
                <a:cubicBezTo>
                  <a:pt x="106" y="150"/>
                  <a:pt x="103" y="155"/>
                  <a:pt x="100" y="157"/>
                </a:cubicBezTo>
                <a:cubicBezTo>
                  <a:pt x="101" y="156"/>
                  <a:pt x="104" y="154"/>
                  <a:pt x="104" y="152"/>
                </a:cubicBezTo>
                <a:cubicBezTo>
                  <a:pt x="108" y="149"/>
                  <a:pt x="109" y="148"/>
                  <a:pt x="111" y="145"/>
                </a:cubicBezTo>
                <a:cubicBezTo>
                  <a:pt x="110" y="145"/>
                  <a:pt x="109" y="147"/>
                  <a:pt x="108" y="148"/>
                </a:cubicBezTo>
                <a:cubicBezTo>
                  <a:pt x="108" y="145"/>
                  <a:pt x="106" y="148"/>
                  <a:pt x="103" y="152"/>
                </a:cubicBezTo>
                <a:cubicBezTo>
                  <a:pt x="105" y="150"/>
                  <a:pt x="103" y="150"/>
                  <a:pt x="101" y="151"/>
                </a:cubicBezTo>
                <a:cubicBezTo>
                  <a:pt x="103" y="149"/>
                  <a:pt x="103" y="149"/>
                  <a:pt x="104" y="149"/>
                </a:cubicBezTo>
                <a:cubicBezTo>
                  <a:pt x="105" y="148"/>
                  <a:pt x="105" y="147"/>
                  <a:pt x="107" y="145"/>
                </a:cubicBezTo>
                <a:cubicBezTo>
                  <a:pt x="108" y="144"/>
                  <a:pt x="108" y="146"/>
                  <a:pt x="109" y="144"/>
                </a:cubicBezTo>
                <a:cubicBezTo>
                  <a:pt x="111" y="142"/>
                  <a:pt x="109" y="141"/>
                  <a:pt x="113" y="139"/>
                </a:cubicBezTo>
                <a:cubicBezTo>
                  <a:pt x="113" y="139"/>
                  <a:pt x="111" y="141"/>
                  <a:pt x="111" y="141"/>
                </a:cubicBezTo>
                <a:cubicBezTo>
                  <a:pt x="114" y="139"/>
                  <a:pt x="114" y="138"/>
                  <a:pt x="113" y="138"/>
                </a:cubicBezTo>
                <a:cubicBezTo>
                  <a:pt x="115" y="136"/>
                  <a:pt x="115" y="137"/>
                  <a:pt x="115" y="137"/>
                </a:cubicBezTo>
                <a:cubicBezTo>
                  <a:pt x="115" y="136"/>
                  <a:pt x="118" y="134"/>
                  <a:pt x="118" y="133"/>
                </a:cubicBezTo>
                <a:cubicBezTo>
                  <a:pt x="118" y="133"/>
                  <a:pt x="116" y="134"/>
                  <a:pt x="115" y="135"/>
                </a:cubicBezTo>
                <a:cubicBezTo>
                  <a:pt x="116" y="134"/>
                  <a:pt x="116" y="134"/>
                  <a:pt x="117" y="132"/>
                </a:cubicBezTo>
                <a:cubicBezTo>
                  <a:pt x="115" y="134"/>
                  <a:pt x="115" y="134"/>
                  <a:pt x="116" y="132"/>
                </a:cubicBezTo>
                <a:cubicBezTo>
                  <a:pt x="115" y="132"/>
                  <a:pt x="115" y="132"/>
                  <a:pt x="115" y="132"/>
                </a:cubicBezTo>
                <a:cubicBezTo>
                  <a:pt x="114" y="133"/>
                  <a:pt x="113" y="134"/>
                  <a:pt x="112" y="135"/>
                </a:cubicBezTo>
                <a:cubicBezTo>
                  <a:pt x="111" y="136"/>
                  <a:pt x="112" y="134"/>
                  <a:pt x="109" y="137"/>
                </a:cubicBezTo>
                <a:cubicBezTo>
                  <a:pt x="111" y="135"/>
                  <a:pt x="109" y="136"/>
                  <a:pt x="110" y="134"/>
                </a:cubicBezTo>
                <a:cubicBezTo>
                  <a:pt x="112" y="133"/>
                  <a:pt x="110" y="133"/>
                  <a:pt x="111" y="133"/>
                </a:cubicBezTo>
                <a:cubicBezTo>
                  <a:pt x="112" y="131"/>
                  <a:pt x="115" y="128"/>
                  <a:pt x="116" y="127"/>
                </a:cubicBezTo>
                <a:cubicBezTo>
                  <a:pt x="118" y="126"/>
                  <a:pt x="119" y="125"/>
                  <a:pt x="120" y="126"/>
                </a:cubicBezTo>
                <a:cubicBezTo>
                  <a:pt x="121" y="125"/>
                  <a:pt x="121" y="124"/>
                  <a:pt x="121" y="124"/>
                </a:cubicBezTo>
                <a:cubicBezTo>
                  <a:pt x="121" y="124"/>
                  <a:pt x="119" y="125"/>
                  <a:pt x="119" y="124"/>
                </a:cubicBezTo>
                <a:cubicBezTo>
                  <a:pt x="122" y="121"/>
                  <a:pt x="125" y="119"/>
                  <a:pt x="126" y="117"/>
                </a:cubicBezTo>
                <a:cubicBezTo>
                  <a:pt x="127" y="116"/>
                  <a:pt x="127" y="116"/>
                  <a:pt x="128" y="116"/>
                </a:cubicBezTo>
                <a:cubicBezTo>
                  <a:pt x="142" y="104"/>
                  <a:pt x="148" y="99"/>
                  <a:pt x="162" y="88"/>
                </a:cubicBezTo>
                <a:cubicBezTo>
                  <a:pt x="163" y="89"/>
                  <a:pt x="163" y="89"/>
                  <a:pt x="164" y="88"/>
                </a:cubicBezTo>
                <a:cubicBezTo>
                  <a:pt x="166" y="86"/>
                  <a:pt x="163" y="88"/>
                  <a:pt x="163" y="88"/>
                </a:cubicBezTo>
                <a:cubicBezTo>
                  <a:pt x="175" y="79"/>
                  <a:pt x="184" y="73"/>
                  <a:pt x="197" y="65"/>
                </a:cubicBezTo>
                <a:cubicBezTo>
                  <a:pt x="197" y="65"/>
                  <a:pt x="196" y="65"/>
                  <a:pt x="195" y="66"/>
                </a:cubicBezTo>
                <a:cubicBezTo>
                  <a:pt x="196" y="65"/>
                  <a:pt x="197" y="65"/>
                  <a:pt x="199" y="63"/>
                </a:cubicBezTo>
                <a:cubicBezTo>
                  <a:pt x="199" y="64"/>
                  <a:pt x="199" y="64"/>
                  <a:pt x="201" y="63"/>
                </a:cubicBezTo>
                <a:cubicBezTo>
                  <a:pt x="202" y="63"/>
                  <a:pt x="201" y="62"/>
                  <a:pt x="201" y="62"/>
                </a:cubicBezTo>
                <a:cubicBezTo>
                  <a:pt x="203" y="61"/>
                  <a:pt x="203" y="61"/>
                  <a:pt x="203" y="62"/>
                </a:cubicBezTo>
                <a:cubicBezTo>
                  <a:pt x="207" y="60"/>
                  <a:pt x="211" y="58"/>
                  <a:pt x="214" y="56"/>
                </a:cubicBezTo>
                <a:cubicBezTo>
                  <a:pt x="213" y="56"/>
                  <a:pt x="212" y="57"/>
                  <a:pt x="210" y="57"/>
                </a:cubicBezTo>
                <a:cubicBezTo>
                  <a:pt x="214" y="54"/>
                  <a:pt x="214" y="57"/>
                  <a:pt x="222" y="53"/>
                </a:cubicBezTo>
                <a:cubicBezTo>
                  <a:pt x="222" y="52"/>
                  <a:pt x="218" y="54"/>
                  <a:pt x="217" y="54"/>
                </a:cubicBezTo>
                <a:cubicBezTo>
                  <a:pt x="219" y="52"/>
                  <a:pt x="216" y="54"/>
                  <a:pt x="216" y="53"/>
                </a:cubicBezTo>
                <a:cubicBezTo>
                  <a:pt x="215" y="53"/>
                  <a:pt x="214" y="54"/>
                  <a:pt x="214" y="54"/>
                </a:cubicBezTo>
                <a:cubicBezTo>
                  <a:pt x="212" y="54"/>
                  <a:pt x="215" y="53"/>
                  <a:pt x="210" y="56"/>
                </a:cubicBezTo>
                <a:cubicBezTo>
                  <a:pt x="211" y="54"/>
                  <a:pt x="217" y="52"/>
                  <a:pt x="219" y="50"/>
                </a:cubicBezTo>
                <a:cubicBezTo>
                  <a:pt x="220" y="50"/>
                  <a:pt x="219" y="51"/>
                  <a:pt x="221" y="50"/>
                </a:cubicBezTo>
                <a:cubicBezTo>
                  <a:pt x="227" y="46"/>
                  <a:pt x="237" y="41"/>
                  <a:pt x="245" y="39"/>
                </a:cubicBezTo>
                <a:cubicBezTo>
                  <a:pt x="246" y="40"/>
                  <a:pt x="242" y="40"/>
                  <a:pt x="241" y="41"/>
                </a:cubicBezTo>
                <a:cubicBezTo>
                  <a:pt x="242" y="41"/>
                  <a:pt x="244" y="40"/>
                  <a:pt x="245" y="40"/>
                </a:cubicBezTo>
                <a:cubicBezTo>
                  <a:pt x="247" y="39"/>
                  <a:pt x="249" y="39"/>
                  <a:pt x="254" y="37"/>
                </a:cubicBezTo>
                <a:cubicBezTo>
                  <a:pt x="252" y="37"/>
                  <a:pt x="247" y="38"/>
                  <a:pt x="253" y="36"/>
                </a:cubicBezTo>
                <a:cubicBezTo>
                  <a:pt x="252" y="36"/>
                  <a:pt x="250" y="37"/>
                  <a:pt x="251" y="36"/>
                </a:cubicBezTo>
                <a:cubicBezTo>
                  <a:pt x="252" y="36"/>
                  <a:pt x="254" y="35"/>
                  <a:pt x="255" y="35"/>
                </a:cubicBezTo>
                <a:cubicBezTo>
                  <a:pt x="257" y="35"/>
                  <a:pt x="255" y="34"/>
                  <a:pt x="258" y="33"/>
                </a:cubicBezTo>
                <a:cubicBezTo>
                  <a:pt x="259" y="34"/>
                  <a:pt x="259" y="34"/>
                  <a:pt x="259" y="34"/>
                </a:cubicBezTo>
                <a:cubicBezTo>
                  <a:pt x="263" y="32"/>
                  <a:pt x="265" y="32"/>
                  <a:pt x="267" y="31"/>
                </a:cubicBezTo>
                <a:cubicBezTo>
                  <a:pt x="273" y="28"/>
                  <a:pt x="273" y="30"/>
                  <a:pt x="279" y="27"/>
                </a:cubicBezTo>
                <a:cubicBezTo>
                  <a:pt x="280" y="27"/>
                  <a:pt x="279" y="27"/>
                  <a:pt x="279" y="28"/>
                </a:cubicBezTo>
                <a:cubicBezTo>
                  <a:pt x="282" y="27"/>
                  <a:pt x="285" y="26"/>
                  <a:pt x="285" y="25"/>
                </a:cubicBezTo>
                <a:cubicBezTo>
                  <a:pt x="288" y="26"/>
                  <a:pt x="294" y="23"/>
                  <a:pt x="301" y="22"/>
                </a:cubicBezTo>
                <a:cubicBezTo>
                  <a:pt x="301" y="21"/>
                  <a:pt x="301" y="21"/>
                  <a:pt x="301" y="21"/>
                </a:cubicBezTo>
                <a:cubicBezTo>
                  <a:pt x="301" y="21"/>
                  <a:pt x="297" y="22"/>
                  <a:pt x="296" y="22"/>
                </a:cubicBezTo>
                <a:cubicBezTo>
                  <a:pt x="298" y="21"/>
                  <a:pt x="297" y="22"/>
                  <a:pt x="298" y="21"/>
                </a:cubicBezTo>
                <a:cubicBezTo>
                  <a:pt x="301" y="20"/>
                  <a:pt x="301" y="20"/>
                  <a:pt x="301" y="20"/>
                </a:cubicBezTo>
                <a:cubicBezTo>
                  <a:pt x="301" y="20"/>
                  <a:pt x="297" y="21"/>
                  <a:pt x="297" y="21"/>
                </a:cubicBezTo>
                <a:cubicBezTo>
                  <a:pt x="300" y="19"/>
                  <a:pt x="301" y="19"/>
                  <a:pt x="305" y="18"/>
                </a:cubicBezTo>
                <a:cubicBezTo>
                  <a:pt x="305" y="19"/>
                  <a:pt x="307" y="18"/>
                  <a:pt x="306" y="19"/>
                </a:cubicBezTo>
                <a:cubicBezTo>
                  <a:pt x="308" y="18"/>
                  <a:pt x="309" y="17"/>
                  <a:pt x="309" y="18"/>
                </a:cubicBezTo>
                <a:cubicBezTo>
                  <a:pt x="316" y="16"/>
                  <a:pt x="316" y="16"/>
                  <a:pt x="322" y="15"/>
                </a:cubicBezTo>
                <a:cubicBezTo>
                  <a:pt x="325" y="15"/>
                  <a:pt x="325" y="14"/>
                  <a:pt x="327" y="13"/>
                </a:cubicBezTo>
                <a:cubicBezTo>
                  <a:pt x="329" y="12"/>
                  <a:pt x="329" y="13"/>
                  <a:pt x="330" y="13"/>
                </a:cubicBezTo>
                <a:cubicBezTo>
                  <a:pt x="332" y="13"/>
                  <a:pt x="332" y="12"/>
                  <a:pt x="334" y="12"/>
                </a:cubicBezTo>
                <a:cubicBezTo>
                  <a:pt x="336" y="12"/>
                  <a:pt x="338" y="11"/>
                  <a:pt x="338" y="12"/>
                </a:cubicBezTo>
                <a:cubicBezTo>
                  <a:pt x="337" y="12"/>
                  <a:pt x="338" y="12"/>
                  <a:pt x="337" y="12"/>
                </a:cubicBezTo>
                <a:cubicBezTo>
                  <a:pt x="337" y="12"/>
                  <a:pt x="336" y="12"/>
                  <a:pt x="336" y="12"/>
                </a:cubicBezTo>
                <a:cubicBezTo>
                  <a:pt x="336" y="13"/>
                  <a:pt x="340" y="11"/>
                  <a:pt x="341" y="12"/>
                </a:cubicBezTo>
                <a:cubicBezTo>
                  <a:pt x="343" y="12"/>
                  <a:pt x="337" y="12"/>
                  <a:pt x="340" y="11"/>
                </a:cubicBezTo>
                <a:cubicBezTo>
                  <a:pt x="342" y="11"/>
                  <a:pt x="342" y="11"/>
                  <a:pt x="342" y="11"/>
                </a:cubicBezTo>
                <a:cubicBezTo>
                  <a:pt x="344" y="11"/>
                  <a:pt x="344" y="11"/>
                  <a:pt x="345" y="11"/>
                </a:cubicBezTo>
                <a:cubicBezTo>
                  <a:pt x="346" y="10"/>
                  <a:pt x="340" y="11"/>
                  <a:pt x="342" y="10"/>
                </a:cubicBezTo>
                <a:cubicBezTo>
                  <a:pt x="347" y="10"/>
                  <a:pt x="347" y="10"/>
                  <a:pt x="347" y="10"/>
                </a:cubicBezTo>
                <a:cubicBezTo>
                  <a:pt x="347" y="9"/>
                  <a:pt x="347" y="9"/>
                  <a:pt x="345" y="9"/>
                </a:cubicBezTo>
                <a:cubicBezTo>
                  <a:pt x="349" y="8"/>
                  <a:pt x="350" y="10"/>
                  <a:pt x="354" y="10"/>
                </a:cubicBezTo>
                <a:cubicBezTo>
                  <a:pt x="356" y="10"/>
                  <a:pt x="358" y="9"/>
                  <a:pt x="360" y="9"/>
                </a:cubicBezTo>
                <a:cubicBezTo>
                  <a:pt x="361" y="9"/>
                  <a:pt x="359" y="9"/>
                  <a:pt x="361" y="9"/>
                </a:cubicBezTo>
                <a:cubicBezTo>
                  <a:pt x="360" y="9"/>
                  <a:pt x="359" y="9"/>
                  <a:pt x="358" y="9"/>
                </a:cubicBezTo>
                <a:cubicBezTo>
                  <a:pt x="355" y="8"/>
                  <a:pt x="363" y="8"/>
                  <a:pt x="360" y="8"/>
                </a:cubicBezTo>
                <a:cubicBezTo>
                  <a:pt x="361" y="7"/>
                  <a:pt x="362" y="9"/>
                  <a:pt x="364" y="8"/>
                </a:cubicBezTo>
                <a:cubicBezTo>
                  <a:pt x="367" y="8"/>
                  <a:pt x="362" y="8"/>
                  <a:pt x="363" y="7"/>
                </a:cubicBezTo>
                <a:cubicBezTo>
                  <a:pt x="364" y="7"/>
                  <a:pt x="365" y="7"/>
                  <a:pt x="365" y="7"/>
                </a:cubicBezTo>
                <a:cubicBezTo>
                  <a:pt x="366" y="7"/>
                  <a:pt x="367" y="8"/>
                  <a:pt x="367" y="8"/>
                </a:cubicBezTo>
                <a:cubicBezTo>
                  <a:pt x="367" y="9"/>
                  <a:pt x="370" y="8"/>
                  <a:pt x="371" y="9"/>
                </a:cubicBezTo>
                <a:cubicBezTo>
                  <a:pt x="374" y="8"/>
                  <a:pt x="371" y="8"/>
                  <a:pt x="372" y="8"/>
                </a:cubicBezTo>
                <a:cubicBezTo>
                  <a:pt x="372" y="7"/>
                  <a:pt x="371" y="8"/>
                  <a:pt x="371" y="8"/>
                </a:cubicBezTo>
                <a:cubicBezTo>
                  <a:pt x="371" y="7"/>
                  <a:pt x="379" y="9"/>
                  <a:pt x="381" y="7"/>
                </a:cubicBezTo>
                <a:cubicBezTo>
                  <a:pt x="384" y="7"/>
                  <a:pt x="386" y="8"/>
                  <a:pt x="390" y="7"/>
                </a:cubicBezTo>
                <a:cubicBezTo>
                  <a:pt x="390" y="7"/>
                  <a:pt x="389" y="7"/>
                  <a:pt x="390" y="7"/>
                </a:cubicBezTo>
                <a:cubicBezTo>
                  <a:pt x="387" y="6"/>
                  <a:pt x="389" y="6"/>
                  <a:pt x="386" y="5"/>
                </a:cubicBezTo>
                <a:cubicBezTo>
                  <a:pt x="388" y="6"/>
                  <a:pt x="389" y="7"/>
                  <a:pt x="391" y="6"/>
                </a:cubicBezTo>
                <a:cubicBezTo>
                  <a:pt x="392" y="6"/>
                  <a:pt x="392" y="7"/>
                  <a:pt x="394" y="7"/>
                </a:cubicBezTo>
                <a:cubicBezTo>
                  <a:pt x="395" y="7"/>
                  <a:pt x="395" y="6"/>
                  <a:pt x="395" y="6"/>
                </a:cubicBezTo>
                <a:cubicBezTo>
                  <a:pt x="396" y="6"/>
                  <a:pt x="399" y="6"/>
                  <a:pt x="397" y="6"/>
                </a:cubicBezTo>
                <a:cubicBezTo>
                  <a:pt x="401" y="5"/>
                  <a:pt x="402" y="7"/>
                  <a:pt x="401" y="7"/>
                </a:cubicBezTo>
                <a:cubicBezTo>
                  <a:pt x="408" y="7"/>
                  <a:pt x="400" y="5"/>
                  <a:pt x="400" y="4"/>
                </a:cubicBezTo>
                <a:cubicBezTo>
                  <a:pt x="402" y="5"/>
                  <a:pt x="404" y="4"/>
                  <a:pt x="401" y="4"/>
                </a:cubicBezTo>
                <a:cubicBezTo>
                  <a:pt x="406" y="3"/>
                  <a:pt x="402" y="5"/>
                  <a:pt x="407" y="5"/>
                </a:cubicBezTo>
                <a:cubicBezTo>
                  <a:pt x="411" y="4"/>
                  <a:pt x="406" y="3"/>
                  <a:pt x="410" y="3"/>
                </a:cubicBezTo>
                <a:cubicBezTo>
                  <a:pt x="408" y="2"/>
                  <a:pt x="400" y="3"/>
                  <a:pt x="399" y="2"/>
                </a:cubicBezTo>
                <a:cubicBezTo>
                  <a:pt x="400" y="1"/>
                  <a:pt x="404" y="2"/>
                  <a:pt x="404" y="2"/>
                </a:cubicBezTo>
                <a:cubicBezTo>
                  <a:pt x="407" y="2"/>
                  <a:pt x="407" y="1"/>
                  <a:pt x="412" y="2"/>
                </a:cubicBezTo>
                <a:cubicBezTo>
                  <a:pt x="411" y="2"/>
                  <a:pt x="413" y="2"/>
                  <a:pt x="412" y="3"/>
                </a:cubicBezTo>
                <a:cubicBezTo>
                  <a:pt x="415" y="3"/>
                  <a:pt x="415" y="1"/>
                  <a:pt x="419" y="1"/>
                </a:cubicBezTo>
                <a:cubicBezTo>
                  <a:pt x="417" y="2"/>
                  <a:pt x="416" y="2"/>
                  <a:pt x="421" y="2"/>
                </a:cubicBezTo>
                <a:cubicBezTo>
                  <a:pt x="420" y="3"/>
                  <a:pt x="417" y="3"/>
                  <a:pt x="417" y="2"/>
                </a:cubicBezTo>
                <a:cubicBezTo>
                  <a:pt x="416" y="2"/>
                  <a:pt x="416" y="3"/>
                  <a:pt x="415" y="3"/>
                </a:cubicBezTo>
                <a:cubicBezTo>
                  <a:pt x="414" y="3"/>
                  <a:pt x="417" y="3"/>
                  <a:pt x="417" y="4"/>
                </a:cubicBezTo>
                <a:cubicBezTo>
                  <a:pt x="419" y="4"/>
                  <a:pt x="418" y="3"/>
                  <a:pt x="416" y="3"/>
                </a:cubicBezTo>
                <a:cubicBezTo>
                  <a:pt x="417" y="3"/>
                  <a:pt x="421" y="3"/>
                  <a:pt x="421" y="4"/>
                </a:cubicBezTo>
                <a:cubicBezTo>
                  <a:pt x="418" y="4"/>
                  <a:pt x="427" y="5"/>
                  <a:pt x="424" y="5"/>
                </a:cubicBezTo>
                <a:cubicBezTo>
                  <a:pt x="427" y="5"/>
                  <a:pt x="427" y="6"/>
                  <a:pt x="430" y="6"/>
                </a:cubicBezTo>
                <a:cubicBezTo>
                  <a:pt x="426" y="5"/>
                  <a:pt x="427" y="5"/>
                  <a:pt x="425" y="4"/>
                </a:cubicBezTo>
                <a:cubicBezTo>
                  <a:pt x="426" y="4"/>
                  <a:pt x="428" y="4"/>
                  <a:pt x="430" y="4"/>
                </a:cubicBezTo>
                <a:cubicBezTo>
                  <a:pt x="427" y="4"/>
                  <a:pt x="430" y="4"/>
                  <a:pt x="428" y="4"/>
                </a:cubicBezTo>
                <a:cubicBezTo>
                  <a:pt x="429" y="5"/>
                  <a:pt x="432" y="5"/>
                  <a:pt x="433" y="5"/>
                </a:cubicBezTo>
                <a:cubicBezTo>
                  <a:pt x="434" y="5"/>
                  <a:pt x="431" y="5"/>
                  <a:pt x="431" y="4"/>
                </a:cubicBezTo>
                <a:cubicBezTo>
                  <a:pt x="432" y="4"/>
                  <a:pt x="438" y="5"/>
                  <a:pt x="438" y="5"/>
                </a:cubicBezTo>
                <a:cubicBezTo>
                  <a:pt x="442" y="6"/>
                  <a:pt x="445" y="6"/>
                  <a:pt x="453" y="7"/>
                </a:cubicBezTo>
                <a:cubicBezTo>
                  <a:pt x="453" y="7"/>
                  <a:pt x="452" y="7"/>
                  <a:pt x="451" y="7"/>
                </a:cubicBezTo>
                <a:cubicBezTo>
                  <a:pt x="451" y="7"/>
                  <a:pt x="453" y="7"/>
                  <a:pt x="453" y="7"/>
                </a:cubicBezTo>
                <a:cubicBezTo>
                  <a:pt x="452" y="8"/>
                  <a:pt x="450" y="7"/>
                  <a:pt x="447" y="6"/>
                </a:cubicBezTo>
                <a:cubicBezTo>
                  <a:pt x="447" y="7"/>
                  <a:pt x="447" y="7"/>
                  <a:pt x="447" y="7"/>
                </a:cubicBezTo>
                <a:cubicBezTo>
                  <a:pt x="448" y="7"/>
                  <a:pt x="453" y="8"/>
                  <a:pt x="453" y="9"/>
                </a:cubicBezTo>
                <a:cubicBezTo>
                  <a:pt x="454" y="8"/>
                  <a:pt x="456" y="7"/>
                  <a:pt x="453" y="6"/>
                </a:cubicBezTo>
                <a:cubicBezTo>
                  <a:pt x="454" y="6"/>
                  <a:pt x="457" y="7"/>
                  <a:pt x="455" y="6"/>
                </a:cubicBezTo>
                <a:cubicBezTo>
                  <a:pt x="456" y="6"/>
                  <a:pt x="458" y="7"/>
                  <a:pt x="460" y="7"/>
                </a:cubicBezTo>
                <a:cubicBezTo>
                  <a:pt x="460" y="7"/>
                  <a:pt x="459" y="7"/>
                  <a:pt x="458" y="6"/>
                </a:cubicBezTo>
                <a:cubicBezTo>
                  <a:pt x="460" y="6"/>
                  <a:pt x="465" y="7"/>
                  <a:pt x="465" y="6"/>
                </a:cubicBezTo>
                <a:cubicBezTo>
                  <a:pt x="466" y="7"/>
                  <a:pt x="466" y="7"/>
                  <a:pt x="465" y="7"/>
                </a:cubicBezTo>
                <a:cubicBezTo>
                  <a:pt x="466" y="7"/>
                  <a:pt x="469" y="8"/>
                  <a:pt x="468" y="8"/>
                </a:cubicBezTo>
                <a:cubicBezTo>
                  <a:pt x="466" y="8"/>
                  <a:pt x="466" y="8"/>
                  <a:pt x="463" y="7"/>
                </a:cubicBezTo>
                <a:cubicBezTo>
                  <a:pt x="463" y="8"/>
                  <a:pt x="464" y="8"/>
                  <a:pt x="464" y="8"/>
                </a:cubicBezTo>
                <a:cubicBezTo>
                  <a:pt x="468" y="9"/>
                  <a:pt x="467" y="8"/>
                  <a:pt x="470" y="9"/>
                </a:cubicBezTo>
                <a:cubicBezTo>
                  <a:pt x="470" y="8"/>
                  <a:pt x="473" y="8"/>
                  <a:pt x="477" y="9"/>
                </a:cubicBezTo>
                <a:cubicBezTo>
                  <a:pt x="476" y="10"/>
                  <a:pt x="474" y="9"/>
                  <a:pt x="471" y="9"/>
                </a:cubicBezTo>
                <a:cubicBezTo>
                  <a:pt x="472" y="9"/>
                  <a:pt x="472" y="10"/>
                  <a:pt x="472" y="10"/>
                </a:cubicBezTo>
                <a:cubicBezTo>
                  <a:pt x="473" y="10"/>
                  <a:pt x="475" y="10"/>
                  <a:pt x="476" y="10"/>
                </a:cubicBezTo>
                <a:cubicBezTo>
                  <a:pt x="478" y="10"/>
                  <a:pt x="478" y="11"/>
                  <a:pt x="478" y="11"/>
                </a:cubicBezTo>
                <a:cubicBezTo>
                  <a:pt x="479" y="11"/>
                  <a:pt x="481" y="11"/>
                  <a:pt x="483" y="12"/>
                </a:cubicBezTo>
                <a:cubicBezTo>
                  <a:pt x="483" y="11"/>
                  <a:pt x="484" y="11"/>
                  <a:pt x="482" y="11"/>
                </a:cubicBezTo>
                <a:cubicBezTo>
                  <a:pt x="483" y="10"/>
                  <a:pt x="485" y="11"/>
                  <a:pt x="484" y="12"/>
                </a:cubicBezTo>
                <a:cubicBezTo>
                  <a:pt x="485" y="12"/>
                  <a:pt x="486" y="11"/>
                  <a:pt x="487" y="12"/>
                </a:cubicBezTo>
                <a:cubicBezTo>
                  <a:pt x="487" y="12"/>
                  <a:pt x="485" y="10"/>
                  <a:pt x="490" y="11"/>
                </a:cubicBezTo>
                <a:cubicBezTo>
                  <a:pt x="490" y="10"/>
                  <a:pt x="485" y="10"/>
                  <a:pt x="484" y="9"/>
                </a:cubicBezTo>
                <a:cubicBezTo>
                  <a:pt x="482" y="9"/>
                  <a:pt x="481" y="9"/>
                  <a:pt x="482" y="9"/>
                </a:cubicBezTo>
                <a:cubicBezTo>
                  <a:pt x="480" y="9"/>
                  <a:pt x="481" y="9"/>
                  <a:pt x="478" y="8"/>
                </a:cubicBezTo>
                <a:cubicBezTo>
                  <a:pt x="478" y="8"/>
                  <a:pt x="482" y="9"/>
                  <a:pt x="481" y="7"/>
                </a:cubicBezTo>
                <a:cubicBezTo>
                  <a:pt x="484" y="8"/>
                  <a:pt x="482" y="8"/>
                  <a:pt x="482" y="8"/>
                </a:cubicBezTo>
                <a:cubicBezTo>
                  <a:pt x="486" y="9"/>
                  <a:pt x="486" y="9"/>
                  <a:pt x="489" y="9"/>
                </a:cubicBezTo>
                <a:cubicBezTo>
                  <a:pt x="489" y="9"/>
                  <a:pt x="487" y="9"/>
                  <a:pt x="487" y="8"/>
                </a:cubicBezTo>
                <a:cubicBezTo>
                  <a:pt x="491" y="9"/>
                  <a:pt x="493" y="10"/>
                  <a:pt x="496" y="11"/>
                </a:cubicBezTo>
                <a:cubicBezTo>
                  <a:pt x="495" y="11"/>
                  <a:pt x="495" y="10"/>
                  <a:pt x="495" y="11"/>
                </a:cubicBezTo>
                <a:cubicBezTo>
                  <a:pt x="496" y="11"/>
                  <a:pt x="499" y="12"/>
                  <a:pt x="499" y="11"/>
                </a:cubicBezTo>
                <a:cubicBezTo>
                  <a:pt x="500" y="12"/>
                  <a:pt x="500" y="12"/>
                  <a:pt x="501" y="13"/>
                </a:cubicBezTo>
                <a:cubicBezTo>
                  <a:pt x="505" y="13"/>
                  <a:pt x="510" y="15"/>
                  <a:pt x="512" y="16"/>
                </a:cubicBezTo>
                <a:cubicBezTo>
                  <a:pt x="514" y="17"/>
                  <a:pt x="512" y="15"/>
                  <a:pt x="510" y="14"/>
                </a:cubicBezTo>
                <a:cubicBezTo>
                  <a:pt x="510" y="14"/>
                  <a:pt x="516" y="16"/>
                  <a:pt x="514" y="16"/>
                </a:cubicBezTo>
                <a:cubicBezTo>
                  <a:pt x="516" y="17"/>
                  <a:pt x="519" y="18"/>
                  <a:pt x="520" y="18"/>
                </a:cubicBezTo>
                <a:cubicBezTo>
                  <a:pt x="519" y="17"/>
                  <a:pt x="518" y="17"/>
                  <a:pt x="517" y="17"/>
                </a:cubicBezTo>
                <a:cubicBezTo>
                  <a:pt x="520" y="17"/>
                  <a:pt x="527" y="19"/>
                  <a:pt x="532" y="21"/>
                </a:cubicBezTo>
                <a:cubicBezTo>
                  <a:pt x="529" y="19"/>
                  <a:pt x="537" y="22"/>
                  <a:pt x="537" y="22"/>
                </a:cubicBezTo>
                <a:cubicBezTo>
                  <a:pt x="539" y="22"/>
                  <a:pt x="538" y="23"/>
                  <a:pt x="540" y="23"/>
                </a:cubicBezTo>
                <a:cubicBezTo>
                  <a:pt x="539" y="23"/>
                  <a:pt x="538" y="23"/>
                  <a:pt x="536" y="22"/>
                </a:cubicBezTo>
                <a:cubicBezTo>
                  <a:pt x="536" y="23"/>
                  <a:pt x="543" y="25"/>
                  <a:pt x="545" y="25"/>
                </a:cubicBezTo>
                <a:cubicBezTo>
                  <a:pt x="545" y="25"/>
                  <a:pt x="542" y="25"/>
                  <a:pt x="540" y="24"/>
                </a:cubicBezTo>
                <a:cubicBezTo>
                  <a:pt x="543" y="24"/>
                  <a:pt x="547" y="25"/>
                  <a:pt x="551" y="27"/>
                </a:cubicBezTo>
                <a:cubicBezTo>
                  <a:pt x="551" y="27"/>
                  <a:pt x="550" y="27"/>
                  <a:pt x="552" y="28"/>
                </a:cubicBezTo>
                <a:cubicBezTo>
                  <a:pt x="551" y="28"/>
                  <a:pt x="549" y="26"/>
                  <a:pt x="549" y="27"/>
                </a:cubicBezTo>
                <a:cubicBezTo>
                  <a:pt x="550" y="28"/>
                  <a:pt x="552" y="28"/>
                  <a:pt x="552" y="29"/>
                </a:cubicBezTo>
                <a:cubicBezTo>
                  <a:pt x="554" y="30"/>
                  <a:pt x="550" y="28"/>
                  <a:pt x="551" y="29"/>
                </a:cubicBezTo>
                <a:cubicBezTo>
                  <a:pt x="555" y="29"/>
                  <a:pt x="555" y="30"/>
                  <a:pt x="558" y="30"/>
                </a:cubicBezTo>
                <a:cubicBezTo>
                  <a:pt x="562" y="32"/>
                  <a:pt x="569" y="34"/>
                  <a:pt x="569" y="35"/>
                </a:cubicBezTo>
                <a:cubicBezTo>
                  <a:pt x="571" y="36"/>
                  <a:pt x="570" y="35"/>
                  <a:pt x="571" y="35"/>
                </a:cubicBezTo>
                <a:cubicBezTo>
                  <a:pt x="572" y="36"/>
                  <a:pt x="575" y="37"/>
                  <a:pt x="573" y="37"/>
                </a:cubicBezTo>
                <a:cubicBezTo>
                  <a:pt x="575" y="38"/>
                  <a:pt x="575" y="38"/>
                  <a:pt x="577" y="39"/>
                </a:cubicBezTo>
                <a:cubicBezTo>
                  <a:pt x="577" y="39"/>
                  <a:pt x="575" y="39"/>
                  <a:pt x="576" y="39"/>
                </a:cubicBezTo>
                <a:cubicBezTo>
                  <a:pt x="578" y="40"/>
                  <a:pt x="578" y="39"/>
                  <a:pt x="579" y="39"/>
                </a:cubicBezTo>
                <a:cubicBezTo>
                  <a:pt x="579" y="38"/>
                  <a:pt x="576" y="38"/>
                  <a:pt x="576" y="38"/>
                </a:cubicBezTo>
                <a:cubicBezTo>
                  <a:pt x="576" y="37"/>
                  <a:pt x="580" y="39"/>
                  <a:pt x="579" y="39"/>
                </a:cubicBezTo>
                <a:cubicBezTo>
                  <a:pt x="581" y="40"/>
                  <a:pt x="581" y="40"/>
                  <a:pt x="583" y="40"/>
                </a:cubicBezTo>
                <a:cubicBezTo>
                  <a:pt x="586" y="42"/>
                  <a:pt x="586" y="42"/>
                  <a:pt x="589" y="44"/>
                </a:cubicBezTo>
                <a:cubicBezTo>
                  <a:pt x="587" y="43"/>
                  <a:pt x="587" y="42"/>
                  <a:pt x="586" y="42"/>
                </a:cubicBezTo>
                <a:cubicBezTo>
                  <a:pt x="585" y="40"/>
                  <a:pt x="593" y="44"/>
                  <a:pt x="594" y="45"/>
                </a:cubicBezTo>
                <a:cubicBezTo>
                  <a:pt x="594" y="45"/>
                  <a:pt x="591" y="43"/>
                  <a:pt x="590" y="43"/>
                </a:cubicBezTo>
                <a:cubicBezTo>
                  <a:pt x="592" y="45"/>
                  <a:pt x="596" y="46"/>
                  <a:pt x="598" y="48"/>
                </a:cubicBezTo>
                <a:cubicBezTo>
                  <a:pt x="600" y="49"/>
                  <a:pt x="597" y="46"/>
                  <a:pt x="599" y="47"/>
                </a:cubicBezTo>
                <a:cubicBezTo>
                  <a:pt x="600" y="48"/>
                  <a:pt x="601" y="49"/>
                  <a:pt x="603" y="50"/>
                </a:cubicBezTo>
                <a:cubicBezTo>
                  <a:pt x="603" y="50"/>
                  <a:pt x="606" y="52"/>
                  <a:pt x="606" y="51"/>
                </a:cubicBezTo>
                <a:cubicBezTo>
                  <a:pt x="612" y="54"/>
                  <a:pt x="615" y="56"/>
                  <a:pt x="620" y="59"/>
                </a:cubicBezTo>
                <a:cubicBezTo>
                  <a:pt x="619" y="58"/>
                  <a:pt x="619" y="59"/>
                  <a:pt x="619" y="59"/>
                </a:cubicBezTo>
                <a:cubicBezTo>
                  <a:pt x="624" y="60"/>
                  <a:pt x="634" y="67"/>
                  <a:pt x="640" y="71"/>
                </a:cubicBezTo>
                <a:cubicBezTo>
                  <a:pt x="642" y="72"/>
                  <a:pt x="641" y="71"/>
                  <a:pt x="643" y="73"/>
                </a:cubicBezTo>
                <a:cubicBezTo>
                  <a:pt x="643" y="73"/>
                  <a:pt x="643" y="73"/>
                  <a:pt x="644" y="73"/>
                </a:cubicBezTo>
                <a:cubicBezTo>
                  <a:pt x="644" y="73"/>
                  <a:pt x="643" y="72"/>
                  <a:pt x="642" y="72"/>
                </a:cubicBezTo>
                <a:cubicBezTo>
                  <a:pt x="645" y="73"/>
                  <a:pt x="651" y="78"/>
                  <a:pt x="653" y="78"/>
                </a:cubicBezTo>
                <a:cubicBezTo>
                  <a:pt x="655" y="80"/>
                  <a:pt x="658" y="83"/>
                  <a:pt x="661" y="84"/>
                </a:cubicBezTo>
                <a:cubicBezTo>
                  <a:pt x="665" y="87"/>
                  <a:pt x="675" y="94"/>
                  <a:pt x="680" y="98"/>
                </a:cubicBezTo>
                <a:cubicBezTo>
                  <a:pt x="680" y="98"/>
                  <a:pt x="679" y="97"/>
                  <a:pt x="679" y="98"/>
                </a:cubicBezTo>
                <a:cubicBezTo>
                  <a:pt x="681" y="99"/>
                  <a:pt x="682" y="100"/>
                  <a:pt x="684" y="102"/>
                </a:cubicBezTo>
                <a:cubicBezTo>
                  <a:pt x="685" y="102"/>
                  <a:pt x="683" y="101"/>
                  <a:pt x="684" y="101"/>
                </a:cubicBezTo>
                <a:cubicBezTo>
                  <a:pt x="688" y="104"/>
                  <a:pt x="693" y="109"/>
                  <a:pt x="699" y="114"/>
                </a:cubicBezTo>
                <a:cubicBezTo>
                  <a:pt x="698" y="114"/>
                  <a:pt x="698" y="114"/>
                  <a:pt x="699" y="115"/>
                </a:cubicBezTo>
                <a:cubicBezTo>
                  <a:pt x="701" y="117"/>
                  <a:pt x="702" y="118"/>
                  <a:pt x="703" y="118"/>
                </a:cubicBezTo>
                <a:cubicBezTo>
                  <a:pt x="705" y="120"/>
                  <a:pt x="704" y="119"/>
                  <a:pt x="705" y="120"/>
                </a:cubicBezTo>
                <a:cubicBezTo>
                  <a:pt x="707" y="122"/>
                  <a:pt x="704" y="119"/>
                  <a:pt x="705" y="119"/>
                </a:cubicBezTo>
                <a:cubicBezTo>
                  <a:pt x="707" y="121"/>
                  <a:pt x="707" y="121"/>
                  <a:pt x="709" y="123"/>
                </a:cubicBezTo>
                <a:cubicBezTo>
                  <a:pt x="705" y="121"/>
                  <a:pt x="715" y="129"/>
                  <a:pt x="718" y="132"/>
                </a:cubicBezTo>
                <a:cubicBezTo>
                  <a:pt x="716" y="131"/>
                  <a:pt x="717" y="131"/>
                  <a:pt x="716" y="129"/>
                </a:cubicBezTo>
                <a:cubicBezTo>
                  <a:pt x="716" y="129"/>
                  <a:pt x="717" y="130"/>
                  <a:pt x="717" y="130"/>
                </a:cubicBezTo>
                <a:cubicBezTo>
                  <a:pt x="722" y="135"/>
                  <a:pt x="722" y="134"/>
                  <a:pt x="723" y="137"/>
                </a:cubicBezTo>
                <a:cubicBezTo>
                  <a:pt x="724" y="138"/>
                  <a:pt x="723" y="136"/>
                  <a:pt x="724" y="136"/>
                </a:cubicBezTo>
                <a:cubicBezTo>
                  <a:pt x="727" y="139"/>
                  <a:pt x="727" y="140"/>
                  <a:pt x="728" y="141"/>
                </a:cubicBezTo>
                <a:cubicBezTo>
                  <a:pt x="729" y="142"/>
                  <a:pt x="732" y="144"/>
                  <a:pt x="732" y="145"/>
                </a:cubicBezTo>
                <a:cubicBezTo>
                  <a:pt x="732" y="146"/>
                  <a:pt x="735" y="148"/>
                  <a:pt x="734" y="148"/>
                </a:cubicBezTo>
                <a:cubicBezTo>
                  <a:pt x="736" y="149"/>
                  <a:pt x="736" y="149"/>
                  <a:pt x="737" y="150"/>
                </a:cubicBezTo>
                <a:cubicBezTo>
                  <a:pt x="738" y="150"/>
                  <a:pt x="735" y="148"/>
                  <a:pt x="734" y="147"/>
                </a:cubicBezTo>
                <a:cubicBezTo>
                  <a:pt x="736" y="147"/>
                  <a:pt x="734" y="144"/>
                  <a:pt x="736" y="144"/>
                </a:cubicBezTo>
                <a:cubicBezTo>
                  <a:pt x="739" y="150"/>
                  <a:pt x="741" y="155"/>
                  <a:pt x="745" y="161"/>
                </a:cubicBezTo>
                <a:cubicBezTo>
                  <a:pt x="747" y="163"/>
                  <a:pt x="742" y="157"/>
                  <a:pt x="747" y="162"/>
                </a:cubicBezTo>
                <a:cubicBezTo>
                  <a:pt x="747" y="161"/>
                  <a:pt x="745" y="159"/>
                  <a:pt x="746" y="160"/>
                </a:cubicBezTo>
                <a:cubicBezTo>
                  <a:pt x="744" y="157"/>
                  <a:pt x="744" y="158"/>
                  <a:pt x="743" y="156"/>
                </a:cubicBezTo>
                <a:cubicBezTo>
                  <a:pt x="743" y="156"/>
                  <a:pt x="745" y="158"/>
                  <a:pt x="746" y="159"/>
                </a:cubicBezTo>
                <a:cubicBezTo>
                  <a:pt x="746" y="159"/>
                  <a:pt x="745" y="156"/>
                  <a:pt x="747" y="158"/>
                </a:cubicBezTo>
                <a:cubicBezTo>
                  <a:pt x="746" y="156"/>
                  <a:pt x="744" y="153"/>
                  <a:pt x="745" y="154"/>
                </a:cubicBezTo>
                <a:cubicBezTo>
                  <a:pt x="747" y="156"/>
                  <a:pt x="748" y="158"/>
                  <a:pt x="749" y="159"/>
                </a:cubicBezTo>
                <a:cubicBezTo>
                  <a:pt x="749" y="160"/>
                  <a:pt x="752" y="165"/>
                  <a:pt x="750" y="164"/>
                </a:cubicBezTo>
                <a:cubicBezTo>
                  <a:pt x="752" y="166"/>
                  <a:pt x="751" y="167"/>
                  <a:pt x="751" y="167"/>
                </a:cubicBezTo>
                <a:cubicBezTo>
                  <a:pt x="753" y="170"/>
                  <a:pt x="756" y="173"/>
                  <a:pt x="757" y="174"/>
                </a:cubicBezTo>
                <a:cubicBezTo>
                  <a:pt x="757" y="173"/>
                  <a:pt x="755" y="172"/>
                  <a:pt x="754" y="170"/>
                </a:cubicBezTo>
                <a:cubicBezTo>
                  <a:pt x="754" y="168"/>
                  <a:pt x="759" y="172"/>
                  <a:pt x="756" y="168"/>
                </a:cubicBezTo>
                <a:cubicBezTo>
                  <a:pt x="757" y="169"/>
                  <a:pt x="757" y="170"/>
                  <a:pt x="759" y="173"/>
                </a:cubicBezTo>
                <a:cubicBezTo>
                  <a:pt x="759" y="174"/>
                  <a:pt x="757" y="173"/>
                  <a:pt x="760" y="177"/>
                </a:cubicBezTo>
                <a:cubicBezTo>
                  <a:pt x="759" y="176"/>
                  <a:pt x="759" y="175"/>
                  <a:pt x="758" y="175"/>
                </a:cubicBezTo>
                <a:cubicBezTo>
                  <a:pt x="760" y="177"/>
                  <a:pt x="760" y="179"/>
                  <a:pt x="762" y="181"/>
                </a:cubicBezTo>
                <a:cubicBezTo>
                  <a:pt x="762" y="182"/>
                  <a:pt x="762" y="181"/>
                  <a:pt x="764" y="182"/>
                </a:cubicBezTo>
                <a:cubicBezTo>
                  <a:pt x="765" y="184"/>
                  <a:pt x="766" y="187"/>
                  <a:pt x="767" y="186"/>
                </a:cubicBezTo>
                <a:cubicBezTo>
                  <a:pt x="768" y="186"/>
                  <a:pt x="765" y="183"/>
                  <a:pt x="764" y="182"/>
                </a:cubicBezTo>
                <a:cubicBezTo>
                  <a:pt x="762" y="178"/>
                  <a:pt x="767" y="183"/>
                  <a:pt x="764" y="178"/>
                </a:cubicBezTo>
                <a:cubicBezTo>
                  <a:pt x="766" y="180"/>
                  <a:pt x="766" y="181"/>
                  <a:pt x="766" y="179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70" y="185"/>
                  <a:pt x="768" y="190"/>
                  <a:pt x="774" y="194"/>
                </a:cubicBezTo>
                <a:cubicBezTo>
                  <a:pt x="773" y="192"/>
                  <a:pt x="774" y="192"/>
                  <a:pt x="776" y="194"/>
                </a:cubicBezTo>
                <a:cubicBezTo>
                  <a:pt x="775" y="192"/>
                  <a:pt x="774" y="188"/>
                  <a:pt x="776" y="190"/>
                </a:cubicBezTo>
                <a:cubicBezTo>
                  <a:pt x="782" y="200"/>
                  <a:pt x="774" y="198"/>
                  <a:pt x="781" y="209"/>
                </a:cubicBezTo>
                <a:cubicBezTo>
                  <a:pt x="782" y="211"/>
                  <a:pt x="782" y="210"/>
                  <a:pt x="784" y="211"/>
                </a:cubicBezTo>
                <a:cubicBezTo>
                  <a:pt x="782" y="207"/>
                  <a:pt x="785" y="207"/>
                  <a:pt x="785" y="203"/>
                </a:cubicBezTo>
                <a:cubicBezTo>
                  <a:pt x="789" y="210"/>
                  <a:pt x="784" y="206"/>
                  <a:pt x="788" y="212"/>
                </a:cubicBezTo>
                <a:cubicBezTo>
                  <a:pt x="786" y="212"/>
                  <a:pt x="788" y="216"/>
                  <a:pt x="786" y="217"/>
                </a:cubicBezTo>
                <a:cubicBezTo>
                  <a:pt x="787" y="218"/>
                  <a:pt x="788" y="218"/>
                  <a:pt x="789" y="220"/>
                </a:cubicBezTo>
                <a:cubicBezTo>
                  <a:pt x="788" y="220"/>
                  <a:pt x="787" y="218"/>
                  <a:pt x="787" y="219"/>
                </a:cubicBezTo>
                <a:cubicBezTo>
                  <a:pt x="788" y="221"/>
                  <a:pt x="789" y="223"/>
                  <a:pt x="791" y="226"/>
                </a:cubicBezTo>
                <a:cubicBezTo>
                  <a:pt x="793" y="227"/>
                  <a:pt x="790" y="222"/>
                  <a:pt x="793" y="224"/>
                </a:cubicBezTo>
                <a:cubicBezTo>
                  <a:pt x="792" y="220"/>
                  <a:pt x="793" y="220"/>
                  <a:pt x="795" y="221"/>
                </a:cubicBezTo>
                <a:cubicBezTo>
                  <a:pt x="798" y="227"/>
                  <a:pt x="796" y="231"/>
                  <a:pt x="795" y="230"/>
                </a:cubicBezTo>
                <a:cubicBezTo>
                  <a:pt x="795" y="231"/>
                  <a:pt x="796" y="233"/>
                  <a:pt x="796" y="234"/>
                </a:cubicBezTo>
                <a:cubicBezTo>
                  <a:pt x="793" y="231"/>
                  <a:pt x="796" y="239"/>
                  <a:pt x="792" y="235"/>
                </a:cubicBezTo>
                <a:cubicBezTo>
                  <a:pt x="794" y="238"/>
                  <a:pt x="793" y="237"/>
                  <a:pt x="792" y="236"/>
                </a:cubicBezTo>
                <a:cubicBezTo>
                  <a:pt x="794" y="240"/>
                  <a:pt x="794" y="243"/>
                  <a:pt x="797" y="248"/>
                </a:cubicBezTo>
                <a:cubicBezTo>
                  <a:pt x="797" y="246"/>
                  <a:pt x="797" y="245"/>
                  <a:pt x="799" y="248"/>
                </a:cubicBezTo>
                <a:cubicBezTo>
                  <a:pt x="799" y="247"/>
                  <a:pt x="798" y="246"/>
                  <a:pt x="798" y="245"/>
                </a:cubicBezTo>
                <a:cubicBezTo>
                  <a:pt x="798" y="244"/>
                  <a:pt x="799" y="247"/>
                  <a:pt x="800" y="247"/>
                </a:cubicBezTo>
                <a:cubicBezTo>
                  <a:pt x="800" y="246"/>
                  <a:pt x="799" y="246"/>
                  <a:pt x="798" y="244"/>
                </a:cubicBezTo>
                <a:cubicBezTo>
                  <a:pt x="799" y="244"/>
                  <a:pt x="800" y="246"/>
                  <a:pt x="800" y="246"/>
                </a:cubicBezTo>
                <a:cubicBezTo>
                  <a:pt x="802" y="250"/>
                  <a:pt x="800" y="249"/>
                  <a:pt x="801" y="252"/>
                </a:cubicBezTo>
                <a:cubicBezTo>
                  <a:pt x="799" y="250"/>
                  <a:pt x="800" y="252"/>
                  <a:pt x="799" y="251"/>
                </a:cubicBezTo>
                <a:cubicBezTo>
                  <a:pt x="800" y="252"/>
                  <a:pt x="801" y="254"/>
                  <a:pt x="802" y="256"/>
                </a:cubicBezTo>
                <a:cubicBezTo>
                  <a:pt x="800" y="254"/>
                  <a:pt x="800" y="256"/>
                  <a:pt x="799" y="255"/>
                </a:cubicBezTo>
                <a:cubicBezTo>
                  <a:pt x="799" y="256"/>
                  <a:pt x="800" y="257"/>
                  <a:pt x="800" y="258"/>
                </a:cubicBezTo>
                <a:cubicBezTo>
                  <a:pt x="798" y="257"/>
                  <a:pt x="797" y="261"/>
                  <a:pt x="794" y="257"/>
                </a:cubicBezTo>
                <a:cubicBezTo>
                  <a:pt x="794" y="258"/>
                  <a:pt x="795" y="260"/>
                  <a:pt x="794" y="260"/>
                </a:cubicBezTo>
                <a:cubicBezTo>
                  <a:pt x="792" y="255"/>
                  <a:pt x="791" y="256"/>
                  <a:pt x="790" y="256"/>
                </a:cubicBezTo>
                <a:cubicBezTo>
                  <a:pt x="792" y="259"/>
                  <a:pt x="794" y="261"/>
                  <a:pt x="795" y="265"/>
                </a:cubicBezTo>
                <a:cubicBezTo>
                  <a:pt x="793" y="262"/>
                  <a:pt x="795" y="266"/>
                  <a:pt x="793" y="262"/>
                </a:cubicBezTo>
                <a:cubicBezTo>
                  <a:pt x="792" y="267"/>
                  <a:pt x="790" y="268"/>
                  <a:pt x="787" y="266"/>
                </a:cubicBezTo>
                <a:cubicBezTo>
                  <a:pt x="786" y="263"/>
                  <a:pt x="784" y="260"/>
                  <a:pt x="784" y="259"/>
                </a:cubicBezTo>
                <a:cubicBezTo>
                  <a:pt x="784" y="258"/>
                  <a:pt x="783" y="258"/>
                  <a:pt x="783" y="257"/>
                </a:cubicBezTo>
                <a:cubicBezTo>
                  <a:pt x="783" y="257"/>
                  <a:pt x="783" y="258"/>
                  <a:pt x="784" y="259"/>
                </a:cubicBezTo>
                <a:cubicBezTo>
                  <a:pt x="783" y="258"/>
                  <a:pt x="782" y="256"/>
                  <a:pt x="782" y="255"/>
                </a:cubicBezTo>
                <a:close/>
                <a:moveTo>
                  <a:pt x="340" y="50"/>
                </a:moveTo>
                <a:cubicBezTo>
                  <a:pt x="338" y="51"/>
                  <a:pt x="336" y="51"/>
                  <a:pt x="336" y="51"/>
                </a:cubicBezTo>
                <a:cubicBezTo>
                  <a:pt x="338" y="51"/>
                  <a:pt x="340" y="51"/>
                  <a:pt x="340" y="50"/>
                </a:cubicBezTo>
                <a:close/>
                <a:moveTo>
                  <a:pt x="236" y="74"/>
                </a:moveTo>
                <a:cubicBezTo>
                  <a:pt x="236" y="74"/>
                  <a:pt x="235" y="75"/>
                  <a:pt x="235" y="74"/>
                </a:cubicBezTo>
                <a:cubicBezTo>
                  <a:pt x="234" y="75"/>
                  <a:pt x="233" y="75"/>
                  <a:pt x="233" y="76"/>
                </a:cubicBezTo>
                <a:cubicBezTo>
                  <a:pt x="236" y="75"/>
                  <a:pt x="230" y="77"/>
                  <a:pt x="232" y="77"/>
                </a:cubicBezTo>
                <a:cubicBezTo>
                  <a:pt x="234" y="76"/>
                  <a:pt x="235" y="75"/>
                  <a:pt x="236" y="74"/>
                </a:cubicBezTo>
                <a:close/>
                <a:moveTo>
                  <a:pt x="231" y="76"/>
                </a:moveTo>
                <a:cubicBezTo>
                  <a:pt x="232" y="75"/>
                  <a:pt x="233" y="76"/>
                  <a:pt x="234" y="74"/>
                </a:cubicBezTo>
                <a:cubicBezTo>
                  <a:pt x="234" y="75"/>
                  <a:pt x="236" y="72"/>
                  <a:pt x="237" y="71"/>
                </a:cubicBezTo>
                <a:cubicBezTo>
                  <a:pt x="233" y="73"/>
                  <a:pt x="233" y="74"/>
                  <a:pt x="231" y="76"/>
                </a:cubicBezTo>
                <a:close/>
                <a:moveTo>
                  <a:pt x="162" y="116"/>
                </a:moveTo>
                <a:cubicBezTo>
                  <a:pt x="164" y="115"/>
                  <a:pt x="164" y="115"/>
                  <a:pt x="164" y="115"/>
                </a:cubicBezTo>
                <a:cubicBezTo>
                  <a:pt x="162" y="115"/>
                  <a:pt x="165" y="114"/>
                  <a:pt x="167" y="112"/>
                </a:cubicBezTo>
                <a:cubicBezTo>
                  <a:pt x="165" y="113"/>
                  <a:pt x="164" y="114"/>
                  <a:pt x="164" y="114"/>
                </a:cubicBezTo>
                <a:cubicBezTo>
                  <a:pt x="167" y="111"/>
                  <a:pt x="164" y="113"/>
                  <a:pt x="165" y="111"/>
                </a:cubicBezTo>
                <a:cubicBezTo>
                  <a:pt x="164" y="112"/>
                  <a:pt x="162" y="113"/>
                  <a:pt x="162" y="114"/>
                </a:cubicBezTo>
                <a:cubicBezTo>
                  <a:pt x="168" y="110"/>
                  <a:pt x="160" y="115"/>
                  <a:pt x="162" y="114"/>
                </a:cubicBezTo>
                <a:cubicBezTo>
                  <a:pt x="166" y="112"/>
                  <a:pt x="161" y="116"/>
                  <a:pt x="162" y="116"/>
                </a:cubicBezTo>
                <a:close/>
                <a:moveTo>
                  <a:pt x="132" y="113"/>
                </a:moveTo>
                <a:cubicBezTo>
                  <a:pt x="134" y="112"/>
                  <a:pt x="135" y="111"/>
                  <a:pt x="134" y="111"/>
                </a:cubicBezTo>
                <a:cubicBezTo>
                  <a:pt x="132" y="113"/>
                  <a:pt x="132" y="113"/>
                  <a:pt x="132" y="113"/>
                </a:cubicBezTo>
                <a:close/>
                <a:moveTo>
                  <a:pt x="788" y="254"/>
                </a:moveTo>
                <a:cubicBezTo>
                  <a:pt x="788" y="256"/>
                  <a:pt x="790" y="259"/>
                  <a:pt x="791" y="260"/>
                </a:cubicBezTo>
                <a:cubicBezTo>
                  <a:pt x="790" y="258"/>
                  <a:pt x="789" y="255"/>
                  <a:pt x="788" y="254"/>
                </a:cubicBezTo>
                <a:close/>
                <a:moveTo>
                  <a:pt x="792" y="242"/>
                </a:moveTo>
                <a:cubicBezTo>
                  <a:pt x="793" y="245"/>
                  <a:pt x="794" y="247"/>
                  <a:pt x="796" y="250"/>
                </a:cubicBezTo>
                <a:cubicBezTo>
                  <a:pt x="797" y="249"/>
                  <a:pt x="792" y="240"/>
                  <a:pt x="790" y="237"/>
                </a:cubicBezTo>
                <a:cubicBezTo>
                  <a:pt x="790" y="239"/>
                  <a:pt x="794" y="244"/>
                  <a:pt x="795" y="246"/>
                </a:cubicBezTo>
                <a:cubicBezTo>
                  <a:pt x="794" y="246"/>
                  <a:pt x="793" y="243"/>
                  <a:pt x="792" y="242"/>
                </a:cubicBezTo>
                <a:close/>
                <a:moveTo>
                  <a:pt x="787" y="245"/>
                </a:moveTo>
                <a:cubicBezTo>
                  <a:pt x="787" y="245"/>
                  <a:pt x="787" y="247"/>
                  <a:pt x="786" y="246"/>
                </a:cubicBezTo>
                <a:cubicBezTo>
                  <a:pt x="788" y="248"/>
                  <a:pt x="789" y="252"/>
                  <a:pt x="790" y="253"/>
                </a:cubicBezTo>
                <a:cubicBezTo>
                  <a:pt x="789" y="250"/>
                  <a:pt x="788" y="247"/>
                  <a:pt x="787" y="245"/>
                </a:cubicBezTo>
                <a:close/>
                <a:moveTo>
                  <a:pt x="779" y="256"/>
                </a:moveTo>
                <a:cubicBezTo>
                  <a:pt x="779" y="256"/>
                  <a:pt x="776" y="252"/>
                  <a:pt x="777" y="255"/>
                </a:cubicBezTo>
                <a:cubicBezTo>
                  <a:pt x="778" y="255"/>
                  <a:pt x="778" y="255"/>
                  <a:pt x="779" y="257"/>
                </a:cubicBezTo>
                <a:cubicBezTo>
                  <a:pt x="779" y="258"/>
                  <a:pt x="779" y="258"/>
                  <a:pt x="779" y="258"/>
                </a:cubicBezTo>
                <a:cubicBezTo>
                  <a:pt x="780" y="258"/>
                  <a:pt x="780" y="258"/>
                  <a:pt x="779" y="256"/>
                </a:cubicBezTo>
                <a:close/>
                <a:moveTo>
                  <a:pt x="785" y="244"/>
                </a:moveTo>
                <a:cubicBezTo>
                  <a:pt x="787" y="249"/>
                  <a:pt x="783" y="241"/>
                  <a:pt x="784" y="244"/>
                </a:cubicBezTo>
                <a:cubicBezTo>
                  <a:pt x="786" y="246"/>
                  <a:pt x="784" y="246"/>
                  <a:pt x="785" y="247"/>
                </a:cubicBezTo>
                <a:cubicBezTo>
                  <a:pt x="785" y="246"/>
                  <a:pt x="787" y="249"/>
                  <a:pt x="787" y="249"/>
                </a:cubicBezTo>
                <a:cubicBezTo>
                  <a:pt x="786" y="247"/>
                  <a:pt x="786" y="245"/>
                  <a:pt x="785" y="244"/>
                </a:cubicBezTo>
                <a:close/>
                <a:moveTo>
                  <a:pt x="789" y="230"/>
                </a:moveTo>
                <a:cubicBezTo>
                  <a:pt x="790" y="231"/>
                  <a:pt x="791" y="232"/>
                  <a:pt x="792" y="233"/>
                </a:cubicBezTo>
                <a:cubicBezTo>
                  <a:pt x="790" y="230"/>
                  <a:pt x="789" y="228"/>
                  <a:pt x="790" y="229"/>
                </a:cubicBezTo>
                <a:cubicBezTo>
                  <a:pt x="788" y="225"/>
                  <a:pt x="789" y="224"/>
                  <a:pt x="787" y="222"/>
                </a:cubicBezTo>
                <a:cubicBezTo>
                  <a:pt x="787" y="222"/>
                  <a:pt x="787" y="224"/>
                  <a:pt x="786" y="224"/>
                </a:cubicBezTo>
                <a:cubicBezTo>
                  <a:pt x="788" y="225"/>
                  <a:pt x="788" y="226"/>
                  <a:pt x="789" y="227"/>
                </a:cubicBezTo>
                <a:cubicBezTo>
                  <a:pt x="789" y="228"/>
                  <a:pt x="789" y="229"/>
                  <a:pt x="789" y="229"/>
                </a:cubicBezTo>
                <a:cubicBezTo>
                  <a:pt x="788" y="226"/>
                  <a:pt x="787" y="226"/>
                  <a:pt x="785" y="224"/>
                </a:cubicBezTo>
                <a:cubicBezTo>
                  <a:pt x="787" y="227"/>
                  <a:pt x="786" y="227"/>
                  <a:pt x="785" y="226"/>
                </a:cubicBezTo>
                <a:cubicBezTo>
                  <a:pt x="787" y="230"/>
                  <a:pt x="786" y="228"/>
                  <a:pt x="787" y="231"/>
                </a:cubicBezTo>
                <a:cubicBezTo>
                  <a:pt x="788" y="231"/>
                  <a:pt x="789" y="234"/>
                  <a:pt x="790" y="235"/>
                </a:cubicBezTo>
                <a:cubicBezTo>
                  <a:pt x="790" y="235"/>
                  <a:pt x="792" y="237"/>
                  <a:pt x="791" y="235"/>
                </a:cubicBezTo>
                <a:cubicBezTo>
                  <a:pt x="790" y="235"/>
                  <a:pt x="790" y="233"/>
                  <a:pt x="789" y="232"/>
                </a:cubicBezTo>
                <a:cubicBezTo>
                  <a:pt x="789" y="232"/>
                  <a:pt x="790" y="235"/>
                  <a:pt x="789" y="233"/>
                </a:cubicBezTo>
                <a:cubicBezTo>
                  <a:pt x="789" y="233"/>
                  <a:pt x="787" y="230"/>
                  <a:pt x="788" y="230"/>
                </a:cubicBezTo>
                <a:cubicBezTo>
                  <a:pt x="789" y="232"/>
                  <a:pt x="790" y="234"/>
                  <a:pt x="792" y="235"/>
                </a:cubicBezTo>
                <a:cubicBezTo>
                  <a:pt x="791" y="234"/>
                  <a:pt x="789" y="231"/>
                  <a:pt x="789" y="230"/>
                </a:cubicBezTo>
                <a:close/>
                <a:moveTo>
                  <a:pt x="788" y="235"/>
                </a:moveTo>
                <a:cubicBezTo>
                  <a:pt x="788" y="233"/>
                  <a:pt x="786" y="229"/>
                  <a:pt x="785" y="229"/>
                </a:cubicBezTo>
                <a:cubicBezTo>
                  <a:pt x="787" y="231"/>
                  <a:pt x="787" y="234"/>
                  <a:pt x="788" y="235"/>
                </a:cubicBezTo>
                <a:close/>
                <a:moveTo>
                  <a:pt x="756" y="236"/>
                </a:moveTo>
                <a:cubicBezTo>
                  <a:pt x="755" y="236"/>
                  <a:pt x="757" y="239"/>
                  <a:pt x="758" y="240"/>
                </a:cubicBezTo>
                <a:cubicBezTo>
                  <a:pt x="760" y="241"/>
                  <a:pt x="759" y="242"/>
                  <a:pt x="760" y="244"/>
                </a:cubicBezTo>
                <a:cubicBezTo>
                  <a:pt x="760" y="243"/>
                  <a:pt x="762" y="245"/>
                  <a:pt x="761" y="242"/>
                </a:cubicBezTo>
                <a:cubicBezTo>
                  <a:pt x="759" y="241"/>
                  <a:pt x="759" y="241"/>
                  <a:pt x="756" y="236"/>
                </a:cubicBezTo>
                <a:close/>
                <a:moveTo>
                  <a:pt x="780" y="220"/>
                </a:moveTo>
                <a:cubicBezTo>
                  <a:pt x="781" y="222"/>
                  <a:pt x="781" y="223"/>
                  <a:pt x="782" y="225"/>
                </a:cubicBezTo>
                <a:cubicBezTo>
                  <a:pt x="783" y="226"/>
                  <a:pt x="784" y="227"/>
                  <a:pt x="785" y="228"/>
                </a:cubicBezTo>
                <a:cubicBezTo>
                  <a:pt x="783" y="225"/>
                  <a:pt x="782" y="222"/>
                  <a:pt x="780" y="220"/>
                </a:cubicBezTo>
                <a:close/>
                <a:moveTo>
                  <a:pt x="787" y="219"/>
                </a:moveTo>
                <a:cubicBezTo>
                  <a:pt x="786" y="219"/>
                  <a:pt x="786" y="220"/>
                  <a:pt x="787" y="221"/>
                </a:cubicBezTo>
                <a:cubicBezTo>
                  <a:pt x="787" y="221"/>
                  <a:pt x="789" y="225"/>
                  <a:pt x="789" y="223"/>
                </a:cubicBezTo>
                <a:cubicBezTo>
                  <a:pt x="787" y="221"/>
                  <a:pt x="787" y="220"/>
                  <a:pt x="787" y="219"/>
                </a:cubicBezTo>
                <a:close/>
                <a:moveTo>
                  <a:pt x="781" y="226"/>
                </a:moveTo>
                <a:cubicBezTo>
                  <a:pt x="781" y="227"/>
                  <a:pt x="780" y="223"/>
                  <a:pt x="779" y="224"/>
                </a:cubicBezTo>
                <a:cubicBezTo>
                  <a:pt x="780" y="224"/>
                  <a:pt x="780" y="225"/>
                  <a:pt x="779" y="225"/>
                </a:cubicBezTo>
                <a:cubicBezTo>
                  <a:pt x="781" y="228"/>
                  <a:pt x="783" y="228"/>
                  <a:pt x="781" y="226"/>
                </a:cubicBezTo>
                <a:close/>
                <a:moveTo>
                  <a:pt x="760" y="233"/>
                </a:moveTo>
                <a:cubicBezTo>
                  <a:pt x="761" y="237"/>
                  <a:pt x="756" y="230"/>
                  <a:pt x="756" y="233"/>
                </a:cubicBezTo>
                <a:cubicBezTo>
                  <a:pt x="758" y="234"/>
                  <a:pt x="760" y="235"/>
                  <a:pt x="762" y="237"/>
                </a:cubicBezTo>
                <a:cubicBezTo>
                  <a:pt x="761" y="235"/>
                  <a:pt x="761" y="233"/>
                  <a:pt x="760" y="233"/>
                </a:cubicBezTo>
                <a:close/>
                <a:moveTo>
                  <a:pt x="754" y="232"/>
                </a:moveTo>
                <a:cubicBezTo>
                  <a:pt x="755" y="231"/>
                  <a:pt x="756" y="235"/>
                  <a:pt x="757" y="236"/>
                </a:cubicBezTo>
                <a:cubicBezTo>
                  <a:pt x="757" y="234"/>
                  <a:pt x="753" y="229"/>
                  <a:pt x="754" y="232"/>
                </a:cubicBezTo>
                <a:close/>
                <a:moveTo>
                  <a:pt x="747" y="236"/>
                </a:moveTo>
                <a:cubicBezTo>
                  <a:pt x="746" y="236"/>
                  <a:pt x="748" y="238"/>
                  <a:pt x="748" y="239"/>
                </a:cubicBezTo>
                <a:cubicBezTo>
                  <a:pt x="749" y="239"/>
                  <a:pt x="749" y="240"/>
                  <a:pt x="749" y="239"/>
                </a:cubicBezTo>
                <a:cubicBezTo>
                  <a:pt x="748" y="239"/>
                  <a:pt x="748" y="237"/>
                  <a:pt x="747" y="236"/>
                </a:cubicBezTo>
                <a:close/>
                <a:moveTo>
                  <a:pt x="753" y="170"/>
                </a:moveTo>
                <a:cubicBezTo>
                  <a:pt x="752" y="170"/>
                  <a:pt x="752" y="170"/>
                  <a:pt x="753" y="172"/>
                </a:cubicBezTo>
                <a:cubicBezTo>
                  <a:pt x="754" y="172"/>
                  <a:pt x="755" y="172"/>
                  <a:pt x="756" y="173"/>
                </a:cubicBezTo>
                <a:cubicBezTo>
                  <a:pt x="754" y="172"/>
                  <a:pt x="753" y="171"/>
                  <a:pt x="753" y="170"/>
                </a:cubicBezTo>
                <a:close/>
                <a:moveTo>
                  <a:pt x="747" y="163"/>
                </a:moveTo>
                <a:cubicBezTo>
                  <a:pt x="746" y="162"/>
                  <a:pt x="745" y="163"/>
                  <a:pt x="746" y="165"/>
                </a:cubicBezTo>
                <a:cubicBezTo>
                  <a:pt x="746" y="164"/>
                  <a:pt x="749" y="168"/>
                  <a:pt x="749" y="167"/>
                </a:cubicBezTo>
                <a:cubicBezTo>
                  <a:pt x="746" y="163"/>
                  <a:pt x="748" y="165"/>
                  <a:pt x="747" y="163"/>
                </a:cubicBezTo>
                <a:close/>
                <a:moveTo>
                  <a:pt x="726" y="156"/>
                </a:moveTo>
                <a:cubicBezTo>
                  <a:pt x="725" y="156"/>
                  <a:pt x="728" y="159"/>
                  <a:pt x="729" y="160"/>
                </a:cubicBezTo>
                <a:cubicBezTo>
                  <a:pt x="730" y="160"/>
                  <a:pt x="728" y="158"/>
                  <a:pt x="726" y="156"/>
                </a:cubicBezTo>
                <a:close/>
                <a:moveTo>
                  <a:pt x="723" y="152"/>
                </a:moveTo>
                <a:cubicBezTo>
                  <a:pt x="722" y="152"/>
                  <a:pt x="721" y="151"/>
                  <a:pt x="721" y="150"/>
                </a:cubicBezTo>
                <a:cubicBezTo>
                  <a:pt x="720" y="150"/>
                  <a:pt x="720" y="151"/>
                  <a:pt x="721" y="152"/>
                </a:cubicBezTo>
                <a:cubicBezTo>
                  <a:pt x="722" y="151"/>
                  <a:pt x="725" y="155"/>
                  <a:pt x="724" y="153"/>
                </a:cubicBezTo>
                <a:cubicBezTo>
                  <a:pt x="723" y="153"/>
                  <a:pt x="723" y="153"/>
                  <a:pt x="723" y="152"/>
                </a:cubicBezTo>
                <a:close/>
                <a:moveTo>
                  <a:pt x="726" y="146"/>
                </a:moveTo>
                <a:cubicBezTo>
                  <a:pt x="727" y="147"/>
                  <a:pt x="726" y="147"/>
                  <a:pt x="728" y="149"/>
                </a:cubicBezTo>
                <a:cubicBezTo>
                  <a:pt x="729" y="150"/>
                  <a:pt x="727" y="147"/>
                  <a:pt x="726" y="146"/>
                </a:cubicBezTo>
                <a:close/>
                <a:moveTo>
                  <a:pt x="717" y="154"/>
                </a:moveTo>
                <a:cubicBezTo>
                  <a:pt x="718" y="156"/>
                  <a:pt x="715" y="152"/>
                  <a:pt x="714" y="152"/>
                </a:cubicBezTo>
                <a:cubicBezTo>
                  <a:pt x="714" y="153"/>
                  <a:pt x="716" y="154"/>
                  <a:pt x="717" y="156"/>
                </a:cubicBezTo>
                <a:cubicBezTo>
                  <a:pt x="718" y="156"/>
                  <a:pt x="718" y="155"/>
                  <a:pt x="717" y="154"/>
                </a:cubicBezTo>
                <a:close/>
                <a:moveTo>
                  <a:pt x="723" y="138"/>
                </a:moveTo>
                <a:cubicBezTo>
                  <a:pt x="726" y="140"/>
                  <a:pt x="727" y="142"/>
                  <a:pt x="728" y="143"/>
                </a:cubicBezTo>
                <a:cubicBezTo>
                  <a:pt x="727" y="141"/>
                  <a:pt x="725" y="139"/>
                  <a:pt x="723" y="138"/>
                </a:cubicBezTo>
                <a:close/>
                <a:moveTo>
                  <a:pt x="723" y="139"/>
                </a:moveTo>
                <a:cubicBezTo>
                  <a:pt x="723" y="138"/>
                  <a:pt x="722" y="137"/>
                  <a:pt x="721" y="137"/>
                </a:cubicBezTo>
                <a:cubicBezTo>
                  <a:pt x="720" y="136"/>
                  <a:pt x="720" y="136"/>
                  <a:pt x="720" y="137"/>
                </a:cubicBezTo>
                <a:cubicBezTo>
                  <a:pt x="721" y="139"/>
                  <a:pt x="722" y="140"/>
                  <a:pt x="723" y="141"/>
                </a:cubicBezTo>
                <a:cubicBezTo>
                  <a:pt x="722" y="139"/>
                  <a:pt x="720" y="138"/>
                  <a:pt x="721" y="137"/>
                </a:cubicBezTo>
                <a:cubicBezTo>
                  <a:pt x="723" y="139"/>
                  <a:pt x="724" y="140"/>
                  <a:pt x="725" y="140"/>
                </a:cubicBezTo>
                <a:cubicBezTo>
                  <a:pt x="724" y="139"/>
                  <a:pt x="724" y="139"/>
                  <a:pt x="723" y="139"/>
                </a:cubicBezTo>
                <a:close/>
                <a:moveTo>
                  <a:pt x="722" y="140"/>
                </a:moveTo>
                <a:cubicBezTo>
                  <a:pt x="719" y="137"/>
                  <a:pt x="719" y="137"/>
                  <a:pt x="719" y="137"/>
                </a:cubicBezTo>
                <a:cubicBezTo>
                  <a:pt x="718" y="137"/>
                  <a:pt x="720" y="140"/>
                  <a:pt x="721" y="141"/>
                </a:cubicBezTo>
                <a:cubicBezTo>
                  <a:pt x="722" y="141"/>
                  <a:pt x="722" y="141"/>
                  <a:pt x="722" y="140"/>
                </a:cubicBezTo>
                <a:close/>
                <a:moveTo>
                  <a:pt x="721" y="134"/>
                </a:moveTo>
                <a:cubicBezTo>
                  <a:pt x="720" y="134"/>
                  <a:pt x="719" y="134"/>
                  <a:pt x="719" y="134"/>
                </a:cubicBezTo>
                <a:cubicBezTo>
                  <a:pt x="723" y="138"/>
                  <a:pt x="724" y="137"/>
                  <a:pt x="721" y="134"/>
                </a:cubicBezTo>
                <a:close/>
                <a:moveTo>
                  <a:pt x="714" y="136"/>
                </a:moveTo>
                <a:cubicBezTo>
                  <a:pt x="715" y="135"/>
                  <a:pt x="715" y="135"/>
                  <a:pt x="714" y="134"/>
                </a:cubicBezTo>
                <a:cubicBezTo>
                  <a:pt x="713" y="133"/>
                  <a:pt x="712" y="134"/>
                  <a:pt x="714" y="136"/>
                </a:cubicBezTo>
                <a:close/>
                <a:moveTo>
                  <a:pt x="697" y="113"/>
                </a:moveTo>
                <a:cubicBezTo>
                  <a:pt x="698" y="114"/>
                  <a:pt x="698" y="113"/>
                  <a:pt x="697" y="113"/>
                </a:cubicBezTo>
                <a:cubicBezTo>
                  <a:pt x="696" y="113"/>
                  <a:pt x="694" y="110"/>
                  <a:pt x="693" y="110"/>
                </a:cubicBezTo>
                <a:cubicBezTo>
                  <a:pt x="695" y="112"/>
                  <a:pt x="698" y="116"/>
                  <a:pt x="700" y="117"/>
                </a:cubicBezTo>
                <a:cubicBezTo>
                  <a:pt x="699" y="116"/>
                  <a:pt x="696" y="113"/>
                  <a:pt x="697" y="113"/>
                </a:cubicBezTo>
                <a:close/>
                <a:moveTo>
                  <a:pt x="662" y="153"/>
                </a:moveTo>
                <a:cubicBezTo>
                  <a:pt x="663" y="154"/>
                  <a:pt x="665" y="156"/>
                  <a:pt x="666" y="156"/>
                </a:cubicBezTo>
                <a:cubicBezTo>
                  <a:pt x="665" y="155"/>
                  <a:pt x="663" y="152"/>
                  <a:pt x="662" y="153"/>
                </a:cubicBezTo>
                <a:close/>
                <a:moveTo>
                  <a:pt x="685" y="103"/>
                </a:moveTo>
                <a:cubicBezTo>
                  <a:pt x="687" y="104"/>
                  <a:pt x="686" y="104"/>
                  <a:pt x="687" y="105"/>
                </a:cubicBezTo>
                <a:cubicBezTo>
                  <a:pt x="688" y="106"/>
                  <a:pt x="689" y="106"/>
                  <a:pt x="689" y="106"/>
                </a:cubicBezTo>
                <a:cubicBezTo>
                  <a:pt x="688" y="105"/>
                  <a:pt x="687" y="103"/>
                  <a:pt x="685" y="103"/>
                </a:cubicBezTo>
                <a:close/>
                <a:moveTo>
                  <a:pt x="599" y="49"/>
                </a:moveTo>
                <a:cubicBezTo>
                  <a:pt x="600" y="50"/>
                  <a:pt x="603" y="51"/>
                  <a:pt x="603" y="50"/>
                </a:cubicBezTo>
                <a:cubicBezTo>
                  <a:pt x="600" y="49"/>
                  <a:pt x="601" y="50"/>
                  <a:pt x="599" y="49"/>
                </a:cubicBezTo>
                <a:close/>
                <a:moveTo>
                  <a:pt x="579" y="43"/>
                </a:moveTo>
                <a:cubicBezTo>
                  <a:pt x="579" y="42"/>
                  <a:pt x="584" y="44"/>
                  <a:pt x="581" y="43"/>
                </a:cubicBezTo>
                <a:cubicBezTo>
                  <a:pt x="581" y="43"/>
                  <a:pt x="576" y="41"/>
                  <a:pt x="579" y="43"/>
                </a:cubicBezTo>
                <a:close/>
                <a:moveTo>
                  <a:pt x="568" y="37"/>
                </a:moveTo>
                <a:cubicBezTo>
                  <a:pt x="568" y="36"/>
                  <a:pt x="570" y="37"/>
                  <a:pt x="571" y="38"/>
                </a:cubicBezTo>
                <a:cubicBezTo>
                  <a:pt x="573" y="38"/>
                  <a:pt x="568" y="36"/>
                  <a:pt x="567" y="36"/>
                </a:cubicBezTo>
                <a:cubicBezTo>
                  <a:pt x="570" y="37"/>
                  <a:pt x="565" y="36"/>
                  <a:pt x="568" y="37"/>
                </a:cubicBezTo>
                <a:close/>
                <a:moveTo>
                  <a:pt x="562" y="33"/>
                </a:moveTo>
                <a:cubicBezTo>
                  <a:pt x="563" y="34"/>
                  <a:pt x="563" y="33"/>
                  <a:pt x="565" y="33"/>
                </a:cubicBezTo>
                <a:cubicBezTo>
                  <a:pt x="567" y="35"/>
                  <a:pt x="567" y="35"/>
                  <a:pt x="567" y="35"/>
                </a:cubicBezTo>
                <a:cubicBezTo>
                  <a:pt x="570" y="35"/>
                  <a:pt x="558" y="30"/>
                  <a:pt x="562" y="33"/>
                </a:cubicBezTo>
                <a:close/>
                <a:moveTo>
                  <a:pt x="533" y="22"/>
                </a:moveTo>
                <a:cubicBezTo>
                  <a:pt x="531" y="22"/>
                  <a:pt x="527" y="19"/>
                  <a:pt x="523" y="19"/>
                </a:cubicBezTo>
                <a:cubicBezTo>
                  <a:pt x="524" y="20"/>
                  <a:pt x="519" y="18"/>
                  <a:pt x="519" y="19"/>
                </a:cubicBezTo>
                <a:cubicBezTo>
                  <a:pt x="522" y="20"/>
                  <a:pt x="520" y="20"/>
                  <a:pt x="524" y="21"/>
                </a:cubicBezTo>
                <a:cubicBezTo>
                  <a:pt x="522" y="19"/>
                  <a:pt x="526" y="20"/>
                  <a:pt x="528" y="20"/>
                </a:cubicBezTo>
                <a:cubicBezTo>
                  <a:pt x="529" y="21"/>
                  <a:pt x="532" y="22"/>
                  <a:pt x="535" y="23"/>
                </a:cubicBezTo>
                <a:cubicBezTo>
                  <a:pt x="534" y="23"/>
                  <a:pt x="535" y="22"/>
                  <a:pt x="533" y="22"/>
                </a:cubicBezTo>
                <a:close/>
                <a:moveTo>
                  <a:pt x="513" y="21"/>
                </a:moveTo>
                <a:cubicBezTo>
                  <a:pt x="515" y="21"/>
                  <a:pt x="520" y="24"/>
                  <a:pt x="520" y="23"/>
                </a:cubicBezTo>
                <a:cubicBezTo>
                  <a:pt x="516" y="22"/>
                  <a:pt x="514" y="21"/>
                  <a:pt x="513" y="21"/>
                </a:cubicBezTo>
                <a:close/>
                <a:moveTo>
                  <a:pt x="499" y="13"/>
                </a:moveTo>
                <a:cubicBezTo>
                  <a:pt x="501" y="14"/>
                  <a:pt x="499" y="14"/>
                  <a:pt x="502" y="15"/>
                </a:cubicBezTo>
                <a:cubicBezTo>
                  <a:pt x="501" y="14"/>
                  <a:pt x="504" y="14"/>
                  <a:pt x="502" y="14"/>
                </a:cubicBezTo>
                <a:cubicBezTo>
                  <a:pt x="502" y="14"/>
                  <a:pt x="499" y="13"/>
                  <a:pt x="499" y="13"/>
                </a:cubicBezTo>
                <a:close/>
                <a:moveTo>
                  <a:pt x="497" y="13"/>
                </a:moveTo>
                <a:cubicBezTo>
                  <a:pt x="502" y="15"/>
                  <a:pt x="497" y="14"/>
                  <a:pt x="497" y="15"/>
                </a:cubicBezTo>
                <a:cubicBezTo>
                  <a:pt x="499" y="15"/>
                  <a:pt x="500" y="16"/>
                  <a:pt x="501" y="16"/>
                </a:cubicBezTo>
                <a:cubicBezTo>
                  <a:pt x="500" y="15"/>
                  <a:pt x="499" y="13"/>
                  <a:pt x="497" y="13"/>
                </a:cubicBezTo>
                <a:close/>
                <a:moveTo>
                  <a:pt x="494" y="15"/>
                </a:moveTo>
                <a:cubicBezTo>
                  <a:pt x="494" y="14"/>
                  <a:pt x="496" y="15"/>
                  <a:pt x="496" y="14"/>
                </a:cubicBezTo>
                <a:cubicBezTo>
                  <a:pt x="492" y="13"/>
                  <a:pt x="493" y="14"/>
                  <a:pt x="494" y="15"/>
                </a:cubicBezTo>
                <a:close/>
                <a:moveTo>
                  <a:pt x="441" y="7"/>
                </a:moveTo>
                <a:cubicBezTo>
                  <a:pt x="441" y="7"/>
                  <a:pt x="443" y="7"/>
                  <a:pt x="445" y="7"/>
                </a:cubicBezTo>
                <a:cubicBezTo>
                  <a:pt x="444" y="7"/>
                  <a:pt x="445" y="7"/>
                  <a:pt x="444" y="7"/>
                </a:cubicBezTo>
                <a:cubicBezTo>
                  <a:pt x="444" y="7"/>
                  <a:pt x="439" y="7"/>
                  <a:pt x="441" y="7"/>
                </a:cubicBezTo>
                <a:close/>
                <a:moveTo>
                  <a:pt x="436" y="6"/>
                </a:moveTo>
                <a:cubicBezTo>
                  <a:pt x="433" y="6"/>
                  <a:pt x="434" y="5"/>
                  <a:pt x="431" y="6"/>
                </a:cubicBezTo>
                <a:cubicBezTo>
                  <a:pt x="431" y="6"/>
                  <a:pt x="433" y="6"/>
                  <a:pt x="432" y="7"/>
                </a:cubicBezTo>
                <a:cubicBezTo>
                  <a:pt x="434" y="7"/>
                  <a:pt x="436" y="8"/>
                  <a:pt x="437" y="7"/>
                </a:cubicBezTo>
                <a:cubicBezTo>
                  <a:pt x="432" y="7"/>
                  <a:pt x="433" y="6"/>
                  <a:pt x="436" y="6"/>
                </a:cubicBezTo>
                <a:close/>
                <a:moveTo>
                  <a:pt x="424" y="8"/>
                </a:moveTo>
                <a:cubicBezTo>
                  <a:pt x="420" y="7"/>
                  <a:pt x="426" y="6"/>
                  <a:pt x="421" y="7"/>
                </a:cubicBezTo>
                <a:cubicBezTo>
                  <a:pt x="423" y="7"/>
                  <a:pt x="420" y="8"/>
                  <a:pt x="424" y="8"/>
                </a:cubicBezTo>
                <a:close/>
                <a:moveTo>
                  <a:pt x="415" y="4"/>
                </a:moveTo>
                <a:cubicBezTo>
                  <a:pt x="415" y="4"/>
                  <a:pt x="414" y="4"/>
                  <a:pt x="413" y="4"/>
                </a:cubicBezTo>
                <a:cubicBezTo>
                  <a:pt x="415" y="4"/>
                  <a:pt x="417" y="5"/>
                  <a:pt x="420" y="5"/>
                </a:cubicBezTo>
                <a:cubicBezTo>
                  <a:pt x="420" y="4"/>
                  <a:pt x="417" y="4"/>
                  <a:pt x="415" y="4"/>
                </a:cubicBezTo>
                <a:close/>
                <a:moveTo>
                  <a:pt x="417" y="5"/>
                </a:moveTo>
                <a:cubicBezTo>
                  <a:pt x="417" y="6"/>
                  <a:pt x="414" y="6"/>
                  <a:pt x="412" y="5"/>
                </a:cubicBezTo>
                <a:cubicBezTo>
                  <a:pt x="412" y="6"/>
                  <a:pt x="415" y="6"/>
                  <a:pt x="416" y="7"/>
                </a:cubicBezTo>
                <a:cubicBezTo>
                  <a:pt x="416" y="7"/>
                  <a:pt x="417" y="7"/>
                  <a:pt x="418" y="7"/>
                </a:cubicBezTo>
                <a:cubicBezTo>
                  <a:pt x="413" y="6"/>
                  <a:pt x="418" y="6"/>
                  <a:pt x="419" y="6"/>
                </a:cubicBezTo>
                <a:cubicBezTo>
                  <a:pt x="419" y="6"/>
                  <a:pt x="419" y="5"/>
                  <a:pt x="417" y="5"/>
                </a:cubicBezTo>
                <a:close/>
                <a:moveTo>
                  <a:pt x="412" y="4"/>
                </a:moveTo>
                <a:cubicBezTo>
                  <a:pt x="409" y="4"/>
                  <a:pt x="409" y="5"/>
                  <a:pt x="410" y="5"/>
                </a:cubicBezTo>
                <a:cubicBezTo>
                  <a:pt x="409" y="4"/>
                  <a:pt x="414" y="5"/>
                  <a:pt x="413" y="5"/>
                </a:cubicBezTo>
                <a:cubicBezTo>
                  <a:pt x="410" y="4"/>
                  <a:pt x="413" y="4"/>
                  <a:pt x="412" y="4"/>
                </a:cubicBezTo>
                <a:close/>
                <a:moveTo>
                  <a:pt x="409" y="5"/>
                </a:moveTo>
                <a:cubicBezTo>
                  <a:pt x="405" y="5"/>
                  <a:pt x="405" y="5"/>
                  <a:pt x="405" y="5"/>
                </a:cubicBezTo>
                <a:cubicBezTo>
                  <a:pt x="404" y="6"/>
                  <a:pt x="408" y="6"/>
                  <a:pt x="407" y="7"/>
                </a:cubicBezTo>
                <a:cubicBezTo>
                  <a:pt x="409" y="7"/>
                  <a:pt x="409" y="7"/>
                  <a:pt x="412" y="8"/>
                </a:cubicBezTo>
                <a:cubicBezTo>
                  <a:pt x="411" y="7"/>
                  <a:pt x="404" y="6"/>
                  <a:pt x="409" y="5"/>
                </a:cubicBezTo>
                <a:close/>
                <a:moveTo>
                  <a:pt x="391" y="7"/>
                </a:moveTo>
                <a:cubicBezTo>
                  <a:pt x="393" y="7"/>
                  <a:pt x="395" y="7"/>
                  <a:pt x="397" y="7"/>
                </a:cubicBezTo>
                <a:cubicBezTo>
                  <a:pt x="397" y="7"/>
                  <a:pt x="397" y="7"/>
                  <a:pt x="397" y="7"/>
                </a:cubicBezTo>
                <a:cubicBezTo>
                  <a:pt x="395" y="7"/>
                  <a:pt x="393" y="7"/>
                  <a:pt x="391" y="7"/>
                </a:cubicBezTo>
                <a:close/>
                <a:moveTo>
                  <a:pt x="376" y="46"/>
                </a:moveTo>
                <a:cubicBezTo>
                  <a:pt x="376" y="47"/>
                  <a:pt x="379" y="47"/>
                  <a:pt x="380" y="47"/>
                </a:cubicBezTo>
                <a:cubicBezTo>
                  <a:pt x="378" y="47"/>
                  <a:pt x="378" y="46"/>
                  <a:pt x="376" y="46"/>
                </a:cubicBezTo>
                <a:close/>
                <a:moveTo>
                  <a:pt x="354" y="47"/>
                </a:moveTo>
                <a:cubicBezTo>
                  <a:pt x="353" y="48"/>
                  <a:pt x="359" y="47"/>
                  <a:pt x="359" y="47"/>
                </a:cubicBezTo>
                <a:cubicBezTo>
                  <a:pt x="357" y="47"/>
                  <a:pt x="357" y="46"/>
                  <a:pt x="354" y="47"/>
                </a:cubicBezTo>
                <a:close/>
                <a:moveTo>
                  <a:pt x="323" y="15"/>
                </a:moveTo>
                <a:cubicBezTo>
                  <a:pt x="323" y="16"/>
                  <a:pt x="322" y="16"/>
                  <a:pt x="324" y="16"/>
                </a:cubicBezTo>
                <a:cubicBezTo>
                  <a:pt x="326" y="16"/>
                  <a:pt x="326" y="15"/>
                  <a:pt x="323" y="15"/>
                </a:cubicBezTo>
                <a:close/>
                <a:moveTo>
                  <a:pt x="325" y="47"/>
                </a:moveTo>
                <a:cubicBezTo>
                  <a:pt x="324" y="48"/>
                  <a:pt x="328" y="47"/>
                  <a:pt x="329" y="46"/>
                </a:cubicBezTo>
                <a:cubicBezTo>
                  <a:pt x="327" y="47"/>
                  <a:pt x="327" y="46"/>
                  <a:pt x="325" y="47"/>
                </a:cubicBezTo>
                <a:close/>
                <a:moveTo>
                  <a:pt x="321" y="51"/>
                </a:moveTo>
                <a:cubicBezTo>
                  <a:pt x="324" y="50"/>
                  <a:pt x="323" y="50"/>
                  <a:pt x="321" y="51"/>
                </a:cubicBezTo>
                <a:cubicBezTo>
                  <a:pt x="323" y="51"/>
                  <a:pt x="325" y="50"/>
                  <a:pt x="327" y="50"/>
                </a:cubicBezTo>
                <a:cubicBezTo>
                  <a:pt x="328" y="50"/>
                  <a:pt x="328" y="49"/>
                  <a:pt x="328" y="49"/>
                </a:cubicBezTo>
                <a:cubicBezTo>
                  <a:pt x="325" y="50"/>
                  <a:pt x="321" y="49"/>
                  <a:pt x="321" y="51"/>
                </a:cubicBezTo>
                <a:close/>
                <a:moveTo>
                  <a:pt x="316" y="18"/>
                </a:moveTo>
                <a:cubicBezTo>
                  <a:pt x="319" y="17"/>
                  <a:pt x="317" y="18"/>
                  <a:pt x="320" y="18"/>
                </a:cubicBezTo>
                <a:cubicBezTo>
                  <a:pt x="319" y="17"/>
                  <a:pt x="321" y="17"/>
                  <a:pt x="321" y="16"/>
                </a:cubicBezTo>
                <a:cubicBezTo>
                  <a:pt x="318" y="17"/>
                  <a:pt x="319" y="17"/>
                  <a:pt x="317" y="17"/>
                </a:cubicBezTo>
                <a:cubicBezTo>
                  <a:pt x="317" y="17"/>
                  <a:pt x="317" y="17"/>
                  <a:pt x="316" y="18"/>
                </a:cubicBezTo>
                <a:close/>
                <a:moveTo>
                  <a:pt x="311" y="35"/>
                </a:moveTo>
                <a:cubicBezTo>
                  <a:pt x="312" y="34"/>
                  <a:pt x="316" y="34"/>
                  <a:pt x="315" y="34"/>
                </a:cubicBezTo>
                <a:cubicBezTo>
                  <a:pt x="314" y="34"/>
                  <a:pt x="308" y="35"/>
                  <a:pt x="311" y="35"/>
                </a:cubicBezTo>
                <a:close/>
                <a:moveTo>
                  <a:pt x="314" y="49"/>
                </a:moveTo>
                <a:cubicBezTo>
                  <a:pt x="314" y="50"/>
                  <a:pt x="318" y="49"/>
                  <a:pt x="318" y="49"/>
                </a:cubicBezTo>
                <a:lnTo>
                  <a:pt x="314" y="49"/>
                </a:lnTo>
                <a:close/>
                <a:moveTo>
                  <a:pt x="308" y="47"/>
                </a:moveTo>
                <a:cubicBezTo>
                  <a:pt x="308" y="48"/>
                  <a:pt x="314" y="46"/>
                  <a:pt x="315" y="46"/>
                </a:cubicBezTo>
                <a:cubicBezTo>
                  <a:pt x="315" y="46"/>
                  <a:pt x="315" y="45"/>
                  <a:pt x="316" y="45"/>
                </a:cubicBezTo>
                <a:cubicBezTo>
                  <a:pt x="313" y="46"/>
                  <a:pt x="309" y="47"/>
                  <a:pt x="308" y="47"/>
                </a:cubicBezTo>
                <a:close/>
                <a:moveTo>
                  <a:pt x="302" y="21"/>
                </a:moveTo>
                <a:cubicBezTo>
                  <a:pt x="305" y="21"/>
                  <a:pt x="305" y="20"/>
                  <a:pt x="306" y="20"/>
                </a:cubicBezTo>
                <a:cubicBezTo>
                  <a:pt x="306" y="19"/>
                  <a:pt x="307" y="19"/>
                  <a:pt x="307" y="19"/>
                </a:cubicBezTo>
                <a:cubicBezTo>
                  <a:pt x="304" y="20"/>
                  <a:pt x="303" y="20"/>
                  <a:pt x="302" y="21"/>
                </a:cubicBezTo>
                <a:close/>
                <a:moveTo>
                  <a:pt x="314" y="52"/>
                </a:moveTo>
                <a:cubicBezTo>
                  <a:pt x="313" y="52"/>
                  <a:pt x="311" y="53"/>
                  <a:pt x="311" y="53"/>
                </a:cubicBezTo>
                <a:cubicBezTo>
                  <a:pt x="314" y="52"/>
                  <a:pt x="313" y="53"/>
                  <a:pt x="315" y="52"/>
                </a:cubicBezTo>
                <a:cubicBezTo>
                  <a:pt x="315" y="52"/>
                  <a:pt x="315" y="52"/>
                  <a:pt x="314" y="52"/>
                </a:cubicBezTo>
                <a:close/>
                <a:moveTo>
                  <a:pt x="309" y="42"/>
                </a:moveTo>
                <a:cubicBezTo>
                  <a:pt x="307" y="43"/>
                  <a:pt x="305" y="43"/>
                  <a:pt x="304" y="44"/>
                </a:cubicBezTo>
                <a:cubicBezTo>
                  <a:pt x="306" y="44"/>
                  <a:pt x="309" y="43"/>
                  <a:pt x="310" y="42"/>
                </a:cubicBezTo>
                <a:cubicBezTo>
                  <a:pt x="310" y="42"/>
                  <a:pt x="310" y="41"/>
                  <a:pt x="309" y="41"/>
                </a:cubicBezTo>
                <a:lnTo>
                  <a:pt x="309" y="42"/>
                </a:lnTo>
                <a:close/>
                <a:moveTo>
                  <a:pt x="306" y="49"/>
                </a:moveTo>
                <a:cubicBezTo>
                  <a:pt x="308" y="49"/>
                  <a:pt x="309" y="49"/>
                  <a:pt x="310" y="49"/>
                </a:cubicBezTo>
                <a:cubicBezTo>
                  <a:pt x="310" y="48"/>
                  <a:pt x="310" y="48"/>
                  <a:pt x="311" y="48"/>
                </a:cubicBezTo>
                <a:cubicBezTo>
                  <a:pt x="311" y="48"/>
                  <a:pt x="311" y="48"/>
                  <a:pt x="311" y="48"/>
                </a:cubicBezTo>
                <a:cubicBezTo>
                  <a:pt x="308" y="49"/>
                  <a:pt x="307" y="48"/>
                  <a:pt x="306" y="49"/>
                </a:cubicBezTo>
                <a:close/>
                <a:moveTo>
                  <a:pt x="306" y="51"/>
                </a:moveTo>
                <a:cubicBezTo>
                  <a:pt x="307" y="51"/>
                  <a:pt x="308" y="50"/>
                  <a:pt x="309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07" y="50"/>
                  <a:pt x="304" y="51"/>
                  <a:pt x="306" y="51"/>
                </a:cubicBezTo>
                <a:close/>
                <a:moveTo>
                  <a:pt x="307" y="53"/>
                </a:moveTo>
                <a:cubicBezTo>
                  <a:pt x="309" y="53"/>
                  <a:pt x="306" y="54"/>
                  <a:pt x="306" y="54"/>
                </a:cubicBezTo>
                <a:cubicBezTo>
                  <a:pt x="309" y="54"/>
                  <a:pt x="310" y="53"/>
                  <a:pt x="311" y="52"/>
                </a:cubicBezTo>
                <a:cubicBezTo>
                  <a:pt x="310" y="52"/>
                  <a:pt x="308" y="53"/>
                  <a:pt x="307" y="53"/>
                </a:cubicBezTo>
                <a:close/>
                <a:moveTo>
                  <a:pt x="308" y="54"/>
                </a:moveTo>
                <a:cubicBezTo>
                  <a:pt x="305" y="55"/>
                  <a:pt x="306" y="55"/>
                  <a:pt x="305" y="56"/>
                </a:cubicBezTo>
                <a:cubicBezTo>
                  <a:pt x="308" y="55"/>
                  <a:pt x="309" y="56"/>
                  <a:pt x="310" y="55"/>
                </a:cubicBezTo>
                <a:cubicBezTo>
                  <a:pt x="308" y="55"/>
                  <a:pt x="308" y="55"/>
                  <a:pt x="308" y="54"/>
                </a:cubicBezTo>
                <a:close/>
                <a:moveTo>
                  <a:pt x="302" y="38"/>
                </a:moveTo>
                <a:cubicBezTo>
                  <a:pt x="300" y="39"/>
                  <a:pt x="300" y="39"/>
                  <a:pt x="300" y="40"/>
                </a:cubicBezTo>
                <a:cubicBezTo>
                  <a:pt x="303" y="39"/>
                  <a:pt x="303" y="39"/>
                  <a:pt x="302" y="38"/>
                </a:cubicBezTo>
                <a:close/>
                <a:moveTo>
                  <a:pt x="301" y="46"/>
                </a:moveTo>
                <a:cubicBezTo>
                  <a:pt x="300" y="47"/>
                  <a:pt x="300" y="47"/>
                  <a:pt x="299" y="47"/>
                </a:cubicBezTo>
                <a:cubicBezTo>
                  <a:pt x="299" y="47"/>
                  <a:pt x="297" y="48"/>
                  <a:pt x="299" y="48"/>
                </a:cubicBezTo>
                <a:cubicBezTo>
                  <a:pt x="300" y="47"/>
                  <a:pt x="305" y="45"/>
                  <a:pt x="302" y="46"/>
                </a:cubicBezTo>
                <a:cubicBezTo>
                  <a:pt x="302" y="46"/>
                  <a:pt x="301" y="46"/>
                  <a:pt x="301" y="46"/>
                </a:cubicBezTo>
                <a:close/>
                <a:moveTo>
                  <a:pt x="300" y="51"/>
                </a:moveTo>
                <a:cubicBezTo>
                  <a:pt x="300" y="51"/>
                  <a:pt x="303" y="50"/>
                  <a:pt x="303" y="50"/>
                </a:cubicBezTo>
                <a:cubicBezTo>
                  <a:pt x="301" y="50"/>
                  <a:pt x="297" y="52"/>
                  <a:pt x="300" y="51"/>
                </a:cubicBezTo>
                <a:close/>
                <a:moveTo>
                  <a:pt x="296" y="41"/>
                </a:moveTo>
                <a:cubicBezTo>
                  <a:pt x="296" y="40"/>
                  <a:pt x="297" y="40"/>
                  <a:pt x="297" y="40"/>
                </a:cubicBezTo>
                <a:cubicBezTo>
                  <a:pt x="294" y="40"/>
                  <a:pt x="293" y="42"/>
                  <a:pt x="296" y="41"/>
                </a:cubicBezTo>
                <a:close/>
                <a:moveTo>
                  <a:pt x="295" y="49"/>
                </a:moveTo>
                <a:cubicBezTo>
                  <a:pt x="293" y="50"/>
                  <a:pt x="294" y="51"/>
                  <a:pt x="297" y="51"/>
                </a:cubicBezTo>
                <a:cubicBezTo>
                  <a:pt x="298" y="50"/>
                  <a:pt x="294" y="50"/>
                  <a:pt x="297" y="49"/>
                </a:cubicBezTo>
                <a:cubicBezTo>
                  <a:pt x="296" y="49"/>
                  <a:pt x="296" y="49"/>
                  <a:pt x="295" y="49"/>
                </a:cubicBezTo>
                <a:close/>
                <a:moveTo>
                  <a:pt x="296" y="54"/>
                </a:moveTo>
                <a:cubicBezTo>
                  <a:pt x="296" y="55"/>
                  <a:pt x="294" y="55"/>
                  <a:pt x="294" y="55"/>
                </a:cubicBezTo>
                <a:cubicBezTo>
                  <a:pt x="294" y="56"/>
                  <a:pt x="294" y="56"/>
                  <a:pt x="295" y="57"/>
                </a:cubicBezTo>
                <a:cubicBezTo>
                  <a:pt x="293" y="57"/>
                  <a:pt x="293" y="57"/>
                  <a:pt x="293" y="57"/>
                </a:cubicBezTo>
                <a:cubicBezTo>
                  <a:pt x="293" y="58"/>
                  <a:pt x="293" y="58"/>
                  <a:pt x="292" y="58"/>
                </a:cubicBezTo>
                <a:cubicBezTo>
                  <a:pt x="294" y="58"/>
                  <a:pt x="294" y="58"/>
                  <a:pt x="295" y="58"/>
                </a:cubicBezTo>
                <a:cubicBezTo>
                  <a:pt x="293" y="58"/>
                  <a:pt x="293" y="57"/>
                  <a:pt x="297" y="57"/>
                </a:cubicBezTo>
                <a:cubicBezTo>
                  <a:pt x="297" y="56"/>
                  <a:pt x="295" y="56"/>
                  <a:pt x="295" y="56"/>
                </a:cubicBezTo>
                <a:cubicBezTo>
                  <a:pt x="295" y="55"/>
                  <a:pt x="299" y="54"/>
                  <a:pt x="298" y="54"/>
                </a:cubicBezTo>
                <a:cubicBezTo>
                  <a:pt x="297" y="55"/>
                  <a:pt x="297" y="54"/>
                  <a:pt x="296" y="54"/>
                </a:cubicBezTo>
                <a:close/>
                <a:moveTo>
                  <a:pt x="286" y="51"/>
                </a:moveTo>
                <a:cubicBezTo>
                  <a:pt x="286" y="52"/>
                  <a:pt x="282" y="52"/>
                  <a:pt x="282" y="53"/>
                </a:cubicBezTo>
                <a:cubicBezTo>
                  <a:pt x="285" y="52"/>
                  <a:pt x="292" y="51"/>
                  <a:pt x="293" y="49"/>
                </a:cubicBezTo>
                <a:cubicBezTo>
                  <a:pt x="289" y="50"/>
                  <a:pt x="289" y="51"/>
                  <a:pt x="286" y="51"/>
                </a:cubicBezTo>
                <a:close/>
                <a:moveTo>
                  <a:pt x="287" y="58"/>
                </a:moveTo>
                <a:cubicBezTo>
                  <a:pt x="291" y="56"/>
                  <a:pt x="292" y="55"/>
                  <a:pt x="293" y="54"/>
                </a:cubicBezTo>
                <a:cubicBezTo>
                  <a:pt x="288" y="56"/>
                  <a:pt x="290" y="56"/>
                  <a:pt x="287" y="58"/>
                </a:cubicBezTo>
                <a:close/>
                <a:moveTo>
                  <a:pt x="286" y="51"/>
                </a:moveTo>
                <a:cubicBezTo>
                  <a:pt x="288" y="50"/>
                  <a:pt x="291" y="49"/>
                  <a:pt x="291" y="48"/>
                </a:cubicBezTo>
                <a:cubicBezTo>
                  <a:pt x="289" y="49"/>
                  <a:pt x="285" y="51"/>
                  <a:pt x="286" y="51"/>
                </a:cubicBezTo>
                <a:close/>
                <a:moveTo>
                  <a:pt x="288" y="60"/>
                </a:moveTo>
                <a:cubicBezTo>
                  <a:pt x="289" y="60"/>
                  <a:pt x="294" y="59"/>
                  <a:pt x="294" y="59"/>
                </a:cubicBezTo>
                <a:cubicBezTo>
                  <a:pt x="293" y="59"/>
                  <a:pt x="289" y="59"/>
                  <a:pt x="288" y="60"/>
                </a:cubicBezTo>
                <a:close/>
                <a:moveTo>
                  <a:pt x="283" y="27"/>
                </a:moveTo>
                <a:cubicBezTo>
                  <a:pt x="276" y="29"/>
                  <a:pt x="276" y="29"/>
                  <a:pt x="276" y="29"/>
                </a:cubicBezTo>
                <a:cubicBezTo>
                  <a:pt x="277" y="30"/>
                  <a:pt x="274" y="30"/>
                  <a:pt x="274" y="31"/>
                </a:cubicBezTo>
                <a:cubicBezTo>
                  <a:pt x="278" y="29"/>
                  <a:pt x="276" y="29"/>
                  <a:pt x="281" y="28"/>
                </a:cubicBezTo>
                <a:cubicBezTo>
                  <a:pt x="281" y="28"/>
                  <a:pt x="279" y="29"/>
                  <a:pt x="280" y="29"/>
                </a:cubicBezTo>
                <a:cubicBezTo>
                  <a:pt x="282" y="28"/>
                  <a:pt x="282" y="29"/>
                  <a:pt x="284" y="28"/>
                </a:cubicBezTo>
                <a:cubicBezTo>
                  <a:pt x="285" y="27"/>
                  <a:pt x="281" y="28"/>
                  <a:pt x="283" y="27"/>
                </a:cubicBezTo>
                <a:close/>
                <a:moveTo>
                  <a:pt x="291" y="52"/>
                </a:moveTo>
                <a:cubicBezTo>
                  <a:pt x="291" y="51"/>
                  <a:pt x="289" y="52"/>
                  <a:pt x="291" y="51"/>
                </a:cubicBezTo>
                <a:cubicBezTo>
                  <a:pt x="285" y="53"/>
                  <a:pt x="289" y="53"/>
                  <a:pt x="291" y="52"/>
                </a:cubicBezTo>
                <a:close/>
                <a:moveTo>
                  <a:pt x="282" y="46"/>
                </a:moveTo>
                <a:cubicBezTo>
                  <a:pt x="282" y="46"/>
                  <a:pt x="281" y="46"/>
                  <a:pt x="281" y="47"/>
                </a:cubicBezTo>
                <a:cubicBezTo>
                  <a:pt x="283" y="46"/>
                  <a:pt x="285" y="46"/>
                  <a:pt x="286" y="45"/>
                </a:cubicBezTo>
                <a:cubicBezTo>
                  <a:pt x="284" y="45"/>
                  <a:pt x="284" y="45"/>
                  <a:pt x="282" y="46"/>
                </a:cubicBezTo>
                <a:close/>
                <a:moveTo>
                  <a:pt x="275" y="46"/>
                </a:moveTo>
                <a:cubicBezTo>
                  <a:pt x="277" y="46"/>
                  <a:pt x="280" y="44"/>
                  <a:pt x="281" y="44"/>
                </a:cubicBezTo>
                <a:cubicBezTo>
                  <a:pt x="282" y="44"/>
                  <a:pt x="286" y="42"/>
                  <a:pt x="284" y="42"/>
                </a:cubicBezTo>
                <a:cubicBezTo>
                  <a:pt x="283" y="43"/>
                  <a:pt x="276" y="45"/>
                  <a:pt x="275" y="46"/>
                </a:cubicBezTo>
                <a:close/>
                <a:moveTo>
                  <a:pt x="284" y="57"/>
                </a:moveTo>
                <a:cubicBezTo>
                  <a:pt x="285" y="56"/>
                  <a:pt x="283" y="55"/>
                  <a:pt x="287" y="54"/>
                </a:cubicBezTo>
                <a:cubicBezTo>
                  <a:pt x="288" y="53"/>
                  <a:pt x="286" y="54"/>
                  <a:pt x="285" y="54"/>
                </a:cubicBezTo>
                <a:cubicBezTo>
                  <a:pt x="284" y="55"/>
                  <a:pt x="285" y="55"/>
                  <a:pt x="283" y="56"/>
                </a:cubicBezTo>
                <a:cubicBezTo>
                  <a:pt x="282" y="56"/>
                  <a:pt x="285" y="56"/>
                  <a:pt x="281" y="57"/>
                </a:cubicBezTo>
                <a:cubicBezTo>
                  <a:pt x="281" y="58"/>
                  <a:pt x="283" y="57"/>
                  <a:pt x="284" y="57"/>
                </a:cubicBezTo>
                <a:cubicBezTo>
                  <a:pt x="283" y="57"/>
                  <a:pt x="283" y="57"/>
                  <a:pt x="284" y="57"/>
                </a:cubicBezTo>
                <a:close/>
                <a:moveTo>
                  <a:pt x="279" y="43"/>
                </a:moveTo>
                <a:cubicBezTo>
                  <a:pt x="279" y="43"/>
                  <a:pt x="279" y="43"/>
                  <a:pt x="280" y="43"/>
                </a:cubicBezTo>
                <a:cubicBezTo>
                  <a:pt x="280" y="43"/>
                  <a:pt x="283" y="42"/>
                  <a:pt x="283" y="42"/>
                </a:cubicBezTo>
                <a:cubicBezTo>
                  <a:pt x="281" y="42"/>
                  <a:pt x="281" y="42"/>
                  <a:pt x="279" y="43"/>
                </a:cubicBezTo>
                <a:close/>
                <a:moveTo>
                  <a:pt x="273" y="49"/>
                </a:moveTo>
                <a:cubicBezTo>
                  <a:pt x="277" y="47"/>
                  <a:pt x="276" y="49"/>
                  <a:pt x="277" y="48"/>
                </a:cubicBezTo>
                <a:cubicBezTo>
                  <a:pt x="278" y="48"/>
                  <a:pt x="278" y="48"/>
                  <a:pt x="278" y="47"/>
                </a:cubicBezTo>
                <a:cubicBezTo>
                  <a:pt x="276" y="48"/>
                  <a:pt x="274" y="48"/>
                  <a:pt x="273" y="49"/>
                </a:cubicBezTo>
                <a:close/>
                <a:moveTo>
                  <a:pt x="274" y="62"/>
                </a:moveTo>
                <a:cubicBezTo>
                  <a:pt x="273" y="62"/>
                  <a:pt x="272" y="63"/>
                  <a:pt x="272" y="63"/>
                </a:cubicBezTo>
                <a:cubicBezTo>
                  <a:pt x="273" y="62"/>
                  <a:pt x="274" y="63"/>
                  <a:pt x="275" y="62"/>
                </a:cubicBezTo>
                <a:cubicBezTo>
                  <a:pt x="274" y="62"/>
                  <a:pt x="281" y="60"/>
                  <a:pt x="282" y="59"/>
                </a:cubicBezTo>
                <a:cubicBezTo>
                  <a:pt x="281" y="60"/>
                  <a:pt x="280" y="60"/>
                  <a:pt x="280" y="60"/>
                </a:cubicBezTo>
                <a:cubicBezTo>
                  <a:pt x="279" y="60"/>
                  <a:pt x="280" y="59"/>
                  <a:pt x="278" y="59"/>
                </a:cubicBezTo>
                <a:cubicBezTo>
                  <a:pt x="279" y="60"/>
                  <a:pt x="277" y="60"/>
                  <a:pt x="275" y="61"/>
                </a:cubicBezTo>
                <a:cubicBezTo>
                  <a:pt x="276" y="61"/>
                  <a:pt x="275" y="61"/>
                  <a:pt x="274" y="62"/>
                </a:cubicBezTo>
                <a:close/>
                <a:moveTo>
                  <a:pt x="270" y="48"/>
                </a:moveTo>
                <a:cubicBezTo>
                  <a:pt x="270" y="49"/>
                  <a:pt x="273" y="48"/>
                  <a:pt x="276" y="47"/>
                </a:cubicBezTo>
                <a:cubicBezTo>
                  <a:pt x="273" y="47"/>
                  <a:pt x="273" y="46"/>
                  <a:pt x="271" y="47"/>
                </a:cubicBezTo>
                <a:cubicBezTo>
                  <a:pt x="272" y="47"/>
                  <a:pt x="274" y="47"/>
                  <a:pt x="270" y="48"/>
                </a:cubicBezTo>
                <a:close/>
                <a:moveTo>
                  <a:pt x="276" y="60"/>
                </a:moveTo>
                <a:cubicBezTo>
                  <a:pt x="276" y="60"/>
                  <a:pt x="277" y="59"/>
                  <a:pt x="276" y="59"/>
                </a:cubicBezTo>
                <a:cubicBezTo>
                  <a:pt x="270" y="61"/>
                  <a:pt x="269" y="62"/>
                  <a:pt x="276" y="60"/>
                </a:cubicBezTo>
                <a:close/>
                <a:moveTo>
                  <a:pt x="264" y="34"/>
                </a:moveTo>
                <a:cubicBezTo>
                  <a:pt x="262" y="34"/>
                  <a:pt x="261" y="35"/>
                  <a:pt x="261" y="35"/>
                </a:cubicBezTo>
                <a:cubicBezTo>
                  <a:pt x="263" y="35"/>
                  <a:pt x="265" y="34"/>
                  <a:pt x="265" y="34"/>
                </a:cubicBezTo>
                <a:cubicBezTo>
                  <a:pt x="264" y="34"/>
                  <a:pt x="264" y="34"/>
                  <a:pt x="264" y="34"/>
                </a:cubicBezTo>
                <a:close/>
                <a:moveTo>
                  <a:pt x="248" y="40"/>
                </a:moveTo>
                <a:cubicBezTo>
                  <a:pt x="250" y="40"/>
                  <a:pt x="247" y="41"/>
                  <a:pt x="248" y="41"/>
                </a:cubicBezTo>
                <a:cubicBezTo>
                  <a:pt x="251" y="40"/>
                  <a:pt x="250" y="40"/>
                  <a:pt x="252" y="39"/>
                </a:cubicBezTo>
                <a:cubicBezTo>
                  <a:pt x="252" y="39"/>
                  <a:pt x="252" y="40"/>
                  <a:pt x="253" y="39"/>
                </a:cubicBezTo>
                <a:cubicBezTo>
                  <a:pt x="254" y="39"/>
                  <a:pt x="253" y="39"/>
                  <a:pt x="254" y="38"/>
                </a:cubicBezTo>
                <a:cubicBezTo>
                  <a:pt x="257" y="37"/>
                  <a:pt x="256" y="38"/>
                  <a:pt x="259" y="36"/>
                </a:cubicBezTo>
                <a:cubicBezTo>
                  <a:pt x="260" y="36"/>
                  <a:pt x="260" y="36"/>
                  <a:pt x="260" y="35"/>
                </a:cubicBezTo>
                <a:cubicBezTo>
                  <a:pt x="258" y="36"/>
                  <a:pt x="258" y="36"/>
                  <a:pt x="256" y="36"/>
                </a:cubicBezTo>
                <a:cubicBezTo>
                  <a:pt x="258" y="36"/>
                  <a:pt x="253" y="38"/>
                  <a:pt x="254" y="37"/>
                </a:cubicBezTo>
                <a:cubicBezTo>
                  <a:pt x="251" y="38"/>
                  <a:pt x="252" y="39"/>
                  <a:pt x="250" y="40"/>
                </a:cubicBezTo>
                <a:cubicBezTo>
                  <a:pt x="250" y="39"/>
                  <a:pt x="251" y="39"/>
                  <a:pt x="250" y="39"/>
                </a:cubicBezTo>
                <a:cubicBezTo>
                  <a:pt x="245" y="41"/>
                  <a:pt x="242" y="42"/>
                  <a:pt x="238" y="44"/>
                </a:cubicBezTo>
                <a:cubicBezTo>
                  <a:pt x="237" y="45"/>
                  <a:pt x="241" y="44"/>
                  <a:pt x="239" y="45"/>
                </a:cubicBezTo>
                <a:cubicBezTo>
                  <a:pt x="235" y="46"/>
                  <a:pt x="238" y="43"/>
                  <a:pt x="235" y="45"/>
                </a:cubicBezTo>
                <a:cubicBezTo>
                  <a:pt x="236" y="45"/>
                  <a:pt x="236" y="46"/>
                  <a:pt x="238" y="45"/>
                </a:cubicBezTo>
                <a:cubicBezTo>
                  <a:pt x="239" y="44"/>
                  <a:pt x="241" y="44"/>
                  <a:pt x="242" y="44"/>
                </a:cubicBezTo>
                <a:cubicBezTo>
                  <a:pt x="243" y="43"/>
                  <a:pt x="241" y="44"/>
                  <a:pt x="242" y="43"/>
                </a:cubicBezTo>
                <a:cubicBezTo>
                  <a:pt x="245" y="42"/>
                  <a:pt x="246" y="41"/>
                  <a:pt x="248" y="40"/>
                </a:cubicBezTo>
                <a:close/>
                <a:moveTo>
                  <a:pt x="253" y="56"/>
                </a:moveTo>
                <a:cubicBezTo>
                  <a:pt x="253" y="57"/>
                  <a:pt x="253" y="57"/>
                  <a:pt x="254" y="57"/>
                </a:cubicBezTo>
                <a:cubicBezTo>
                  <a:pt x="257" y="55"/>
                  <a:pt x="256" y="56"/>
                  <a:pt x="258" y="55"/>
                </a:cubicBezTo>
                <a:cubicBezTo>
                  <a:pt x="258" y="55"/>
                  <a:pt x="263" y="53"/>
                  <a:pt x="264" y="52"/>
                </a:cubicBezTo>
                <a:cubicBezTo>
                  <a:pt x="260" y="53"/>
                  <a:pt x="255" y="56"/>
                  <a:pt x="253" y="56"/>
                </a:cubicBezTo>
                <a:close/>
                <a:moveTo>
                  <a:pt x="264" y="64"/>
                </a:moveTo>
                <a:cubicBezTo>
                  <a:pt x="267" y="64"/>
                  <a:pt x="264" y="65"/>
                  <a:pt x="263" y="65"/>
                </a:cubicBezTo>
                <a:cubicBezTo>
                  <a:pt x="263" y="66"/>
                  <a:pt x="263" y="66"/>
                  <a:pt x="264" y="66"/>
                </a:cubicBezTo>
                <a:cubicBezTo>
                  <a:pt x="264" y="65"/>
                  <a:pt x="265" y="66"/>
                  <a:pt x="267" y="65"/>
                </a:cubicBezTo>
                <a:cubicBezTo>
                  <a:pt x="268" y="64"/>
                  <a:pt x="268" y="64"/>
                  <a:pt x="268" y="63"/>
                </a:cubicBezTo>
                <a:cubicBezTo>
                  <a:pt x="267" y="64"/>
                  <a:pt x="265" y="63"/>
                  <a:pt x="264" y="64"/>
                </a:cubicBezTo>
                <a:close/>
                <a:moveTo>
                  <a:pt x="261" y="65"/>
                </a:moveTo>
                <a:cubicBezTo>
                  <a:pt x="261" y="65"/>
                  <a:pt x="261" y="65"/>
                  <a:pt x="261" y="65"/>
                </a:cubicBezTo>
                <a:cubicBezTo>
                  <a:pt x="263" y="65"/>
                  <a:pt x="266" y="63"/>
                  <a:pt x="264" y="63"/>
                </a:cubicBezTo>
                <a:cubicBezTo>
                  <a:pt x="264" y="64"/>
                  <a:pt x="263" y="64"/>
                  <a:pt x="261" y="65"/>
                </a:cubicBezTo>
                <a:close/>
                <a:moveTo>
                  <a:pt x="253" y="68"/>
                </a:moveTo>
                <a:cubicBezTo>
                  <a:pt x="255" y="68"/>
                  <a:pt x="258" y="67"/>
                  <a:pt x="259" y="67"/>
                </a:cubicBezTo>
                <a:cubicBezTo>
                  <a:pt x="258" y="67"/>
                  <a:pt x="261" y="66"/>
                  <a:pt x="260" y="66"/>
                </a:cubicBezTo>
                <a:cubicBezTo>
                  <a:pt x="257" y="67"/>
                  <a:pt x="256" y="67"/>
                  <a:pt x="253" y="68"/>
                </a:cubicBezTo>
                <a:close/>
                <a:moveTo>
                  <a:pt x="256" y="64"/>
                </a:moveTo>
                <a:cubicBezTo>
                  <a:pt x="258" y="64"/>
                  <a:pt x="255" y="65"/>
                  <a:pt x="257" y="65"/>
                </a:cubicBezTo>
                <a:cubicBezTo>
                  <a:pt x="258" y="64"/>
                  <a:pt x="257" y="64"/>
                  <a:pt x="258" y="63"/>
                </a:cubicBezTo>
                <a:lnTo>
                  <a:pt x="256" y="64"/>
                </a:lnTo>
                <a:close/>
                <a:moveTo>
                  <a:pt x="249" y="75"/>
                </a:moveTo>
                <a:cubicBezTo>
                  <a:pt x="249" y="75"/>
                  <a:pt x="249" y="75"/>
                  <a:pt x="248" y="75"/>
                </a:cubicBezTo>
                <a:cubicBezTo>
                  <a:pt x="247" y="75"/>
                  <a:pt x="250" y="73"/>
                  <a:pt x="247" y="74"/>
                </a:cubicBezTo>
                <a:cubicBezTo>
                  <a:pt x="250" y="74"/>
                  <a:pt x="243" y="77"/>
                  <a:pt x="246" y="77"/>
                </a:cubicBezTo>
                <a:cubicBezTo>
                  <a:pt x="246" y="77"/>
                  <a:pt x="247" y="76"/>
                  <a:pt x="247" y="76"/>
                </a:cubicBezTo>
                <a:cubicBezTo>
                  <a:pt x="246" y="77"/>
                  <a:pt x="246" y="77"/>
                  <a:pt x="247" y="77"/>
                </a:cubicBezTo>
                <a:cubicBezTo>
                  <a:pt x="249" y="75"/>
                  <a:pt x="255" y="74"/>
                  <a:pt x="257" y="72"/>
                </a:cubicBezTo>
                <a:cubicBezTo>
                  <a:pt x="255" y="72"/>
                  <a:pt x="252" y="74"/>
                  <a:pt x="249" y="75"/>
                </a:cubicBezTo>
                <a:close/>
                <a:moveTo>
                  <a:pt x="248" y="62"/>
                </a:moveTo>
                <a:cubicBezTo>
                  <a:pt x="250" y="61"/>
                  <a:pt x="251" y="61"/>
                  <a:pt x="251" y="60"/>
                </a:cubicBezTo>
                <a:cubicBezTo>
                  <a:pt x="249" y="61"/>
                  <a:pt x="248" y="62"/>
                  <a:pt x="248" y="62"/>
                </a:cubicBezTo>
                <a:close/>
                <a:moveTo>
                  <a:pt x="246" y="67"/>
                </a:moveTo>
                <a:cubicBezTo>
                  <a:pt x="243" y="68"/>
                  <a:pt x="245" y="69"/>
                  <a:pt x="248" y="68"/>
                </a:cubicBezTo>
                <a:cubicBezTo>
                  <a:pt x="248" y="67"/>
                  <a:pt x="246" y="68"/>
                  <a:pt x="246" y="67"/>
                </a:cubicBezTo>
                <a:close/>
                <a:moveTo>
                  <a:pt x="244" y="65"/>
                </a:moveTo>
                <a:cubicBezTo>
                  <a:pt x="243" y="65"/>
                  <a:pt x="245" y="64"/>
                  <a:pt x="245" y="63"/>
                </a:cubicBezTo>
                <a:cubicBezTo>
                  <a:pt x="242" y="64"/>
                  <a:pt x="242" y="66"/>
                  <a:pt x="244" y="65"/>
                </a:cubicBezTo>
                <a:close/>
                <a:moveTo>
                  <a:pt x="241" y="72"/>
                </a:moveTo>
                <a:cubicBezTo>
                  <a:pt x="241" y="72"/>
                  <a:pt x="241" y="71"/>
                  <a:pt x="240" y="71"/>
                </a:cubicBezTo>
                <a:cubicBezTo>
                  <a:pt x="240" y="72"/>
                  <a:pt x="239" y="72"/>
                  <a:pt x="239" y="72"/>
                </a:cubicBezTo>
                <a:cubicBezTo>
                  <a:pt x="239" y="72"/>
                  <a:pt x="238" y="73"/>
                  <a:pt x="238" y="73"/>
                </a:cubicBezTo>
                <a:cubicBezTo>
                  <a:pt x="242" y="71"/>
                  <a:pt x="237" y="74"/>
                  <a:pt x="239" y="74"/>
                </a:cubicBezTo>
                <a:cubicBezTo>
                  <a:pt x="243" y="71"/>
                  <a:pt x="246" y="72"/>
                  <a:pt x="248" y="70"/>
                </a:cubicBezTo>
                <a:cubicBezTo>
                  <a:pt x="245" y="70"/>
                  <a:pt x="241" y="73"/>
                  <a:pt x="239" y="73"/>
                </a:cubicBezTo>
                <a:cubicBezTo>
                  <a:pt x="239" y="73"/>
                  <a:pt x="240" y="72"/>
                  <a:pt x="241" y="72"/>
                </a:cubicBezTo>
                <a:close/>
                <a:moveTo>
                  <a:pt x="239" y="71"/>
                </a:moveTo>
                <a:cubicBezTo>
                  <a:pt x="236" y="72"/>
                  <a:pt x="237" y="73"/>
                  <a:pt x="236" y="74"/>
                </a:cubicBezTo>
                <a:cubicBezTo>
                  <a:pt x="238" y="73"/>
                  <a:pt x="239" y="72"/>
                  <a:pt x="239" y="71"/>
                </a:cubicBezTo>
                <a:close/>
                <a:moveTo>
                  <a:pt x="226" y="49"/>
                </a:moveTo>
                <a:cubicBezTo>
                  <a:pt x="226" y="48"/>
                  <a:pt x="225" y="49"/>
                  <a:pt x="227" y="47"/>
                </a:cubicBezTo>
                <a:cubicBezTo>
                  <a:pt x="225" y="49"/>
                  <a:pt x="222" y="49"/>
                  <a:pt x="221" y="51"/>
                </a:cubicBezTo>
                <a:cubicBezTo>
                  <a:pt x="225" y="49"/>
                  <a:pt x="224" y="50"/>
                  <a:pt x="226" y="50"/>
                </a:cubicBezTo>
                <a:cubicBezTo>
                  <a:pt x="224" y="51"/>
                  <a:pt x="224" y="51"/>
                  <a:pt x="222" y="51"/>
                </a:cubicBezTo>
                <a:cubicBezTo>
                  <a:pt x="223" y="52"/>
                  <a:pt x="227" y="50"/>
                  <a:pt x="230" y="49"/>
                </a:cubicBezTo>
                <a:cubicBezTo>
                  <a:pt x="230" y="48"/>
                  <a:pt x="230" y="48"/>
                  <a:pt x="231" y="47"/>
                </a:cubicBezTo>
                <a:cubicBezTo>
                  <a:pt x="231" y="47"/>
                  <a:pt x="231" y="48"/>
                  <a:pt x="233" y="47"/>
                </a:cubicBezTo>
                <a:cubicBezTo>
                  <a:pt x="233" y="46"/>
                  <a:pt x="233" y="46"/>
                  <a:pt x="233" y="46"/>
                </a:cubicBezTo>
                <a:cubicBezTo>
                  <a:pt x="229" y="48"/>
                  <a:pt x="228" y="48"/>
                  <a:pt x="226" y="49"/>
                </a:cubicBezTo>
                <a:close/>
                <a:moveTo>
                  <a:pt x="235" y="57"/>
                </a:moveTo>
                <a:cubicBezTo>
                  <a:pt x="233" y="58"/>
                  <a:pt x="231" y="59"/>
                  <a:pt x="230" y="59"/>
                </a:cubicBezTo>
                <a:cubicBezTo>
                  <a:pt x="228" y="60"/>
                  <a:pt x="231" y="59"/>
                  <a:pt x="232" y="59"/>
                </a:cubicBezTo>
                <a:cubicBezTo>
                  <a:pt x="232" y="59"/>
                  <a:pt x="231" y="59"/>
                  <a:pt x="233" y="58"/>
                </a:cubicBezTo>
                <a:cubicBezTo>
                  <a:pt x="233" y="58"/>
                  <a:pt x="233" y="59"/>
                  <a:pt x="232" y="59"/>
                </a:cubicBezTo>
                <a:cubicBezTo>
                  <a:pt x="234" y="58"/>
                  <a:pt x="236" y="58"/>
                  <a:pt x="236" y="57"/>
                </a:cubicBezTo>
                <a:cubicBezTo>
                  <a:pt x="235" y="57"/>
                  <a:pt x="235" y="57"/>
                  <a:pt x="235" y="57"/>
                </a:cubicBezTo>
                <a:close/>
                <a:moveTo>
                  <a:pt x="235" y="64"/>
                </a:moveTo>
                <a:cubicBezTo>
                  <a:pt x="237" y="63"/>
                  <a:pt x="235" y="65"/>
                  <a:pt x="235" y="65"/>
                </a:cubicBezTo>
                <a:cubicBezTo>
                  <a:pt x="238" y="64"/>
                  <a:pt x="238" y="64"/>
                  <a:pt x="238" y="63"/>
                </a:cubicBezTo>
                <a:cubicBezTo>
                  <a:pt x="237" y="64"/>
                  <a:pt x="235" y="64"/>
                  <a:pt x="235" y="64"/>
                </a:cubicBezTo>
                <a:close/>
                <a:moveTo>
                  <a:pt x="230" y="61"/>
                </a:moveTo>
                <a:cubicBezTo>
                  <a:pt x="230" y="61"/>
                  <a:pt x="228" y="63"/>
                  <a:pt x="231" y="62"/>
                </a:cubicBezTo>
                <a:cubicBezTo>
                  <a:pt x="230" y="62"/>
                  <a:pt x="232" y="60"/>
                  <a:pt x="232" y="60"/>
                </a:cubicBezTo>
                <a:cubicBezTo>
                  <a:pt x="231" y="60"/>
                  <a:pt x="230" y="61"/>
                  <a:pt x="230" y="61"/>
                </a:cubicBezTo>
                <a:close/>
                <a:moveTo>
                  <a:pt x="227" y="61"/>
                </a:moveTo>
                <a:cubicBezTo>
                  <a:pt x="227" y="62"/>
                  <a:pt x="227" y="62"/>
                  <a:pt x="227" y="62"/>
                </a:cubicBezTo>
                <a:cubicBezTo>
                  <a:pt x="228" y="61"/>
                  <a:pt x="229" y="60"/>
                  <a:pt x="230" y="60"/>
                </a:cubicBezTo>
                <a:cubicBezTo>
                  <a:pt x="230" y="60"/>
                  <a:pt x="229" y="60"/>
                  <a:pt x="227" y="61"/>
                </a:cubicBezTo>
                <a:close/>
                <a:moveTo>
                  <a:pt x="225" y="71"/>
                </a:moveTo>
                <a:cubicBezTo>
                  <a:pt x="228" y="69"/>
                  <a:pt x="229" y="68"/>
                  <a:pt x="232" y="66"/>
                </a:cubicBezTo>
                <a:cubicBezTo>
                  <a:pt x="230" y="67"/>
                  <a:pt x="232" y="66"/>
                  <a:pt x="232" y="65"/>
                </a:cubicBezTo>
                <a:cubicBezTo>
                  <a:pt x="230" y="67"/>
                  <a:pt x="226" y="67"/>
                  <a:pt x="226" y="68"/>
                </a:cubicBezTo>
                <a:cubicBezTo>
                  <a:pt x="227" y="69"/>
                  <a:pt x="228" y="67"/>
                  <a:pt x="230" y="67"/>
                </a:cubicBezTo>
                <a:cubicBezTo>
                  <a:pt x="230" y="67"/>
                  <a:pt x="231" y="67"/>
                  <a:pt x="231" y="67"/>
                </a:cubicBezTo>
                <a:cubicBezTo>
                  <a:pt x="228" y="69"/>
                  <a:pt x="225" y="70"/>
                  <a:pt x="225" y="71"/>
                </a:cubicBezTo>
                <a:close/>
                <a:moveTo>
                  <a:pt x="228" y="73"/>
                </a:moveTo>
                <a:cubicBezTo>
                  <a:pt x="228" y="73"/>
                  <a:pt x="228" y="72"/>
                  <a:pt x="226" y="73"/>
                </a:cubicBezTo>
                <a:cubicBezTo>
                  <a:pt x="227" y="74"/>
                  <a:pt x="227" y="74"/>
                  <a:pt x="227" y="74"/>
                </a:cubicBezTo>
                <a:cubicBezTo>
                  <a:pt x="228" y="73"/>
                  <a:pt x="231" y="72"/>
                  <a:pt x="230" y="72"/>
                </a:cubicBezTo>
                <a:lnTo>
                  <a:pt x="228" y="73"/>
                </a:lnTo>
                <a:close/>
                <a:moveTo>
                  <a:pt x="221" y="77"/>
                </a:moveTo>
                <a:cubicBezTo>
                  <a:pt x="221" y="77"/>
                  <a:pt x="224" y="76"/>
                  <a:pt x="225" y="76"/>
                </a:cubicBezTo>
                <a:cubicBezTo>
                  <a:pt x="224" y="77"/>
                  <a:pt x="222" y="78"/>
                  <a:pt x="221" y="79"/>
                </a:cubicBezTo>
                <a:cubicBezTo>
                  <a:pt x="223" y="78"/>
                  <a:pt x="225" y="77"/>
                  <a:pt x="227" y="76"/>
                </a:cubicBezTo>
                <a:cubicBezTo>
                  <a:pt x="228" y="75"/>
                  <a:pt x="227" y="75"/>
                  <a:pt x="226" y="74"/>
                </a:cubicBezTo>
                <a:cubicBezTo>
                  <a:pt x="224" y="75"/>
                  <a:pt x="223" y="76"/>
                  <a:pt x="222" y="77"/>
                </a:cubicBezTo>
                <a:cubicBezTo>
                  <a:pt x="222" y="76"/>
                  <a:pt x="221" y="76"/>
                  <a:pt x="221" y="77"/>
                </a:cubicBezTo>
                <a:close/>
                <a:moveTo>
                  <a:pt x="224" y="73"/>
                </a:moveTo>
                <a:cubicBezTo>
                  <a:pt x="220" y="76"/>
                  <a:pt x="220" y="76"/>
                  <a:pt x="220" y="76"/>
                </a:cubicBezTo>
                <a:cubicBezTo>
                  <a:pt x="222" y="76"/>
                  <a:pt x="221" y="76"/>
                  <a:pt x="224" y="75"/>
                </a:cubicBezTo>
                <a:cubicBezTo>
                  <a:pt x="223" y="74"/>
                  <a:pt x="226" y="73"/>
                  <a:pt x="224" y="73"/>
                </a:cubicBezTo>
                <a:close/>
                <a:moveTo>
                  <a:pt x="206" y="64"/>
                </a:moveTo>
                <a:cubicBezTo>
                  <a:pt x="207" y="65"/>
                  <a:pt x="208" y="64"/>
                  <a:pt x="207" y="65"/>
                </a:cubicBezTo>
                <a:cubicBezTo>
                  <a:pt x="212" y="62"/>
                  <a:pt x="208" y="64"/>
                  <a:pt x="209" y="63"/>
                </a:cubicBezTo>
                <a:cubicBezTo>
                  <a:pt x="210" y="62"/>
                  <a:pt x="210" y="63"/>
                  <a:pt x="212" y="62"/>
                </a:cubicBezTo>
                <a:cubicBezTo>
                  <a:pt x="212" y="61"/>
                  <a:pt x="209" y="62"/>
                  <a:pt x="206" y="64"/>
                </a:cubicBezTo>
                <a:close/>
                <a:moveTo>
                  <a:pt x="197" y="73"/>
                </a:moveTo>
                <a:cubicBezTo>
                  <a:pt x="198" y="73"/>
                  <a:pt x="198" y="72"/>
                  <a:pt x="198" y="73"/>
                </a:cubicBezTo>
                <a:cubicBezTo>
                  <a:pt x="199" y="72"/>
                  <a:pt x="200" y="71"/>
                  <a:pt x="200" y="71"/>
                </a:cubicBezTo>
                <a:cubicBezTo>
                  <a:pt x="198" y="72"/>
                  <a:pt x="201" y="70"/>
                  <a:pt x="200" y="70"/>
                </a:cubicBezTo>
                <a:cubicBezTo>
                  <a:pt x="197" y="72"/>
                  <a:pt x="200" y="72"/>
                  <a:pt x="197" y="73"/>
                </a:cubicBezTo>
                <a:close/>
                <a:moveTo>
                  <a:pt x="196" y="70"/>
                </a:moveTo>
                <a:cubicBezTo>
                  <a:pt x="196" y="71"/>
                  <a:pt x="198" y="69"/>
                  <a:pt x="197" y="71"/>
                </a:cubicBezTo>
                <a:cubicBezTo>
                  <a:pt x="200" y="69"/>
                  <a:pt x="198" y="68"/>
                  <a:pt x="196" y="70"/>
                </a:cubicBezTo>
                <a:close/>
                <a:moveTo>
                  <a:pt x="191" y="75"/>
                </a:moveTo>
                <a:cubicBezTo>
                  <a:pt x="192" y="74"/>
                  <a:pt x="194" y="72"/>
                  <a:pt x="192" y="73"/>
                </a:cubicBezTo>
                <a:cubicBezTo>
                  <a:pt x="192" y="74"/>
                  <a:pt x="189" y="75"/>
                  <a:pt x="191" y="75"/>
                </a:cubicBezTo>
                <a:close/>
                <a:moveTo>
                  <a:pt x="187" y="76"/>
                </a:moveTo>
                <a:cubicBezTo>
                  <a:pt x="186" y="77"/>
                  <a:pt x="184" y="78"/>
                  <a:pt x="185" y="79"/>
                </a:cubicBezTo>
                <a:cubicBezTo>
                  <a:pt x="185" y="78"/>
                  <a:pt x="187" y="77"/>
                  <a:pt x="187" y="78"/>
                </a:cubicBezTo>
                <a:cubicBezTo>
                  <a:pt x="186" y="78"/>
                  <a:pt x="187" y="78"/>
                  <a:pt x="188" y="77"/>
                </a:cubicBezTo>
                <a:cubicBezTo>
                  <a:pt x="189" y="76"/>
                  <a:pt x="189" y="76"/>
                  <a:pt x="187" y="76"/>
                </a:cubicBezTo>
                <a:close/>
                <a:moveTo>
                  <a:pt x="186" y="75"/>
                </a:moveTo>
                <a:cubicBezTo>
                  <a:pt x="185" y="76"/>
                  <a:pt x="184" y="77"/>
                  <a:pt x="184" y="77"/>
                </a:cubicBezTo>
                <a:cubicBezTo>
                  <a:pt x="183" y="78"/>
                  <a:pt x="188" y="76"/>
                  <a:pt x="188" y="75"/>
                </a:cubicBezTo>
                <a:cubicBezTo>
                  <a:pt x="186" y="76"/>
                  <a:pt x="187" y="75"/>
                  <a:pt x="186" y="75"/>
                </a:cubicBezTo>
                <a:close/>
                <a:moveTo>
                  <a:pt x="186" y="95"/>
                </a:moveTo>
                <a:cubicBezTo>
                  <a:pt x="187" y="94"/>
                  <a:pt x="186" y="95"/>
                  <a:pt x="186" y="95"/>
                </a:cubicBezTo>
                <a:cubicBezTo>
                  <a:pt x="191" y="92"/>
                  <a:pt x="191" y="92"/>
                  <a:pt x="191" y="92"/>
                </a:cubicBezTo>
                <a:cubicBezTo>
                  <a:pt x="192" y="92"/>
                  <a:pt x="191" y="93"/>
                  <a:pt x="193" y="92"/>
                </a:cubicBezTo>
                <a:cubicBezTo>
                  <a:pt x="192" y="92"/>
                  <a:pt x="195" y="91"/>
                  <a:pt x="195" y="90"/>
                </a:cubicBezTo>
                <a:cubicBezTo>
                  <a:pt x="194" y="91"/>
                  <a:pt x="193" y="90"/>
                  <a:pt x="192" y="91"/>
                </a:cubicBezTo>
                <a:cubicBezTo>
                  <a:pt x="190" y="93"/>
                  <a:pt x="187" y="94"/>
                  <a:pt x="186" y="95"/>
                </a:cubicBezTo>
                <a:close/>
                <a:moveTo>
                  <a:pt x="178" y="81"/>
                </a:moveTo>
                <a:cubicBezTo>
                  <a:pt x="176" y="83"/>
                  <a:pt x="179" y="82"/>
                  <a:pt x="180" y="81"/>
                </a:cubicBezTo>
                <a:cubicBezTo>
                  <a:pt x="181" y="80"/>
                  <a:pt x="183" y="79"/>
                  <a:pt x="183" y="79"/>
                </a:cubicBezTo>
                <a:cubicBezTo>
                  <a:pt x="180" y="81"/>
                  <a:pt x="183" y="78"/>
                  <a:pt x="178" y="81"/>
                </a:cubicBezTo>
                <a:close/>
                <a:moveTo>
                  <a:pt x="182" y="80"/>
                </a:moveTo>
                <a:cubicBezTo>
                  <a:pt x="182" y="81"/>
                  <a:pt x="178" y="83"/>
                  <a:pt x="179" y="83"/>
                </a:cubicBezTo>
                <a:cubicBezTo>
                  <a:pt x="181" y="82"/>
                  <a:pt x="182" y="82"/>
                  <a:pt x="183" y="81"/>
                </a:cubicBezTo>
                <a:cubicBezTo>
                  <a:pt x="180" y="82"/>
                  <a:pt x="186" y="79"/>
                  <a:pt x="182" y="80"/>
                </a:cubicBezTo>
                <a:close/>
                <a:moveTo>
                  <a:pt x="182" y="82"/>
                </a:moveTo>
                <a:cubicBezTo>
                  <a:pt x="180" y="84"/>
                  <a:pt x="178" y="86"/>
                  <a:pt x="180" y="86"/>
                </a:cubicBezTo>
                <a:cubicBezTo>
                  <a:pt x="180" y="85"/>
                  <a:pt x="183" y="83"/>
                  <a:pt x="181" y="85"/>
                </a:cubicBezTo>
                <a:cubicBezTo>
                  <a:pt x="186" y="82"/>
                  <a:pt x="180" y="85"/>
                  <a:pt x="183" y="82"/>
                </a:cubicBezTo>
                <a:cubicBezTo>
                  <a:pt x="182" y="82"/>
                  <a:pt x="182" y="83"/>
                  <a:pt x="182" y="82"/>
                </a:cubicBezTo>
                <a:close/>
                <a:moveTo>
                  <a:pt x="165" y="91"/>
                </a:moveTo>
                <a:cubicBezTo>
                  <a:pt x="163" y="92"/>
                  <a:pt x="163" y="92"/>
                  <a:pt x="163" y="93"/>
                </a:cubicBezTo>
                <a:cubicBezTo>
                  <a:pt x="163" y="92"/>
                  <a:pt x="159" y="95"/>
                  <a:pt x="158" y="95"/>
                </a:cubicBezTo>
                <a:cubicBezTo>
                  <a:pt x="159" y="96"/>
                  <a:pt x="163" y="93"/>
                  <a:pt x="166" y="91"/>
                </a:cubicBezTo>
                <a:cubicBezTo>
                  <a:pt x="165" y="91"/>
                  <a:pt x="167" y="90"/>
                  <a:pt x="165" y="91"/>
                </a:cubicBezTo>
                <a:close/>
                <a:moveTo>
                  <a:pt x="167" y="91"/>
                </a:moveTo>
                <a:cubicBezTo>
                  <a:pt x="169" y="90"/>
                  <a:pt x="169" y="90"/>
                  <a:pt x="171" y="90"/>
                </a:cubicBezTo>
                <a:cubicBezTo>
                  <a:pt x="171" y="88"/>
                  <a:pt x="176" y="85"/>
                  <a:pt x="178" y="83"/>
                </a:cubicBezTo>
                <a:cubicBezTo>
                  <a:pt x="176" y="84"/>
                  <a:pt x="176" y="82"/>
                  <a:pt x="174" y="84"/>
                </a:cubicBezTo>
                <a:cubicBezTo>
                  <a:pt x="175" y="85"/>
                  <a:pt x="170" y="87"/>
                  <a:pt x="170" y="88"/>
                </a:cubicBezTo>
                <a:cubicBezTo>
                  <a:pt x="169" y="88"/>
                  <a:pt x="169" y="88"/>
                  <a:pt x="169" y="87"/>
                </a:cubicBezTo>
                <a:cubicBezTo>
                  <a:pt x="166" y="90"/>
                  <a:pt x="167" y="90"/>
                  <a:pt x="167" y="91"/>
                </a:cubicBezTo>
                <a:close/>
                <a:moveTo>
                  <a:pt x="173" y="93"/>
                </a:moveTo>
                <a:cubicBezTo>
                  <a:pt x="174" y="92"/>
                  <a:pt x="173" y="94"/>
                  <a:pt x="176" y="92"/>
                </a:cubicBezTo>
                <a:cubicBezTo>
                  <a:pt x="176" y="91"/>
                  <a:pt x="175" y="92"/>
                  <a:pt x="176" y="91"/>
                </a:cubicBezTo>
                <a:cubicBezTo>
                  <a:pt x="174" y="92"/>
                  <a:pt x="173" y="92"/>
                  <a:pt x="173" y="93"/>
                </a:cubicBezTo>
                <a:close/>
                <a:moveTo>
                  <a:pt x="174" y="104"/>
                </a:moveTo>
                <a:cubicBezTo>
                  <a:pt x="174" y="105"/>
                  <a:pt x="181" y="100"/>
                  <a:pt x="180" y="100"/>
                </a:cubicBezTo>
                <a:cubicBezTo>
                  <a:pt x="177" y="102"/>
                  <a:pt x="177" y="103"/>
                  <a:pt x="174" y="104"/>
                </a:cubicBezTo>
                <a:close/>
                <a:moveTo>
                  <a:pt x="164" y="99"/>
                </a:moveTo>
                <a:cubicBezTo>
                  <a:pt x="166" y="98"/>
                  <a:pt x="169" y="96"/>
                  <a:pt x="170" y="95"/>
                </a:cubicBezTo>
                <a:cubicBezTo>
                  <a:pt x="167" y="97"/>
                  <a:pt x="165" y="97"/>
                  <a:pt x="164" y="99"/>
                </a:cubicBezTo>
                <a:close/>
                <a:moveTo>
                  <a:pt x="159" y="99"/>
                </a:moveTo>
                <a:cubicBezTo>
                  <a:pt x="159" y="100"/>
                  <a:pt x="158" y="100"/>
                  <a:pt x="158" y="100"/>
                </a:cubicBezTo>
                <a:cubicBezTo>
                  <a:pt x="160" y="99"/>
                  <a:pt x="160" y="98"/>
                  <a:pt x="161" y="97"/>
                </a:cubicBezTo>
                <a:cubicBezTo>
                  <a:pt x="161" y="97"/>
                  <a:pt x="161" y="98"/>
                  <a:pt x="162" y="97"/>
                </a:cubicBezTo>
                <a:cubicBezTo>
                  <a:pt x="163" y="96"/>
                  <a:pt x="162" y="97"/>
                  <a:pt x="162" y="97"/>
                </a:cubicBezTo>
                <a:cubicBezTo>
                  <a:pt x="158" y="99"/>
                  <a:pt x="158" y="99"/>
                  <a:pt x="158" y="99"/>
                </a:cubicBezTo>
                <a:cubicBezTo>
                  <a:pt x="158" y="100"/>
                  <a:pt x="157" y="102"/>
                  <a:pt x="159" y="99"/>
                </a:cubicBezTo>
                <a:close/>
                <a:moveTo>
                  <a:pt x="153" y="99"/>
                </a:moveTo>
                <a:cubicBezTo>
                  <a:pt x="153" y="99"/>
                  <a:pt x="152" y="100"/>
                  <a:pt x="153" y="101"/>
                </a:cubicBezTo>
                <a:cubicBezTo>
                  <a:pt x="151" y="101"/>
                  <a:pt x="149" y="103"/>
                  <a:pt x="150" y="103"/>
                </a:cubicBezTo>
                <a:cubicBezTo>
                  <a:pt x="154" y="100"/>
                  <a:pt x="153" y="100"/>
                  <a:pt x="156" y="98"/>
                </a:cubicBezTo>
                <a:cubicBezTo>
                  <a:pt x="155" y="98"/>
                  <a:pt x="155" y="98"/>
                  <a:pt x="154" y="98"/>
                </a:cubicBezTo>
                <a:cubicBezTo>
                  <a:pt x="154" y="100"/>
                  <a:pt x="154" y="98"/>
                  <a:pt x="153" y="99"/>
                </a:cubicBezTo>
                <a:close/>
                <a:moveTo>
                  <a:pt x="160" y="120"/>
                </a:moveTo>
                <a:cubicBezTo>
                  <a:pt x="160" y="120"/>
                  <a:pt x="160" y="121"/>
                  <a:pt x="161" y="120"/>
                </a:cubicBezTo>
                <a:cubicBezTo>
                  <a:pt x="162" y="119"/>
                  <a:pt x="165" y="116"/>
                  <a:pt x="163" y="117"/>
                </a:cubicBezTo>
                <a:cubicBezTo>
                  <a:pt x="163" y="117"/>
                  <a:pt x="162" y="119"/>
                  <a:pt x="160" y="120"/>
                </a:cubicBezTo>
                <a:close/>
                <a:moveTo>
                  <a:pt x="150" y="106"/>
                </a:moveTo>
                <a:cubicBezTo>
                  <a:pt x="148" y="108"/>
                  <a:pt x="154" y="103"/>
                  <a:pt x="151" y="106"/>
                </a:cubicBezTo>
                <a:cubicBezTo>
                  <a:pt x="154" y="104"/>
                  <a:pt x="154" y="104"/>
                  <a:pt x="154" y="104"/>
                </a:cubicBezTo>
                <a:cubicBezTo>
                  <a:pt x="154" y="103"/>
                  <a:pt x="153" y="104"/>
                  <a:pt x="154" y="103"/>
                </a:cubicBezTo>
                <a:cubicBezTo>
                  <a:pt x="151" y="105"/>
                  <a:pt x="151" y="105"/>
                  <a:pt x="150" y="106"/>
                </a:cubicBezTo>
                <a:close/>
                <a:moveTo>
                  <a:pt x="146" y="105"/>
                </a:moveTo>
                <a:cubicBezTo>
                  <a:pt x="142" y="108"/>
                  <a:pt x="147" y="106"/>
                  <a:pt x="145" y="108"/>
                </a:cubicBezTo>
                <a:cubicBezTo>
                  <a:pt x="147" y="106"/>
                  <a:pt x="146" y="106"/>
                  <a:pt x="149" y="104"/>
                </a:cubicBezTo>
                <a:cubicBezTo>
                  <a:pt x="148" y="104"/>
                  <a:pt x="149" y="103"/>
                  <a:pt x="149" y="103"/>
                </a:cubicBezTo>
                <a:cubicBezTo>
                  <a:pt x="145" y="105"/>
                  <a:pt x="149" y="103"/>
                  <a:pt x="146" y="106"/>
                </a:cubicBezTo>
                <a:cubicBezTo>
                  <a:pt x="146" y="105"/>
                  <a:pt x="147" y="104"/>
                  <a:pt x="146" y="105"/>
                </a:cubicBezTo>
                <a:close/>
                <a:moveTo>
                  <a:pt x="153" y="120"/>
                </a:moveTo>
                <a:cubicBezTo>
                  <a:pt x="156" y="118"/>
                  <a:pt x="154" y="119"/>
                  <a:pt x="157" y="116"/>
                </a:cubicBezTo>
                <a:cubicBezTo>
                  <a:pt x="156" y="117"/>
                  <a:pt x="154" y="118"/>
                  <a:pt x="152" y="119"/>
                </a:cubicBezTo>
                <a:cubicBezTo>
                  <a:pt x="154" y="119"/>
                  <a:pt x="151" y="121"/>
                  <a:pt x="149" y="122"/>
                </a:cubicBezTo>
                <a:cubicBezTo>
                  <a:pt x="148" y="124"/>
                  <a:pt x="152" y="120"/>
                  <a:pt x="151" y="122"/>
                </a:cubicBezTo>
                <a:cubicBezTo>
                  <a:pt x="153" y="120"/>
                  <a:pt x="153" y="119"/>
                  <a:pt x="154" y="119"/>
                </a:cubicBezTo>
                <a:cubicBezTo>
                  <a:pt x="154" y="119"/>
                  <a:pt x="153" y="120"/>
                  <a:pt x="153" y="120"/>
                </a:cubicBezTo>
                <a:close/>
                <a:moveTo>
                  <a:pt x="136" y="117"/>
                </a:moveTo>
                <a:cubicBezTo>
                  <a:pt x="139" y="115"/>
                  <a:pt x="135" y="118"/>
                  <a:pt x="135" y="118"/>
                </a:cubicBezTo>
                <a:cubicBezTo>
                  <a:pt x="138" y="116"/>
                  <a:pt x="140" y="115"/>
                  <a:pt x="142" y="113"/>
                </a:cubicBezTo>
                <a:cubicBezTo>
                  <a:pt x="142" y="112"/>
                  <a:pt x="147" y="109"/>
                  <a:pt x="148" y="107"/>
                </a:cubicBezTo>
                <a:cubicBezTo>
                  <a:pt x="147" y="108"/>
                  <a:pt x="146" y="108"/>
                  <a:pt x="146" y="108"/>
                </a:cubicBezTo>
                <a:cubicBezTo>
                  <a:pt x="144" y="109"/>
                  <a:pt x="144" y="110"/>
                  <a:pt x="142" y="111"/>
                </a:cubicBezTo>
                <a:cubicBezTo>
                  <a:pt x="141" y="113"/>
                  <a:pt x="142" y="113"/>
                  <a:pt x="141" y="113"/>
                </a:cubicBezTo>
                <a:cubicBezTo>
                  <a:pt x="140" y="113"/>
                  <a:pt x="136" y="116"/>
                  <a:pt x="136" y="117"/>
                </a:cubicBezTo>
                <a:close/>
                <a:moveTo>
                  <a:pt x="153" y="123"/>
                </a:moveTo>
                <a:cubicBezTo>
                  <a:pt x="154" y="123"/>
                  <a:pt x="157" y="120"/>
                  <a:pt x="156" y="120"/>
                </a:cubicBezTo>
                <a:cubicBezTo>
                  <a:pt x="155" y="121"/>
                  <a:pt x="152" y="123"/>
                  <a:pt x="153" y="123"/>
                </a:cubicBezTo>
                <a:close/>
                <a:moveTo>
                  <a:pt x="137" y="109"/>
                </a:moveTo>
                <a:cubicBezTo>
                  <a:pt x="139" y="108"/>
                  <a:pt x="141" y="106"/>
                  <a:pt x="141" y="106"/>
                </a:cubicBezTo>
                <a:cubicBezTo>
                  <a:pt x="139" y="107"/>
                  <a:pt x="137" y="109"/>
                  <a:pt x="137" y="109"/>
                </a:cubicBezTo>
                <a:close/>
                <a:moveTo>
                  <a:pt x="136" y="114"/>
                </a:moveTo>
                <a:cubicBezTo>
                  <a:pt x="138" y="114"/>
                  <a:pt x="137" y="113"/>
                  <a:pt x="137" y="115"/>
                </a:cubicBezTo>
                <a:cubicBezTo>
                  <a:pt x="138" y="114"/>
                  <a:pt x="138" y="113"/>
                  <a:pt x="141" y="111"/>
                </a:cubicBezTo>
                <a:cubicBezTo>
                  <a:pt x="142" y="110"/>
                  <a:pt x="141" y="111"/>
                  <a:pt x="140" y="111"/>
                </a:cubicBezTo>
                <a:cubicBezTo>
                  <a:pt x="141" y="110"/>
                  <a:pt x="142" y="110"/>
                  <a:pt x="143" y="109"/>
                </a:cubicBezTo>
                <a:cubicBezTo>
                  <a:pt x="143" y="109"/>
                  <a:pt x="144" y="108"/>
                  <a:pt x="143" y="108"/>
                </a:cubicBezTo>
                <a:cubicBezTo>
                  <a:pt x="141" y="111"/>
                  <a:pt x="139" y="111"/>
                  <a:pt x="136" y="114"/>
                </a:cubicBezTo>
                <a:close/>
                <a:moveTo>
                  <a:pt x="142" y="117"/>
                </a:moveTo>
                <a:cubicBezTo>
                  <a:pt x="140" y="118"/>
                  <a:pt x="142" y="116"/>
                  <a:pt x="144" y="115"/>
                </a:cubicBezTo>
                <a:cubicBezTo>
                  <a:pt x="144" y="114"/>
                  <a:pt x="142" y="115"/>
                  <a:pt x="141" y="116"/>
                </a:cubicBezTo>
                <a:cubicBezTo>
                  <a:pt x="141" y="116"/>
                  <a:pt x="141" y="117"/>
                  <a:pt x="140" y="117"/>
                </a:cubicBezTo>
                <a:cubicBezTo>
                  <a:pt x="137" y="118"/>
                  <a:pt x="139" y="119"/>
                  <a:pt x="136" y="120"/>
                </a:cubicBezTo>
                <a:cubicBezTo>
                  <a:pt x="136" y="121"/>
                  <a:pt x="133" y="123"/>
                  <a:pt x="132" y="124"/>
                </a:cubicBezTo>
                <a:cubicBezTo>
                  <a:pt x="133" y="124"/>
                  <a:pt x="131" y="125"/>
                  <a:pt x="131" y="126"/>
                </a:cubicBezTo>
                <a:cubicBezTo>
                  <a:pt x="133" y="124"/>
                  <a:pt x="135" y="122"/>
                  <a:pt x="134" y="124"/>
                </a:cubicBezTo>
                <a:cubicBezTo>
                  <a:pt x="135" y="124"/>
                  <a:pt x="139" y="121"/>
                  <a:pt x="138" y="121"/>
                </a:cubicBezTo>
                <a:cubicBezTo>
                  <a:pt x="137" y="121"/>
                  <a:pt x="135" y="124"/>
                  <a:pt x="135" y="123"/>
                </a:cubicBezTo>
                <a:cubicBezTo>
                  <a:pt x="136" y="122"/>
                  <a:pt x="135" y="122"/>
                  <a:pt x="137" y="121"/>
                </a:cubicBezTo>
                <a:cubicBezTo>
                  <a:pt x="139" y="119"/>
                  <a:pt x="142" y="117"/>
                  <a:pt x="142" y="117"/>
                </a:cubicBezTo>
                <a:close/>
                <a:moveTo>
                  <a:pt x="143" y="118"/>
                </a:moveTo>
                <a:cubicBezTo>
                  <a:pt x="141" y="119"/>
                  <a:pt x="141" y="119"/>
                  <a:pt x="141" y="119"/>
                </a:cubicBezTo>
                <a:cubicBezTo>
                  <a:pt x="140" y="120"/>
                  <a:pt x="140" y="120"/>
                  <a:pt x="141" y="121"/>
                </a:cubicBezTo>
                <a:cubicBezTo>
                  <a:pt x="143" y="119"/>
                  <a:pt x="142" y="119"/>
                  <a:pt x="143" y="118"/>
                </a:cubicBezTo>
                <a:cubicBezTo>
                  <a:pt x="143" y="119"/>
                  <a:pt x="144" y="118"/>
                  <a:pt x="145" y="117"/>
                </a:cubicBezTo>
                <a:cubicBezTo>
                  <a:pt x="143" y="118"/>
                  <a:pt x="144" y="117"/>
                  <a:pt x="143" y="118"/>
                </a:cubicBezTo>
                <a:close/>
                <a:moveTo>
                  <a:pt x="146" y="128"/>
                </a:moveTo>
                <a:cubicBezTo>
                  <a:pt x="147" y="128"/>
                  <a:pt x="145" y="129"/>
                  <a:pt x="145" y="130"/>
                </a:cubicBezTo>
                <a:cubicBezTo>
                  <a:pt x="146" y="129"/>
                  <a:pt x="146" y="129"/>
                  <a:pt x="148" y="128"/>
                </a:cubicBezTo>
                <a:cubicBezTo>
                  <a:pt x="147" y="128"/>
                  <a:pt x="147" y="127"/>
                  <a:pt x="148" y="127"/>
                </a:cubicBezTo>
                <a:cubicBezTo>
                  <a:pt x="147" y="127"/>
                  <a:pt x="146" y="128"/>
                  <a:pt x="146" y="128"/>
                </a:cubicBezTo>
                <a:close/>
                <a:moveTo>
                  <a:pt x="133" y="117"/>
                </a:moveTo>
                <a:cubicBezTo>
                  <a:pt x="133" y="118"/>
                  <a:pt x="134" y="117"/>
                  <a:pt x="135" y="117"/>
                </a:cubicBezTo>
                <a:cubicBezTo>
                  <a:pt x="136" y="116"/>
                  <a:pt x="137" y="115"/>
                  <a:pt x="137" y="115"/>
                </a:cubicBezTo>
                <a:cubicBezTo>
                  <a:pt x="136" y="116"/>
                  <a:pt x="135" y="115"/>
                  <a:pt x="133" y="117"/>
                </a:cubicBezTo>
                <a:close/>
                <a:moveTo>
                  <a:pt x="144" y="129"/>
                </a:moveTo>
                <a:cubicBezTo>
                  <a:pt x="143" y="129"/>
                  <a:pt x="141" y="129"/>
                  <a:pt x="139" y="132"/>
                </a:cubicBezTo>
                <a:cubicBezTo>
                  <a:pt x="139" y="133"/>
                  <a:pt x="145" y="129"/>
                  <a:pt x="146" y="127"/>
                </a:cubicBezTo>
                <a:cubicBezTo>
                  <a:pt x="145" y="128"/>
                  <a:pt x="144" y="128"/>
                  <a:pt x="144" y="129"/>
                </a:cubicBezTo>
                <a:close/>
                <a:moveTo>
                  <a:pt x="133" y="117"/>
                </a:moveTo>
                <a:cubicBezTo>
                  <a:pt x="132" y="118"/>
                  <a:pt x="132" y="117"/>
                  <a:pt x="131" y="118"/>
                </a:cubicBezTo>
                <a:cubicBezTo>
                  <a:pt x="131" y="119"/>
                  <a:pt x="133" y="117"/>
                  <a:pt x="135" y="116"/>
                </a:cubicBezTo>
                <a:cubicBezTo>
                  <a:pt x="134" y="116"/>
                  <a:pt x="136" y="114"/>
                  <a:pt x="134" y="115"/>
                </a:cubicBezTo>
                <a:cubicBezTo>
                  <a:pt x="134" y="116"/>
                  <a:pt x="134" y="116"/>
                  <a:pt x="133" y="117"/>
                </a:cubicBezTo>
                <a:close/>
                <a:moveTo>
                  <a:pt x="138" y="122"/>
                </a:moveTo>
                <a:cubicBezTo>
                  <a:pt x="137" y="123"/>
                  <a:pt x="137" y="123"/>
                  <a:pt x="139" y="122"/>
                </a:cubicBezTo>
                <a:cubicBezTo>
                  <a:pt x="140" y="121"/>
                  <a:pt x="140" y="120"/>
                  <a:pt x="138" y="122"/>
                </a:cubicBezTo>
                <a:close/>
                <a:moveTo>
                  <a:pt x="139" y="137"/>
                </a:moveTo>
                <a:cubicBezTo>
                  <a:pt x="141" y="135"/>
                  <a:pt x="141" y="137"/>
                  <a:pt x="139" y="138"/>
                </a:cubicBezTo>
                <a:cubicBezTo>
                  <a:pt x="140" y="137"/>
                  <a:pt x="141" y="137"/>
                  <a:pt x="142" y="136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2" y="135"/>
                  <a:pt x="143" y="134"/>
                  <a:pt x="144" y="134"/>
                </a:cubicBezTo>
                <a:cubicBezTo>
                  <a:pt x="142" y="136"/>
                  <a:pt x="138" y="139"/>
                  <a:pt x="138" y="140"/>
                </a:cubicBezTo>
                <a:cubicBezTo>
                  <a:pt x="138" y="140"/>
                  <a:pt x="137" y="141"/>
                  <a:pt x="136" y="141"/>
                </a:cubicBezTo>
                <a:cubicBezTo>
                  <a:pt x="138" y="140"/>
                  <a:pt x="138" y="139"/>
                  <a:pt x="139" y="138"/>
                </a:cubicBezTo>
                <a:cubicBezTo>
                  <a:pt x="139" y="137"/>
                  <a:pt x="136" y="138"/>
                  <a:pt x="133" y="141"/>
                </a:cubicBezTo>
                <a:cubicBezTo>
                  <a:pt x="134" y="141"/>
                  <a:pt x="136" y="139"/>
                  <a:pt x="137" y="139"/>
                </a:cubicBezTo>
                <a:cubicBezTo>
                  <a:pt x="137" y="139"/>
                  <a:pt x="138" y="139"/>
                  <a:pt x="138" y="139"/>
                </a:cubicBezTo>
                <a:cubicBezTo>
                  <a:pt x="135" y="142"/>
                  <a:pt x="132" y="145"/>
                  <a:pt x="132" y="146"/>
                </a:cubicBezTo>
                <a:cubicBezTo>
                  <a:pt x="133" y="145"/>
                  <a:pt x="135" y="144"/>
                  <a:pt x="135" y="143"/>
                </a:cubicBezTo>
                <a:cubicBezTo>
                  <a:pt x="134" y="144"/>
                  <a:pt x="134" y="144"/>
                  <a:pt x="134" y="144"/>
                </a:cubicBezTo>
                <a:cubicBezTo>
                  <a:pt x="135" y="144"/>
                  <a:pt x="136" y="142"/>
                  <a:pt x="136" y="142"/>
                </a:cubicBezTo>
                <a:cubicBezTo>
                  <a:pt x="137" y="142"/>
                  <a:pt x="134" y="145"/>
                  <a:pt x="137" y="143"/>
                </a:cubicBezTo>
                <a:cubicBezTo>
                  <a:pt x="136" y="142"/>
                  <a:pt x="139" y="141"/>
                  <a:pt x="140" y="141"/>
                </a:cubicBezTo>
                <a:cubicBezTo>
                  <a:pt x="139" y="140"/>
                  <a:pt x="141" y="139"/>
                  <a:pt x="141" y="139"/>
                </a:cubicBezTo>
                <a:cubicBezTo>
                  <a:pt x="140" y="139"/>
                  <a:pt x="140" y="139"/>
                  <a:pt x="141" y="138"/>
                </a:cubicBezTo>
                <a:cubicBezTo>
                  <a:pt x="144" y="136"/>
                  <a:pt x="146" y="134"/>
                  <a:pt x="148" y="133"/>
                </a:cubicBezTo>
                <a:cubicBezTo>
                  <a:pt x="147" y="133"/>
                  <a:pt x="143" y="135"/>
                  <a:pt x="146" y="132"/>
                </a:cubicBezTo>
                <a:cubicBezTo>
                  <a:pt x="143" y="133"/>
                  <a:pt x="141" y="134"/>
                  <a:pt x="139" y="137"/>
                </a:cubicBezTo>
                <a:close/>
                <a:moveTo>
                  <a:pt x="142" y="131"/>
                </a:moveTo>
                <a:cubicBezTo>
                  <a:pt x="142" y="131"/>
                  <a:pt x="143" y="132"/>
                  <a:pt x="144" y="130"/>
                </a:cubicBezTo>
                <a:cubicBezTo>
                  <a:pt x="144" y="130"/>
                  <a:pt x="144" y="130"/>
                  <a:pt x="144" y="129"/>
                </a:cubicBezTo>
                <a:cubicBezTo>
                  <a:pt x="144" y="130"/>
                  <a:pt x="143" y="130"/>
                  <a:pt x="142" y="131"/>
                </a:cubicBezTo>
                <a:close/>
                <a:moveTo>
                  <a:pt x="142" y="143"/>
                </a:moveTo>
                <a:cubicBezTo>
                  <a:pt x="142" y="143"/>
                  <a:pt x="145" y="140"/>
                  <a:pt x="145" y="142"/>
                </a:cubicBezTo>
                <a:cubicBezTo>
                  <a:pt x="147" y="140"/>
                  <a:pt x="149" y="139"/>
                  <a:pt x="150" y="138"/>
                </a:cubicBezTo>
                <a:cubicBezTo>
                  <a:pt x="148" y="139"/>
                  <a:pt x="147" y="140"/>
                  <a:pt x="146" y="140"/>
                </a:cubicBezTo>
                <a:cubicBezTo>
                  <a:pt x="147" y="139"/>
                  <a:pt x="147" y="139"/>
                  <a:pt x="148" y="138"/>
                </a:cubicBezTo>
                <a:cubicBezTo>
                  <a:pt x="147" y="139"/>
                  <a:pt x="150" y="137"/>
                  <a:pt x="150" y="137"/>
                </a:cubicBezTo>
                <a:cubicBezTo>
                  <a:pt x="148" y="138"/>
                  <a:pt x="142" y="142"/>
                  <a:pt x="142" y="143"/>
                </a:cubicBezTo>
                <a:close/>
                <a:moveTo>
                  <a:pt x="125" y="125"/>
                </a:moveTo>
                <a:cubicBezTo>
                  <a:pt x="126" y="125"/>
                  <a:pt x="128" y="123"/>
                  <a:pt x="128" y="124"/>
                </a:cubicBezTo>
                <a:cubicBezTo>
                  <a:pt x="126" y="126"/>
                  <a:pt x="124" y="127"/>
                  <a:pt x="124" y="128"/>
                </a:cubicBezTo>
                <a:cubicBezTo>
                  <a:pt x="129" y="124"/>
                  <a:pt x="129" y="124"/>
                  <a:pt x="129" y="124"/>
                </a:cubicBezTo>
                <a:cubicBezTo>
                  <a:pt x="128" y="123"/>
                  <a:pt x="132" y="121"/>
                  <a:pt x="131" y="120"/>
                </a:cubicBezTo>
                <a:cubicBezTo>
                  <a:pt x="129" y="122"/>
                  <a:pt x="127" y="123"/>
                  <a:pt x="125" y="125"/>
                </a:cubicBezTo>
                <a:close/>
                <a:moveTo>
                  <a:pt x="131" y="122"/>
                </a:moveTo>
                <a:cubicBezTo>
                  <a:pt x="132" y="122"/>
                  <a:pt x="131" y="122"/>
                  <a:pt x="131" y="123"/>
                </a:cubicBezTo>
                <a:cubicBezTo>
                  <a:pt x="132" y="122"/>
                  <a:pt x="132" y="121"/>
                  <a:pt x="133" y="120"/>
                </a:cubicBezTo>
                <a:cubicBezTo>
                  <a:pt x="134" y="120"/>
                  <a:pt x="134" y="120"/>
                  <a:pt x="134" y="120"/>
                </a:cubicBezTo>
                <a:cubicBezTo>
                  <a:pt x="133" y="120"/>
                  <a:pt x="135" y="117"/>
                  <a:pt x="131" y="119"/>
                </a:cubicBezTo>
                <a:cubicBezTo>
                  <a:pt x="131" y="120"/>
                  <a:pt x="134" y="119"/>
                  <a:pt x="131" y="122"/>
                </a:cubicBezTo>
                <a:close/>
                <a:moveTo>
                  <a:pt x="139" y="130"/>
                </a:moveTo>
                <a:cubicBezTo>
                  <a:pt x="138" y="132"/>
                  <a:pt x="142" y="129"/>
                  <a:pt x="142" y="129"/>
                </a:cubicBezTo>
                <a:lnTo>
                  <a:pt x="139" y="130"/>
                </a:lnTo>
                <a:close/>
                <a:moveTo>
                  <a:pt x="133" y="129"/>
                </a:moveTo>
                <a:cubicBezTo>
                  <a:pt x="135" y="127"/>
                  <a:pt x="136" y="126"/>
                  <a:pt x="135" y="126"/>
                </a:cubicBezTo>
                <a:cubicBezTo>
                  <a:pt x="133" y="128"/>
                  <a:pt x="132" y="129"/>
                  <a:pt x="133" y="129"/>
                </a:cubicBezTo>
                <a:close/>
                <a:moveTo>
                  <a:pt x="129" y="121"/>
                </a:moveTo>
                <a:cubicBezTo>
                  <a:pt x="128" y="120"/>
                  <a:pt x="126" y="121"/>
                  <a:pt x="124" y="124"/>
                </a:cubicBezTo>
                <a:cubicBezTo>
                  <a:pt x="125" y="123"/>
                  <a:pt x="125" y="123"/>
                  <a:pt x="124" y="124"/>
                </a:cubicBezTo>
                <a:cubicBezTo>
                  <a:pt x="123" y="124"/>
                  <a:pt x="121" y="127"/>
                  <a:pt x="120" y="128"/>
                </a:cubicBezTo>
                <a:cubicBezTo>
                  <a:pt x="121" y="128"/>
                  <a:pt x="121" y="128"/>
                  <a:pt x="120" y="130"/>
                </a:cubicBezTo>
                <a:cubicBezTo>
                  <a:pt x="121" y="129"/>
                  <a:pt x="121" y="129"/>
                  <a:pt x="121" y="129"/>
                </a:cubicBezTo>
                <a:cubicBezTo>
                  <a:pt x="125" y="126"/>
                  <a:pt x="124" y="125"/>
                  <a:pt x="128" y="123"/>
                </a:cubicBezTo>
                <a:cubicBezTo>
                  <a:pt x="127" y="122"/>
                  <a:pt x="126" y="123"/>
                  <a:pt x="129" y="121"/>
                </a:cubicBezTo>
                <a:close/>
                <a:moveTo>
                  <a:pt x="129" y="131"/>
                </a:moveTo>
                <a:cubicBezTo>
                  <a:pt x="130" y="130"/>
                  <a:pt x="133" y="127"/>
                  <a:pt x="134" y="126"/>
                </a:cubicBezTo>
                <a:cubicBezTo>
                  <a:pt x="131" y="128"/>
                  <a:pt x="130" y="130"/>
                  <a:pt x="129" y="131"/>
                </a:cubicBezTo>
                <a:close/>
                <a:moveTo>
                  <a:pt x="133" y="136"/>
                </a:moveTo>
                <a:cubicBezTo>
                  <a:pt x="135" y="136"/>
                  <a:pt x="137" y="136"/>
                  <a:pt x="139" y="133"/>
                </a:cubicBezTo>
                <a:cubicBezTo>
                  <a:pt x="136" y="135"/>
                  <a:pt x="136" y="134"/>
                  <a:pt x="133" y="136"/>
                </a:cubicBezTo>
                <a:close/>
                <a:moveTo>
                  <a:pt x="124" y="131"/>
                </a:moveTo>
                <a:cubicBezTo>
                  <a:pt x="125" y="131"/>
                  <a:pt x="125" y="131"/>
                  <a:pt x="124" y="132"/>
                </a:cubicBezTo>
                <a:cubicBezTo>
                  <a:pt x="126" y="131"/>
                  <a:pt x="131" y="127"/>
                  <a:pt x="128" y="128"/>
                </a:cubicBezTo>
                <a:cubicBezTo>
                  <a:pt x="128" y="129"/>
                  <a:pt x="126" y="130"/>
                  <a:pt x="124" y="131"/>
                </a:cubicBezTo>
                <a:close/>
                <a:moveTo>
                  <a:pt x="121" y="127"/>
                </a:moveTo>
                <a:cubicBezTo>
                  <a:pt x="121" y="126"/>
                  <a:pt x="121" y="125"/>
                  <a:pt x="123" y="124"/>
                </a:cubicBezTo>
                <a:cubicBezTo>
                  <a:pt x="120" y="126"/>
                  <a:pt x="117" y="127"/>
                  <a:pt x="117" y="128"/>
                </a:cubicBezTo>
                <a:cubicBezTo>
                  <a:pt x="118" y="128"/>
                  <a:pt x="120" y="126"/>
                  <a:pt x="121" y="126"/>
                </a:cubicBezTo>
                <a:cubicBezTo>
                  <a:pt x="120" y="126"/>
                  <a:pt x="119" y="128"/>
                  <a:pt x="121" y="127"/>
                </a:cubicBezTo>
                <a:close/>
                <a:moveTo>
                  <a:pt x="120" y="131"/>
                </a:moveTo>
                <a:cubicBezTo>
                  <a:pt x="121" y="131"/>
                  <a:pt x="122" y="131"/>
                  <a:pt x="124" y="129"/>
                </a:cubicBezTo>
                <a:cubicBezTo>
                  <a:pt x="124" y="128"/>
                  <a:pt x="121" y="130"/>
                  <a:pt x="120" y="131"/>
                </a:cubicBezTo>
                <a:close/>
                <a:moveTo>
                  <a:pt x="119" y="140"/>
                </a:moveTo>
                <a:cubicBezTo>
                  <a:pt x="121" y="139"/>
                  <a:pt x="122" y="137"/>
                  <a:pt x="124" y="135"/>
                </a:cubicBezTo>
                <a:cubicBezTo>
                  <a:pt x="124" y="134"/>
                  <a:pt x="124" y="134"/>
                  <a:pt x="124" y="134"/>
                </a:cubicBezTo>
                <a:cubicBezTo>
                  <a:pt x="121" y="137"/>
                  <a:pt x="119" y="139"/>
                  <a:pt x="119" y="140"/>
                </a:cubicBezTo>
                <a:close/>
                <a:moveTo>
                  <a:pt x="117" y="131"/>
                </a:moveTo>
                <a:cubicBezTo>
                  <a:pt x="119" y="130"/>
                  <a:pt x="117" y="130"/>
                  <a:pt x="118" y="129"/>
                </a:cubicBezTo>
                <a:cubicBezTo>
                  <a:pt x="116" y="131"/>
                  <a:pt x="116" y="131"/>
                  <a:pt x="117" y="131"/>
                </a:cubicBezTo>
                <a:close/>
                <a:moveTo>
                  <a:pt x="112" y="133"/>
                </a:moveTo>
                <a:cubicBezTo>
                  <a:pt x="112" y="134"/>
                  <a:pt x="114" y="132"/>
                  <a:pt x="113" y="133"/>
                </a:cubicBezTo>
                <a:cubicBezTo>
                  <a:pt x="117" y="130"/>
                  <a:pt x="114" y="131"/>
                  <a:pt x="112" y="133"/>
                </a:cubicBezTo>
                <a:close/>
                <a:moveTo>
                  <a:pt x="117" y="138"/>
                </a:moveTo>
                <a:cubicBezTo>
                  <a:pt x="116" y="140"/>
                  <a:pt x="113" y="143"/>
                  <a:pt x="114" y="143"/>
                </a:cubicBezTo>
                <a:cubicBezTo>
                  <a:pt x="117" y="140"/>
                  <a:pt x="116" y="140"/>
                  <a:pt x="119" y="137"/>
                </a:cubicBezTo>
                <a:cubicBezTo>
                  <a:pt x="118" y="138"/>
                  <a:pt x="118" y="137"/>
                  <a:pt x="117" y="138"/>
                </a:cubicBezTo>
                <a:close/>
                <a:moveTo>
                  <a:pt x="114" y="157"/>
                </a:moveTo>
                <a:cubicBezTo>
                  <a:pt x="112" y="158"/>
                  <a:pt x="113" y="158"/>
                  <a:pt x="111" y="158"/>
                </a:cubicBezTo>
                <a:cubicBezTo>
                  <a:pt x="113" y="158"/>
                  <a:pt x="109" y="161"/>
                  <a:pt x="109" y="161"/>
                </a:cubicBezTo>
                <a:cubicBezTo>
                  <a:pt x="111" y="159"/>
                  <a:pt x="109" y="160"/>
                  <a:pt x="108" y="161"/>
                </a:cubicBezTo>
                <a:cubicBezTo>
                  <a:pt x="108" y="162"/>
                  <a:pt x="107" y="163"/>
                  <a:pt x="107" y="164"/>
                </a:cubicBezTo>
                <a:cubicBezTo>
                  <a:pt x="105" y="166"/>
                  <a:pt x="105" y="164"/>
                  <a:pt x="102" y="167"/>
                </a:cubicBezTo>
                <a:cubicBezTo>
                  <a:pt x="102" y="169"/>
                  <a:pt x="103" y="167"/>
                  <a:pt x="104" y="167"/>
                </a:cubicBezTo>
                <a:cubicBezTo>
                  <a:pt x="103" y="168"/>
                  <a:pt x="102" y="168"/>
                  <a:pt x="101" y="169"/>
                </a:cubicBezTo>
                <a:cubicBezTo>
                  <a:pt x="103" y="169"/>
                  <a:pt x="106" y="166"/>
                  <a:pt x="107" y="164"/>
                </a:cubicBezTo>
                <a:cubicBezTo>
                  <a:pt x="106" y="167"/>
                  <a:pt x="101" y="172"/>
                  <a:pt x="99" y="173"/>
                </a:cubicBezTo>
                <a:cubicBezTo>
                  <a:pt x="99" y="173"/>
                  <a:pt x="99" y="175"/>
                  <a:pt x="98" y="175"/>
                </a:cubicBezTo>
                <a:cubicBezTo>
                  <a:pt x="98" y="175"/>
                  <a:pt x="99" y="175"/>
                  <a:pt x="98" y="175"/>
                </a:cubicBezTo>
                <a:cubicBezTo>
                  <a:pt x="99" y="175"/>
                  <a:pt x="98" y="175"/>
                  <a:pt x="99" y="175"/>
                </a:cubicBezTo>
                <a:cubicBezTo>
                  <a:pt x="99" y="175"/>
                  <a:pt x="100" y="174"/>
                  <a:pt x="100" y="174"/>
                </a:cubicBezTo>
                <a:cubicBezTo>
                  <a:pt x="100" y="174"/>
                  <a:pt x="100" y="174"/>
                  <a:pt x="100" y="174"/>
                </a:cubicBezTo>
                <a:cubicBezTo>
                  <a:pt x="101" y="172"/>
                  <a:pt x="101" y="172"/>
                  <a:pt x="101" y="172"/>
                </a:cubicBezTo>
                <a:cubicBezTo>
                  <a:pt x="102" y="172"/>
                  <a:pt x="103" y="171"/>
                  <a:pt x="104" y="170"/>
                </a:cubicBezTo>
                <a:cubicBezTo>
                  <a:pt x="103" y="170"/>
                  <a:pt x="106" y="168"/>
                  <a:pt x="106" y="167"/>
                </a:cubicBezTo>
                <a:cubicBezTo>
                  <a:pt x="108" y="166"/>
                  <a:pt x="114" y="158"/>
                  <a:pt x="117" y="157"/>
                </a:cubicBezTo>
                <a:cubicBezTo>
                  <a:pt x="117" y="157"/>
                  <a:pt x="116" y="157"/>
                  <a:pt x="117" y="156"/>
                </a:cubicBezTo>
                <a:cubicBezTo>
                  <a:pt x="119" y="155"/>
                  <a:pt x="120" y="153"/>
                  <a:pt x="123" y="151"/>
                </a:cubicBezTo>
                <a:cubicBezTo>
                  <a:pt x="122" y="150"/>
                  <a:pt x="125" y="150"/>
                  <a:pt x="126" y="148"/>
                </a:cubicBezTo>
                <a:cubicBezTo>
                  <a:pt x="126" y="148"/>
                  <a:pt x="127" y="147"/>
                  <a:pt x="126" y="147"/>
                </a:cubicBezTo>
                <a:cubicBezTo>
                  <a:pt x="123" y="150"/>
                  <a:pt x="122" y="148"/>
                  <a:pt x="120" y="151"/>
                </a:cubicBezTo>
                <a:cubicBezTo>
                  <a:pt x="121" y="150"/>
                  <a:pt x="120" y="153"/>
                  <a:pt x="119" y="153"/>
                </a:cubicBezTo>
                <a:cubicBezTo>
                  <a:pt x="119" y="152"/>
                  <a:pt x="117" y="155"/>
                  <a:pt x="116" y="155"/>
                </a:cubicBezTo>
                <a:cubicBezTo>
                  <a:pt x="117" y="154"/>
                  <a:pt x="118" y="153"/>
                  <a:pt x="118" y="152"/>
                </a:cubicBezTo>
                <a:cubicBezTo>
                  <a:pt x="117" y="154"/>
                  <a:pt x="116" y="154"/>
                  <a:pt x="116" y="154"/>
                </a:cubicBezTo>
                <a:cubicBezTo>
                  <a:pt x="116" y="154"/>
                  <a:pt x="117" y="153"/>
                  <a:pt x="117" y="153"/>
                </a:cubicBezTo>
                <a:cubicBezTo>
                  <a:pt x="115" y="155"/>
                  <a:pt x="115" y="155"/>
                  <a:pt x="114" y="157"/>
                </a:cubicBezTo>
                <a:close/>
                <a:moveTo>
                  <a:pt x="119" y="151"/>
                </a:moveTo>
                <a:cubicBezTo>
                  <a:pt x="120" y="150"/>
                  <a:pt x="121" y="149"/>
                  <a:pt x="121" y="148"/>
                </a:cubicBezTo>
                <a:cubicBezTo>
                  <a:pt x="120" y="149"/>
                  <a:pt x="119" y="149"/>
                  <a:pt x="118" y="151"/>
                </a:cubicBezTo>
                <a:cubicBezTo>
                  <a:pt x="118" y="152"/>
                  <a:pt x="119" y="150"/>
                  <a:pt x="120" y="150"/>
                </a:cubicBezTo>
                <a:cubicBezTo>
                  <a:pt x="119" y="151"/>
                  <a:pt x="118" y="152"/>
                  <a:pt x="119" y="151"/>
                </a:cubicBezTo>
                <a:close/>
                <a:moveTo>
                  <a:pt x="124" y="159"/>
                </a:moveTo>
                <a:cubicBezTo>
                  <a:pt x="125" y="159"/>
                  <a:pt x="128" y="159"/>
                  <a:pt x="128" y="157"/>
                </a:cubicBezTo>
                <a:cubicBezTo>
                  <a:pt x="125" y="160"/>
                  <a:pt x="127" y="156"/>
                  <a:pt x="124" y="159"/>
                </a:cubicBezTo>
                <a:close/>
                <a:moveTo>
                  <a:pt x="112" y="142"/>
                </a:moveTo>
                <a:cubicBezTo>
                  <a:pt x="110" y="143"/>
                  <a:pt x="109" y="144"/>
                  <a:pt x="109" y="145"/>
                </a:cubicBezTo>
                <a:cubicBezTo>
                  <a:pt x="110" y="145"/>
                  <a:pt x="111" y="143"/>
                  <a:pt x="112" y="142"/>
                </a:cubicBezTo>
                <a:cubicBezTo>
                  <a:pt x="112" y="143"/>
                  <a:pt x="112" y="143"/>
                  <a:pt x="113" y="142"/>
                </a:cubicBezTo>
                <a:cubicBezTo>
                  <a:pt x="113" y="142"/>
                  <a:pt x="112" y="142"/>
                  <a:pt x="112" y="142"/>
                </a:cubicBezTo>
                <a:close/>
                <a:moveTo>
                  <a:pt x="114" y="170"/>
                </a:moveTo>
                <a:cubicBezTo>
                  <a:pt x="115" y="170"/>
                  <a:pt x="118" y="166"/>
                  <a:pt x="117" y="166"/>
                </a:cubicBezTo>
                <a:cubicBezTo>
                  <a:pt x="115" y="168"/>
                  <a:pt x="116" y="167"/>
                  <a:pt x="114" y="170"/>
                </a:cubicBezTo>
                <a:close/>
                <a:moveTo>
                  <a:pt x="88" y="182"/>
                </a:moveTo>
                <a:cubicBezTo>
                  <a:pt x="88" y="182"/>
                  <a:pt x="89" y="182"/>
                  <a:pt x="89" y="181"/>
                </a:cubicBezTo>
                <a:cubicBezTo>
                  <a:pt x="88" y="181"/>
                  <a:pt x="88" y="182"/>
                  <a:pt x="88" y="182"/>
                </a:cubicBezTo>
                <a:close/>
                <a:moveTo>
                  <a:pt x="108" y="144"/>
                </a:moveTo>
                <a:cubicBezTo>
                  <a:pt x="106" y="144"/>
                  <a:pt x="109" y="142"/>
                  <a:pt x="108" y="142"/>
                </a:cubicBezTo>
                <a:cubicBezTo>
                  <a:pt x="107" y="142"/>
                  <a:pt x="103" y="145"/>
                  <a:pt x="103" y="145"/>
                </a:cubicBezTo>
                <a:cubicBezTo>
                  <a:pt x="105" y="144"/>
                  <a:pt x="106" y="145"/>
                  <a:pt x="107" y="144"/>
                </a:cubicBezTo>
                <a:cubicBezTo>
                  <a:pt x="109" y="143"/>
                  <a:pt x="109" y="143"/>
                  <a:pt x="110" y="141"/>
                </a:cubicBezTo>
                <a:cubicBezTo>
                  <a:pt x="110" y="141"/>
                  <a:pt x="110" y="141"/>
                  <a:pt x="110" y="141"/>
                </a:cubicBezTo>
                <a:cubicBezTo>
                  <a:pt x="107" y="143"/>
                  <a:pt x="110" y="142"/>
                  <a:pt x="108" y="144"/>
                </a:cubicBezTo>
                <a:close/>
                <a:moveTo>
                  <a:pt x="802" y="247"/>
                </a:moveTo>
                <a:cubicBezTo>
                  <a:pt x="799" y="242"/>
                  <a:pt x="799" y="242"/>
                  <a:pt x="799" y="242"/>
                </a:cubicBezTo>
                <a:cubicBezTo>
                  <a:pt x="798" y="242"/>
                  <a:pt x="801" y="247"/>
                  <a:pt x="801" y="246"/>
                </a:cubicBezTo>
                <a:cubicBezTo>
                  <a:pt x="801" y="247"/>
                  <a:pt x="801" y="247"/>
                  <a:pt x="801" y="247"/>
                </a:cubicBezTo>
                <a:cubicBezTo>
                  <a:pt x="800" y="244"/>
                  <a:pt x="802" y="246"/>
                  <a:pt x="802" y="247"/>
                </a:cubicBezTo>
                <a:close/>
                <a:moveTo>
                  <a:pt x="596" y="44"/>
                </a:moveTo>
                <a:cubicBezTo>
                  <a:pt x="592" y="42"/>
                  <a:pt x="592" y="42"/>
                  <a:pt x="592" y="42"/>
                </a:cubicBezTo>
                <a:cubicBezTo>
                  <a:pt x="592" y="43"/>
                  <a:pt x="593" y="43"/>
                  <a:pt x="594" y="44"/>
                </a:cubicBezTo>
                <a:cubicBezTo>
                  <a:pt x="591" y="43"/>
                  <a:pt x="597" y="45"/>
                  <a:pt x="596" y="44"/>
                </a:cubicBezTo>
                <a:close/>
                <a:moveTo>
                  <a:pt x="493" y="9"/>
                </a:moveTo>
                <a:cubicBezTo>
                  <a:pt x="495" y="10"/>
                  <a:pt x="500" y="11"/>
                  <a:pt x="502" y="11"/>
                </a:cubicBezTo>
                <a:cubicBezTo>
                  <a:pt x="500" y="10"/>
                  <a:pt x="492" y="9"/>
                  <a:pt x="493" y="9"/>
                </a:cubicBezTo>
                <a:close/>
                <a:moveTo>
                  <a:pt x="467" y="5"/>
                </a:moveTo>
                <a:cubicBezTo>
                  <a:pt x="469" y="5"/>
                  <a:pt x="477" y="7"/>
                  <a:pt x="475" y="6"/>
                </a:cubicBezTo>
                <a:cubicBezTo>
                  <a:pt x="473" y="6"/>
                  <a:pt x="466" y="4"/>
                  <a:pt x="466" y="5"/>
                </a:cubicBezTo>
                <a:cubicBezTo>
                  <a:pt x="467" y="6"/>
                  <a:pt x="469" y="7"/>
                  <a:pt x="470" y="6"/>
                </a:cubicBezTo>
                <a:cubicBezTo>
                  <a:pt x="469" y="6"/>
                  <a:pt x="468" y="6"/>
                  <a:pt x="467" y="5"/>
                </a:cubicBezTo>
                <a:close/>
                <a:moveTo>
                  <a:pt x="411" y="0"/>
                </a:moveTo>
                <a:cubicBezTo>
                  <a:pt x="410" y="0"/>
                  <a:pt x="406" y="0"/>
                  <a:pt x="404" y="1"/>
                </a:cubicBezTo>
                <a:cubicBezTo>
                  <a:pt x="407" y="1"/>
                  <a:pt x="411" y="1"/>
                  <a:pt x="414" y="1"/>
                </a:cubicBezTo>
                <a:cubicBezTo>
                  <a:pt x="413" y="1"/>
                  <a:pt x="411" y="1"/>
                  <a:pt x="412" y="1"/>
                </a:cubicBezTo>
                <a:cubicBezTo>
                  <a:pt x="413" y="1"/>
                  <a:pt x="417" y="0"/>
                  <a:pt x="415" y="0"/>
                </a:cubicBezTo>
                <a:cubicBezTo>
                  <a:pt x="415" y="1"/>
                  <a:pt x="413" y="0"/>
                  <a:pt x="411" y="0"/>
                </a:cubicBezTo>
                <a:close/>
                <a:moveTo>
                  <a:pt x="394" y="50"/>
                </a:moveTo>
                <a:cubicBezTo>
                  <a:pt x="394" y="49"/>
                  <a:pt x="401" y="50"/>
                  <a:pt x="399" y="50"/>
                </a:cubicBezTo>
                <a:cubicBezTo>
                  <a:pt x="399" y="49"/>
                  <a:pt x="391" y="49"/>
                  <a:pt x="394" y="50"/>
                </a:cubicBezTo>
                <a:close/>
                <a:moveTo>
                  <a:pt x="388" y="50"/>
                </a:moveTo>
                <a:cubicBezTo>
                  <a:pt x="389" y="50"/>
                  <a:pt x="391" y="51"/>
                  <a:pt x="393" y="50"/>
                </a:cubicBezTo>
                <a:cubicBezTo>
                  <a:pt x="384" y="50"/>
                  <a:pt x="379" y="50"/>
                  <a:pt x="376" y="50"/>
                </a:cubicBezTo>
                <a:cubicBezTo>
                  <a:pt x="379" y="50"/>
                  <a:pt x="373" y="51"/>
                  <a:pt x="376" y="51"/>
                </a:cubicBezTo>
                <a:cubicBezTo>
                  <a:pt x="378" y="50"/>
                  <a:pt x="383" y="51"/>
                  <a:pt x="382" y="50"/>
                </a:cubicBezTo>
                <a:cubicBezTo>
                  <a:pt x="383" y="50"/>
                  <a:pt x="386" y="50"/>
                  <a:pt x="388" y="50"/>
                </a:cubicBezTo>
                <a:close/>
                <a:moveTo>
                  <a:pt x="350" y="7"/>
                </a:moveTo>
                <a:cubicBezTo>
                  <a:pt x="351" y="6"/>
                  <a:pt x="358" y="6"/>
                  <a:pt x="359" y="6"/>
                </a:cubicBezTo>
                <a:cubicBezTo>
                  <a:pt x="355" y="6"/>
                  <a:pt x="351" y="7"/>
                  <a:pt x="349" y="7"/>
                </a:cubicBezTo>
                <a:cubicBezTo>
                  <a:pt x="350" y="7"/>
                  <a:pt x="350" y="7"/>
                  <a:pt x="350" y="7"/>
                </a:cubicBezTo>
                <a:cubicBezTo>
                  <a:pt x="350" y="7"/>
                  <a:pt x="349" y="7"/>
                  <a:pt x="350" y="7"/>
                </a:cubicBezTo>
                <a:close/>
                <a:moveTo>
                  <a:pt x="350" y="8"/>
                </a:moveTo>
                <a:cubicBezTo>
                  <a:pt x="350" y="8"/>
                  <a:pt x="350" y="8"/>
                  <a:pt x="351" y="7"/>
                </a:cubicBezTo>
                <a:cubicBezTo>
                  <a:pt x="348" y="8"/>
                  <a:pt x="348" y="7"/>
                  <a:pt x="347" y="7"/>
                </a:cubicBezTo>
                <a:cubicBezTo>
                  <a:pt x="346" y="8"/>
                  <a:pt x="345" y="8"/>
                  <a:pt x="343" y="8"/>
                </a:cubicBezTo>
                <a:cubicBezTo>
                  <a:pt x="342" y="8"/>
                  <a:pt x="336" y="8"/>
                  <a:pt x="335" y="9"/>
                </a:cubicBezTo>
                <a:cubicBezTo>
                  <a:pt x="336" y="9"/>
                  <a:pt x="337" y="9"/>
                  <a:pt x="337" y="9"/>
                </a:cubicBezTo>
                <a:cubicBezTo>
                  <a:pt x="334" y="10"/>
                  <a:pt x="330" y="9"/>
                  <a:pt x="327" y="11"/>
                </a:cubicBezTo>
                <a:cubicBezTo>
                  <a:pt x="331" y="11"/>
                  <a:pt x="333" y="10"/>
                  <a:pt x="336" y="10"/>
                </a:cubicBezTo>
                <a:cubicBezTo>
                  <a:pt x="336" y="9"/>
                  <a:pt x="337" y="9"/>
                  <a:pt x="339" y="9"/>
                </a:cubicBezTo>
                <a:cubicBezTo>
                  <a:pt x="339" y="9"/>
                  <a:pt x="336" y="9"/>
                  <a:pt x="337" y="10"/>
                </a:cubicBezTo>
                <a:cubicBezTo>
                  <a:pt x="342" y="9"/>
                  <a:pt x="350" y="9"/>
                  <a:pt x="351" y="8"/>
                </a:cubicBezTo>
                <a:cubicBezTo>
                  <a:pt x="350" y="8"/>
                  <a:pt x="350" y="8"/>
                  <a:pt x="350" y="8"/>
                </a:cubicBezTo>
                <a:close/>
                <a:moveTo>
                  <a:pt x="314" y="14"/>
                </a:moveTo>
                <a:cubicBezTo>
                  <a:pt x="315" y="14"/>
                  <a:pt x="322" y="13"/>
                  <a:pt x="320" y="13"/>
                </a:cubicBezTo>
                <a:cubicBezTo>
                  <a:pt x="317" y="14"/>
                  <a:pt x="316" y="13"/>
                  <a:pt x="314" y="14"/>
                </a:cubicBezTo>
                <a:close/>
                <a:moveTo>
                  <a:pt x="241" y="77"/>
                </a:moveTo>
                <a:cubicBezTo>
                  <a:pt x="240" y="77"/>
                  <a:pt x="241" y="75"/>
                  <a:pt x="240" y="76"/>
                </a:cubicBezTo>
                <a:cubicBezTo>
                  <a:pt x="240" y="76"/>
                  <a:pt x="238" y="77"/>
                  <a:pt x="238" y="77"/>
                </a:cubicBezTo>
                <a:cubicBezTo>
                  <a:pt x="238" y="77"/>
                  <a:pt x="238" y="77"/>
                  <a:pt x="237" y="77"/>
                </a:cubicBezTo>
                <a:cubicBezTo>
                  <a:pt x="237" y="78"/>
                  <a:pt x="238" y="77"/>
                  <a:pt x="238" y="77"/>
                </a:cubicBezTo>
                <a:cubicBezTo>
                  <a:pt x="236" y="79"/>
                  <a:pt x="236" y="78"/>
                  <a:pt x="235" y="79"/>
                </a:cubicBezTo>
                <a:cubicBezTo>
                  <a:pt x="236" y="79"/>
                  <a:pt x="240" y="77"/>
                  <a:pt x="241" y="77"/>
                </a:cubicBezTo>
                <a:close/>
                <a:moveTo>
                  <a:pt x="232" y="80"/>
                </a:moveTo>
                <a:cubicBezTo>
                  <a:pt x="232" y="81"/>
                  <a:pt x="233" y="81"/>
                  <a:pt x="228" y="83"/>
                </a:cubicBezTo>
                <a:cubicBezTo>
                  <a:pt x="231" y="83"/>
                  <a:pt x="236" y="79"/>
                  <a:pt x="241" y="77"/>
                </a:cubicBezTo>
                <a:cubicBezTo>
                  <a:pt x="238" y="78"/>
                  <a:pt x="235" y="79"/>
                  <a:pt x="232" y="80"/>
                </a:cubicBezTo>
                <a:close/>
                <a:moveTo>
                  <a:pt x="222" y="84"/>
                </a:moveTo>
                <a:cubicBezTo>
                  <a:pt x="220" y="86"/>
                  <a:pt x="220" y="87"/>
                  <a:pt x="223" y="86"/>
                </a:cubicBezTo>
                <a:cubicBezTo>
                  <a:pt x="221" y="87"/>
                  <a:pt x="219" y="89"/>
                  <a:pt x="217" y="89"/>
                </a:cubicBezTo>
                <a:cubicBezTo>
                  <a:pt x="217" y="88"/>
                  <a:pt x="219" y="88"/>
                  <a:pt x="219" y="87"/>
                </a:cubicBezTo>
                <a:cubicBezTo>
                  <a:pt x="217" y="88"/>
                  <a:pt x="213" y="90"/>
                  <a:pt x="213" y="91"/>
                </a:cubicBezTo>
                <a:cubicBezTo>
                  <a:pt x="218" y="88"/>
                  <a:pt x="214" y="91"/>
                  <a:pt x="215" y="91"/>
                </a:cubicBezTo>
                <a:cubicBezTo>
                  <a:pt x="219" y="89"/>
                  <a:pt x="219" y="89"/>
                  <a:pt x="219" y="89"/>
                </a:cubicBezTo>
                <a:cubicBezTo>
                  <a:pt x="219" y="88"/>
                  <a:pt x="224" y="86"/>
                  <a:pt x="226" y="84"/>
                </a:cubicBezTo>
                <a:cubicBezTo>
                  <a:pt x="222" y="86"/>
                  <a:pt x="223" y="85"/>
                  <a:pt x="222" y="84"/>
                </a:cubicBezTo>
                <a:close/>
                <a:moveTo>
                  <a:pt x="214" y="101"/>
                </a:moveTo>
                <a:cubicBezTo>
                  <a:pt x="214" y="103"/>
                  <a:pt x="210" y="104"/>
                  <a:pt x="207" y="106"/>
                </a:cubicBezTo>
                <a:cubicBezTo>
                  <a:pt x="211" y="104"/>
                  <a:pt x="216" y="101"/>
                  <a:pt x="220" y="99"/>
                </a:cubicBezTo>
                <a:cubicBezTo>
                  <a:pt x="219" y="99"/>
                  <a:pt x="215" y="102"/>
                  <a:pt x="215" y="101"/>
                </a:cubicBezTo>
                <a:cubicBezTo>
                  <a:pt x="219" y="99"/>
                  <a:pt x="223" y="98"/>
                  <a:pt x="226" y="95"/>
                </a:cubicBezTo>
                <a:cubicBezTo>
                  <a:pt x="223" y="97"/>
                  <a:pt x="219" y="98"/>
                  <a:pt x="214" y="101"/>
                </a:cubicBezTo>
                <a:close/>
                <a:moveTo>
                  <a:pt x="211" y="86"/>
                </a:moveTo>
                <a:cubicBezTo>
                  <a:pt x="213" y="83"/>
                  <a:pt x="216" y="83"/>
                  <a:pt x="217" y="81"/>
                </a:cubicBezTo>
                <a:cubicBezTo>
                  <a:pt x="214" y="83"/>
                  <a:pt x="214" y="82"/>
                  <a:pt x="210" y="84"/>
                </a:cubicBezTo>
                <a:cubicBezTo>
                  <a:pt x="210" y="85"/>
                  <a:pt x="208" y="86"/>
                  <a:pt x="211" y="86"/>
                </a:cubicBezTo>
                <a:close/>
                <a:moveTo>
                  <a:pt x="210" y="82"/>
                </a:moveTo>
                <a:cubicBezTo>
                  <a:pt x="211" y="82"/>
                  <a:pt x="207" y="83"/>
                  <a:pt x="208" y="84"/>
                </a:cubicBezTo>
                <a:cubicBezTo>
                  <a:pt x="211" y="83"/>
                  <a:pt x="211" y="82"/>
                  <a:pt x="213" y="80"/>
                </a:cubicBezTo>
                <a:cubicBezTo>
                  <a:pt x="214" y="80"/>
                  <a:pt x="214" y="81"/>
                  <a:pt x="215" y="80"/>
                </a:cubicBezTo>
                <a:cubicBezTo>
                  <a:pt x="216" y="79"/>
                  <a:pt x="212" y="81"/>
                  <a:pt x="210" y="82"/>
                </a:cubicBezTo>
                <a:close/>
                <a:moveTo>
                  <a:pt x="203" y="100"/>
                </a:moveTo>
                <a:cubicBezTo>
                  <a:pt x="201" y="100"/>
                  <a:pt x="199" y="102"/>
                  <a:pt x="199" y="102"/>
                </a:cubicBezTo>
                <a:cubicBezTo>
                  <a:pt x="201" y="100"/>
                  <a:pt x="205" y="97"/>
                  <a:pt x="207" y="96"/>
                </a:cubicBezTo>
                <a:cubicBezTo>
                  <a:pt x="207" y="96"/>
                  <a:pt x="213" y="92"/>
                  <a:pt x="212" y="92"/>
                </a:cubicBezTo>
                <a:cubicBezTo>
                  <a:pt x="211" y="93"/>
                  <a:pt x="207" y="95"/>
                  <a:pt x="207" y="96"/>
                </a:cubicBezTo>
                <a:cubicBezTo>
                  <a:pt x="204" y="97"/>
                  <a:pt x="201" y="100"/>
                  <a:pt x="197" y="101"/>
                </a:cubicBezTo>
                <a:cubicBezTo>
                  <a:pt x="197" y="102"/>
                  <a:pt x="198" y="101"/>
                  <a:pt x="196" y="103"/>
                </a:cubicBezTo>
                <a:cubicBezTo>
                  <a:pt x="192" y="104"/>
                  <a:pt x="183" y="110"/>
                  <a:pt x="180" y="114"/>
                </a:cubicBezTo>
                <a:cubicBezTo>
                  <a:pt x="175" y="115"/>
                  <a:pt x="167" y="123"/>
                  <a:pt x="160" y="128"/>
                </a:cubicBezTo>
                <a:cubicBezTo>
                  <a:pt x="161" y="128"/>
                  <a:pt x="163" y="127"/>
                  <a:pt x="161" y="129"/>
                </a:cubicBezTo>
                <a:cubicBezTo>
                  <a:pt x="164" y="127"/>
                  <a:pt x="163" y="126"/>
                  <a:pt x="165" y="125"/>
                </a:cubicBezTo>
                <a:cubicBezTo>
                  <a:pt x="166" y="125"/>
                  <a:pt x="167" y="124"/>
                  <a:pt x="165" y="127"/>
                </a:cubicBezTo>
                <a:cubicBezTo>
                  <a:pt x="167" y="125"/>
                  <a:pt x="166" y="126"/>
                  <a:pt x="168" y="125"/>
                </a:cubicBezTo>
                <a:cubicBezTo>
                  <a:pt x="168" y="124"/>
                  <a:pt x="169" y="122"/>
                  <a:pt x="167" y="123"/>
                </a:cubicBezTo>
                <a:cubicBezTo>
                  <a:pt x="172" y="119"/>
                  <a:pt x="174" y="119"/>
                  <a:pt x="177" y="116"/>
                </a:cubicBezTo>
                <a:cubicBezTo>
                  <a:pt x="176" y="117"/>
                  <a:pt x="178" y="116"/>
                  <a:pt x="179" y="115"/>
                </a:cubicBezTo>
                <a:cubicBezTo>
                  <a:pt x="179" y="115"/>
                  <a:pt x="178" y="115"/>
                  <a:pt x="179" y="114"/>
                </a:cubicBezTo>
                <a:cubicBezTo>
                  <a:pt x="183" y="113"/>
                  <a:pt x="189" y="107"/>
                  <a:pt x="193" y="105"/>
                </a:cubicBezTo>
                <a:cubicBezTo>
                  <a:pt x="193" y="105"/>
                  <a:pt x="192" y="105"/>
                  <a:pt x="194" y="104"/>
                </a:cubicBezTo>
                <a:cubicBezTo>
                  <a:pt x="193" y="106"/>
                  <a:pt x="196" y="103"/>
                  <a:pt x="198" y="102"/>
                </a:cubicBezTo>
                <a:cubicBezTo>
                  <a:pt x="198" y="103"/>
                  <a:pt x="189" y="108"/>
                  <a:pt x="194" y="106"/>
                </a:cubicBezTo>
                <a:cubicBezTo>
                  <a:pt x="192" y="107"/>
                  <a:pt x="190" y="108"/>
                  <a:pt x="190" y="108"/>
                </a:cubicBezTo>
                <a:cubicBezTo>
                  <a:pt x="194" y="106"/>
                  <a:pt x="190" y="109"/>
                  <a:pt x="189" y="110"/>
                </a:cubicBezTo>
                <a:cubicBezTo>
                  <a:pt x="194" y="107"/>
                  <a:pt x="196" y="106"/>
                  <a:pt x="200" y="103"/>
                </a:cubicBezTo>
                <a:cubicBezTo>
                  <a:pt x="201" y="103"/>
                  <a:pt x="200" y="103"/>
                  <a:pt x="201" y="102"/>
                </a:cubicBezTo>
                <a:cubicBezTo>
                  <a:pt x="202" y="102"/>
                  <a:pt x="205" y="100"/>
                  <a:pt x="205" y="99"/>
                </a:cubicBezTo>
                <a:cubicBezTo>
                  <a:pt x="207" y="98"/>
                  <a:pt x="210" y="96"/>
                  <a:pt x="210" y="97"/>
                </a:cubicBezTo>
                <a:cubicBezTo>
                  <a:pt x="212" y="96"/>
                  <a:pt x="213" y="96"/>
                  <a:pt x="213" y="95"/>
                </a:cubicBezTo>
                <a:cubicBezTo>
                  <a:pt x="211" y="96"/>
                  <a:pt x="215" y="94"/>
                  <a:pt x="214" y="94"/>
                </a:cubicBezTo>
                <a:cubicBezTo>
                  <a:pt x="213" y="95"/>
                  <a:pt x="213" y="94"/>
                  <a:pt x="211" y="95"/>
                </a:cubicBezTo>
                <a:cubicBezTo>
                  <a:pt x="211" y="96"/>
                  <a:pt x="207" y="98"/>
                  <a:pt x="205" y="99"/>
                </a:cubicBezTo>
                <a:cubicBezTo>
                  <a:pt x="205" y="99"/>
                  <a:pt x="202" y="101"/>
                  <a:pt x="202" y="101"/>
                </a:cubicBezTo>
                <a:cubicBezTo>
                  <a:pt x="200" y="101"/>
                  <a:pt x="205" y="99"/>
                  <a:pt x="203" y="100"/>
                </a:cubicBezTo>
                <a:close/>
                <a:moveTo>
                  <a:pt x="201" y="82"/>
                </a:moveTo>
                <a:cubicBezTo>
                  <a:pt x="203" y="81"/>
                  <a:pt x="203" y="82"/>
                  <a:pt x="205" y="81"/>
                </a:cubicBezTo>
                <a:cubicBezTo>
                  <a:pt x="205" y="80"/>
                  <a:pt x="206" y="80"/>
                  <a:pt x="205" y="79"/>
                </a:cubicBezTo>
                <a:cubicBezTo>
                  <a:pt x="203" y="80"/>
                  <a:pt x="202" y="81"/>
                  <a:pt x="201" y="82"/>
                </a:cubicBezTo>
                <a:close/>
                <a:moveTo>
                  <a:pt x="192" y="82"/>
                </a:moveTo>
                <a:cubicBezTo>
                  <a:pt x="192" y="81"/>
                  <a:pt x="194" y="80"/>
                  <a:pt x="194" y="80"/>
                </a:cubicBezTo>
                <a:cubicBezTo>
                  <a:pt x="192" y="80"/>
                  <a:pt x="187" y="84"/>
                  <a:pt x="190" y="83"/>
                </a:cubicBezTo>
                <a:cubicBezTo>
                  <a:pt x="192" y="81"/>
                  <a:pt x="191" y="83"/>
                  <a:pt x="191" y="83"/>
                </a:cubicBezTo>
                <a:cubicBezTo>
                  <a:pt x="192" y="83"/>
                  <a:pt x="194" y="82"/>
                  <a:pt x="195" y="81"/>
                </a:cubicBezTo>
                <a:cubicBezTo>
                  <a:pt x="195" y="81"/>
                  <a:pt x="195" y="82"/>
                  <a:pt x="195" y="82"/>
                </a:cubicBezTo>
                <a:cubicBezTo>
                  <a:pt x="197" y="81"/>
                  <a:pt x="197" y="81"/>
                  <a:pt x="197" y="81"/>
                </a:cubicBezTo>
                <a:cubicBezTo>
                  <a:pt x="197" y="80"/>
                  <a:pt x="197" y="80"/>
                  <a:pt x="197" y="80"/>
                </a:cubicBezTo>
                <a:cubicBezTo>
                  <a:pt x="194" y="82"/>
                  <a:pt x="193" y="81"/>
                  <a:pt x="192" y="82"/>
                </a:cubicBezTo>
                <a:close/>
                <a:moveTo>
                  <a:pt x="196" y="84"/>
                </a:moveTo>
                <a:cubicBezTo>
                  <a:pt x="193" y="86"/>
                  <a:pt x="192" y="85"/>
                  <a:pt x="192" y="85"/>
                </a:cubicBezTo>
                <a:cubicBezTo>
                  <a:pt x="192" y="86"/>
                  <a:pt x="191" y="86"/>
                  <a:pt x="191" y="87"/>
                </a:cubicBezTo>
                <a:cubicBezTo>
                  <a:pt x="193" y="86"/>
                  <a:pt x="192" y="87"/>
                  <a:pt x="194" y="87"/>
                </a:cubicBezTo>
                <a:cubicBezTo>
                  <a:pt x="196" y="86"/>
                  <a:pt x="195" y="86"/>
                  <a:pt x="197" y="85"/>
                </a:cubicBezTo>
                <a:cubicBezTo>
                  <a:pt x="198" y="84"/>
                  <a:pt x="195" y="86"/>
                  <a:pt x="195" y="85"/>
                </a:cubicBezTo>
                <a:cubicBezTo>
                  <a:pt x="195" y="85"/>
                  <a:pt x="198" y="82"/>
                  <a:pt x="196" y="83"/>
                </a:cubicBezTo>
                <a:cubicBezTo>
                  <a:pt x="196" y="83"/>
                  <a:pt x="196" y="83"/>
                  <a:pt x="196" y="84"/>
                </a:cubicBezTo>
                <a:close/>
                <a:moveTo>
                  <a:pt x="187" y="104"/>
                </a:moveTo>
                <a:cubicBezTo>
                  <a:pt x="188" y="103"/>
                  <a:pt x="188" y="105"/>
                  <a:pt x="192" y="103"/>
                </a:cubicBezTo>
                <a:cubicBezTo>
                  <a:pt x="192" y="102"/>
                  <a:pt x="190" y="103"/>
                  <a:pt x="190" y="103"/>
                </a:cubicBezTo>
                <a:cubicBezTo>
                  <a:pt x="192" y="102"/>
                  <a:pt x="193" y="101"/>
                  <a:pt x="194" y="99"/>
                </a:cubicBezTo>
                <a:cubicBezTo>
                  <a:pt x="195" y="100"/>
                  <a:pt x="195" y="100"/>
                  <a:pt x="195" y="100"/>
                </a:cubicBezTo>
                <a:cubicBezTo>
                  <a:pt x="197" y="98"/>
                  <a:pt x="198" y="98"/>
                  <a:pt x="201" y="96"/>
                </a:cubicBezTo>
                <a:cubicBezTo>
                  <a:pt x="200" y="96"/>
                  <a:pt x="201" y="94"/>
                  <a:pt x="200" y="95"/>
                </a:cubicBezTo>
                <a:cubicBezTo>
                  <a:pt x="196" y="97"/>
                  <a:pt x="191" y="101"/>
                  <a:pt x="189" y="102"/>
                </a:cubicBezTo>
                <a:cubicBezTo>
                  <a:pt x="188" y="103"/>
                  <a:pt x="191" y="102"/>
                  <a:pt x="188" y="103"/>
                </a:cubicBezTo>
                <a:cubicBezTo>
                  <a:pt x="188" y="103"/>
                  <a:pt x="187" y="104"/>
                  <a:pt x="187" y="104"/>
                </a:cubicBezTo>
                <a:close/>
                <a:moveTo>
                  <a:pt x="198" y="107"/>
                </a:moveTo>
                <a:cubicBezTo>
                  <a:pt x="200" y="106"/>
                  <a:pt x="201" y="105"/>
                  <a:pt x="202" y="105"/>
                </a:cubicBezTo>
                <a:cubicBezTo>
                  <a:pt x="201" y="105"/>
                  <a:pt x="199" y="106"/>
                  <a:pt x="198" y="106"/>
                </a:cubicBezTo>
                <a:cubicBezTo>
                  <a:pt x="200" y="105"/>
                  <a:pt x="200" y="104"/>
                  <a:pt x="202" y="103"/>
                </a:cubicBezTo>
                <a:cubicBezTo>
                  <a:pt x="201" y="104"/>
                  <a:pt x="203" y="102"/>
                  <a:pt x="205" y="102"/>
                </a:cubicBezTo>
                <a:cubicBezTo>
                  <a:pt x="204" y="101"/>
                  <a:pt x="200" y="104"/>
                  <a:pt x="197" y="105"/>
                </a:cubicBezTo>
                <a:cubicBezTo>
                  <a:pt x="199" y="105"/>
                  <a:pt x="196" y="108"/>
                  <a:pt x="198" y="107"/>
                </a:cubicBezTo>
                <a:close/>
                <a:moveTo>
                  <a:pt x="186" y="99"/>
                </a:moveTo>
                <a:cubicBezTo>
                  <a:pt x="183" y="101"/>
                  <a:pt x="173" y="108"/>
                  <a:pt x="182" y="103"/>
                </a:cubicBezTo>
                <a:cubicBezTo>
                  <a:pt x="183" y="101"/>
                  <a:pt x="187" y="99"/>
                  <a:pt x="183" y="102"/>
                </a:cubicBezTo>
                <a:cubicBezTo>
                  <a:pt x="186" y="100"/>
                  <a:pt x="187" y="99"/>
                  <a:pt x="188" y="98"/>
                </a:cubicBezTo>
                <a:cubicBezTo>
                  <a:pt x="187" y="99"/>
                  <a:pt x="187" y="98"/>
                  <a:pt x="186" y="99"/>
                </a:cubicBezTo>
                <a:close/>
                <a:moveTo>
                  <a:pt x="169" y="89"/>
                </a:moveTo>
                <a:cubicBezTo>
                  <a:pt x="171" y="89"/>
                  <a:pt x="178" y="83"/>
                  <a:pt x="174" y="85"/>
                </a:cubicBezTo>
                <a:cubicBezTo>
                  <a:pt x="174" y="86"/>
                  <a:pt x="171" y="88"/>
                  <a:pt x="169" y="89"/>
                </a:cubicBezTo>
                <a:close/>
                <a:moveTo>
                  <a:pt x="182" y="123"/>
                </a:moveTo>
                <a:cubicBezTo>
                  <a:pt x="187" y="120"/>
                  <a:pt x="189" y="118"/>
                  <a:pt x="195" y="114"/>
                </a:cubicBezTo>
                <a:cubicBezTo>
                  <a:pt x="194" y="115"/>
                  <a:pt x="195" y="113"/>
                  <a:pt x="194" y="114"/>
                </a:cubicBezTo>
                <a:cubicBezTo>
                  <a:pt x="194" y="114"/>
                  <a:pt x="191" y="117"/>
                  <a:pt x="189" y="118"/>
                </a:cubicBezTo>
                <a:cubicBezTo>
                  <a:pt x="190" y="117"/>
                  <a:pt x="190" y="117"/>
                  <a:pt x="190" y="116"/>
                </a:cubicBezTo>
                <a:cubicBezTo>
                  <a:pt x="188" y="118"/>
                  <a:pt x="186" y="120"/>
                  <a:pt x="183" y="121"/>
                </a:cubicBezTo>
                <a:cubicBezTo>
                  <a:pt x="184" y="121"/>
                  <a:pt x="184" y="120"/>
                  <a:pt x="183" y="121"/>
                </a:cubicBezTo>
                <a:cubicBezTo>
                  <a:pt x="183" y="121"/>
                  <a:pt x="182" y="123"/>
                  <a:pt x="182" y="123"/>
                </a:cubicBezTo>
                <a:close/>
                <a:moveTo>
                  <a:pt x="178" y="110"/>
                </a:moveTo>
                <a:cubicBezTo>
                  <a:pt x="180" y="109"/>
                  <a:pt x="180" y="109"/>
                  <a:pt x="180" y="109"/>
                </a:cubicBezTo>
                <a:cubicBezTo>
                  <a:pt x="178" y="111"/>
                  <a:pt x="182" y="109"/>
                  <a:pt x="182" y="108"/>
                </a:cubicBezTo>
                <a:cubicBezTo>
                  <a:pt x="181" y="108"/>
                  <a:pt x="179" y="109"/>
                  <a:pt x="178" y="110"/>
                </a:cubicBezTo>
                <a:close/>
                <a:moveTo>
                  <a:pt x="178" y="117"/>
                </a:moveTo>
                <a:cubicBezTo>
                  <a:pt x="177" y="118"/>
                  <a:pt x="176" y="118"/>
                  <a:pt x="175" y="120"/>
                </a:cubicBezTo>
                <a:cubicBezTo>
                  <a:pt x="176" y="119"/>
                  <a:pt x="176" y="119"/>
                  <a:pt x="177" y="119"/>
                </a:cubicBezTo>
                <a:cubicBezTo>
                  <a:pt x="178" y="118"/>
                  <a:pt x="182" y="116"/>
                  <a:pt x="181" y="116"/>
                </a:cubicBezTo>
                <a:cubicBezTo>
                  <a:pt x="177" y="119"/>
                  <a:pt x="181" y="114"/>
                  <a:pt x="178" y="117"/>
                </a:cubicBezTo>
                <a:close/>
                <a:moveTo>
                  <a:pt x="164" y="122"/>
                </a:moveTo>
                <a:cubicBezTo>
                  <a:pt x="169" y="117"/>
                  <a:pt x="172" y="117"/>
                  <a:pt x="177" y="112"/>
                </a:cubicBezTo>
                <a:cubicBezTo>
                  <a:pt x="174" y="114"/>
                  <a:pt x="176" y="112"/>
                  <a:pt x="174" y="113"/>
                </a:cubicBezTo>
                <a:cubicBezTo>
                  <a:pt x="171" y="116"/>
                  <a:pt x="165" y="119"/>
                  <a:pt x="164" y="122"/>
                </a:cubicBezTo>
                <a:close/>
                <a:moveTo>
                  <a:pt x="159" y="111"/>
                </a:moveTo>
                <a:cubicBezTo>
                  <a:pt x="160" y="110"/>
                  <a:pt x="164" y="108"/>
                  <a:pt x="164" y="107"/>
                </a:cubicBezTo>
                <a:cubicBezTo>
                  <a:pt x="162" y="109"/>
                  <a:pt x="158" y="112"/>
                  <a:pt x="159" y="111"/>
                </a:cubicBezTo>
                <a:close/>
                <a:moveTo>
                  <a:pt x="170" y="123"/>
                </a:moveTo>
                <a:cubicBezTo>
                  <a:pt x="172" y="122"/>
                  <a:pt x="175" y="118"/>
                  <a:pt x="172" y="121"/>
                </a:cubicBezTo>
                <a:cubicBezTo>
                  <a:pt x="172" y="121"/>
                  <a:pt x="173" y="120"/>
                  <a:pt x="173" y="121"/>
                </a:cubicBezTo>
                <a:cubicBezTo>
                  <a:pt x="172" y="121"/>
                  <a:pt x="168" y="124"/>
                  <a:pt x="170" y="123"/>
                </a:cubicBezTo>
                <a:close/>
                <a:moveTo>
                  <a:pt x="125" y="113"/>
                </a:moveTo>
                <a:cubicBezTo>
                  <a:pt x="123" y="114"/>
                  <a:pt x="123" y="114"/>
                  <a:pt x="123" y="114"/>
                </a:cubicBezTo>
                <a:cubicBezTo>
                  <a:pt x="123" y="115"/>
                  <a:pt x="122" y="116"/>
                  <a:pt x="123" y="115"/>
                </a:cubicBezTo>
                <a:cubicBezTo>
                  <a:pt x="125" y="114"/>
                  <a:pt x="125" y="114"/>
                  <a:pt x="125" y="113"/>
                </a:cubicBezTo>
                <a:cubicBezTo>
                  <a:pt x="125" y="113"/>
                  <a:pt x="126" y="113"/>
                  <a:pt x="126" y="112"/>
                </a:cubicBezTo>
                <a:cubicBezTo>
                  <a:pt x="125" y="113"/>
                  <a:pt x="125" y="113"/>
                  <a:pt x="125" y="113"/>
                </a:cubicBezTo>
                <a:close/>
                <a:moveTo>
                  <a:pt x="107" y="138"/>
                </a:moveTo>
                <a:cubicBezTo>
                  <a:pt x="106" y="138"/>
                  <a:pt x="106" y="138"/>
                  <a:pt x="105" y="139"/>
                </a:cubicBezTo>
                <a:cubicBezTo>
                  <a:pt x="105" y="138"/>
                  <a:pt x="107" y="136"/>
                  <a:pt x="107" y="136"/>
                </a:cubicBezTo>
                <a:cubicBezTo>
                  <a:pt x="105" y="138"/>
                  <a:pt x="104" y="139"/>
                  <a:pt x="102" y="141"/>
                </a:cubicBezTo>
                <a:cubicBezTo>
                  <a:pt x="104" y="141"/>
                  <a:pt x="106" y="140"/>
                  <a:pt x="108" y="139"/>
                </a:cubicBezTo>
                <a:cubicBezTo>
                  <a:pt x="104" y="141"/>
                  <a:pt x="110" y="134"/>
                  <a:pt x="107" y="137"/>
                </a:cubicBezTo>
                <a:cubicBezTo>
                  <a:pt x="107" y="137"/>
                  <a:pt x="107" y="137"/>
                  <a:pt x="107" y="138"/>
                </a:cubicBezTo>
                <a:close/>
                <a:moveTo>
                  <a:pt x="128" y="160"/>
                </a:moveTo>
                <a:cubicBezTo>
                  <a:pt x="127" y="161"/>
                  <a:pt x="126" y="161"/>
                  <a:pt x="126" y="161"/>
                </a:cubicBezTo>
                <a:cubicBezTo>
                  <a:pt x="125" y="163"/>
                  <a:pt x="128" y="160"/>
                  <a:pt x="128" y="162"/>
                </a:cubicBezTo>
                <a:cubicBezTo>
                  <a:pt x="127" y="163"/>
                  <a:pt x="126" y="164"/>
                  <a:pt x="125" y="164"/>
                </a:cubicBezTo>
                <a:cubicBezTo>
                  <a:pt x="125" y="165"/>
                  <a:pt x="128" y="162"/>
                  <a:pt x="129" y="162"/>
                </a:cubicBezTo>
                <a:cubicBezTo>
                  <a:pt x="128" y="162"/>
                  <a:pt x="127" y="163"/>
                  <a:pt x="127" y="163"/>
                </a:cubicBezTo>
                <a:cubicBezTo>
                  <a:pt x="131" y="161"/>
                  <a:pt x="128" y="162"/>
                  <a:pt x="131" y="159"/>
                </a:cubicBezTo>
                <a:cubicBezTo>
                  <a:pt x="130" y="159"/>
                  <a:pt x="127" y="162"/>
                  <a:pt x="128" y="160"/>
                </a:cubicBezTo>
                <a:close/>
                <a:moveTo>
                  <a:pt x="95" y="148"/>
                </a:moveTo>
                <a:cubicBezTo>
                  <a:pt x="95" y="148"/>
                  <a:pt x="96" y="148"/>
                  <a:pt x="96" y="148"/>
                </a:cubicBezTo>
                <a:cubicBezTo>
                  <a:pt x="94" y="149"/>
                  <a:pt x="94" y="150"/>
                  <a:pt x="94" y="150"/>
                </a:cubicBezTo>
                <a:cubicBezTo>
                  <a:pt x="98" y="147"/>
                  <a:pt x="99" y="145"/>
                  <a:pt x="101" y="143"/>
                </a:cubicBezTo>
                <a:cubicBezTo>
                  <a:pt x="102" y="143"/>
                  <a:pt x="102" y="142"/>
                  <a:pt x="102" y="141"/>
                </a:cubicBezTo>
                <a:cubicBezTo>
                  <a:pt x="100" y="143"/>
                  <a:pt x="97" y="147"/>
                  <a:pt x="95" y="148"/>
                </a:cubicBezTo>
                <a:close/>
                <a:moveTo>
                  <a:pt x="110" y="169"/>
                </a:moveTo>
                <a:cubicBezTo>
                  <a:pt x="110" y="169"/>
                  <a:pt x="111" y="169"/>
                  <a:pt x="111" y="169"/>
                </a:cubicBezTo>
                <a:cubicBezTo>
                  <a:pt x="110" y="170"/>
                  <a:pt x="109" y="171"/>
                  <a:pt x="109" y="171"/>
                </a:cubicBezTo>
                <a:cubicBezTo>
                  <a:pt x="112" y="168"/>
                  <a:pt x="113" y="166"/>
                  <a:pt x="114" y="165"/>
                </a:cubicBezTo>
                <a:cubicBezTo>
                  <a:pt x="114" y="165"/>
                  <a:pt x="114" y="165"/>
                  <a:pt x="114" y="165"/>
                </a:cubicBezTo>
                <a:cubicBezTo>
                  <a:pt x="112" y="167"/>
                  <a:pt x="111" y="169"/>
                  <a:pt x="110" y="169"/>
                </a:cubicBezTo>
                <a:close/>
                <a:moveTo>
                  <a:pt x="91" y="154"/>
                </a:moveTo>
                <a:cubicBezTo>
                  <a:pt x="92" y="155"/>
                  <a:pt x="92" y="155"/>
                  <a:pt x="92" y="155"/>
                </a:cubicBezTo>
                <a:cubicBezTo>
                  <a:pt x="94" y="153"/>
                  <a:pt x="93" y="153"/>
                  <a:pt x="94" y="152"/>
                </a:cubicBezTo>
                <a:cubicBezTo>
                  <a:pt x="94" y="152"/>
                  <a:pt x="94" y="152"/>
                  <a:pt x="95" y="152"/>
                </a:cubicBezTo>
                <a:cubicBezTo>
                  <a:pt x="95" y="152"/>
                  <a:pt x="95" y="151"/>
                  <a:pt x="95" y="151"/>
                </a:cubicBezTo>
                <a:cubicBezTo>
                  <a:pt x="94" y="151"/>
                  <a:pt x="94" y="151"/>
                  <a:pt x="94" y="152"/>
                </a:cubicBezTo>
                <a:cubicBezTo>
                  <a:pt x="93" y="153"/>
                  <a:pt x="93" y="153"/>
                  <a:pt x="91" y="154"/>
                </a:cubicBezTo>
                <a:close/>
                <a:moveTo>
                  <a:pt x="92" y="162"/>
                </a:moveTo>
                <a:cubicBezTo>
                  <a:pt x="94" y="162"/>
                  <a:pt x="97" y="157"/>
                  <a:pt x="99" y="155"/>
                </a:cubicBezTo>
                <a:cubicBezTo>
                  <a:pt x="96" y="158"/>
                  <a:pt x="95" y="159"/>
                  <a:pt x="92" y="162"/>
                </a:cubicBezTo>
                <a:close/>
                <a:moveTo>
                  <a:pt x="88" y="161"/>
                </a:moveTo>
                <a:cubicBezTo>
                  <a:pt x="87" y="161"/>
                  <a:pt x="87" y="161"/>
                  <a:pt x="87" y="161"/>
                </a:cubicBezTo>
                <a:cubicBezTo>
                  <a:pt x="87" y="161"/>
                  <a:pt x="87" y="161"/>
                  <a:pt x="87" y="161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3"/>
                  <a:pt x="87" y="163"/>
                </a:cubicBezTo>
                <a:cubicBezTo>
                  <a:pt x="87" y="163"/>
                  <a:pt x="87" y="162"/>
                  <a:pt x="87" y="162"/>
                </a:cubicBezTo>
                <a:cubicBezTo>
                  <a:pt x="87" y="162"/>
                  <a:pt x="87" y="162"/>
                  <a:pt x="88" y="161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8" y="162"/>
                  <a:pt x="90" y="159"/>
                  <a:pt x="91" y="158"/>
                </a:cubicBezTo>
                <a:cubicBezTo>
                  <a:pt x="91" y="157"/>
                  <a:pt x="93" y="157"/>
                  <a:pt x="94" y="156"/>
                </a:cubicBezTo>
                <a:cubicBezTo>
                  <a:pt x="92" y="156"/>
                  <a:pt x="90" y="158"/>
                  <a:pt x="88" y="161"/>
                </a:cubicBezTo>
                <a:close/>
                <a:moveTo>
                  <a:pt x="106" y="176"/>
                </a:moveTo>
                <a:cubicBezTo>
                  <a:pt x="106" y="177"/>
                  <a:pt x="105" y="177"/>
                  <a:pt x="105" y="178"/>
                </a:cubicBezTo>
                <a:cubicBezTo>
                  <a:pt x="104" y="178"/>
                  <a:pt x="104" y="178"/>
                  <a:pt x="104" y="178"/>
                </a:cubicBezTo>
                <a:cubicBezTo>
                  <a:pt x="104" y="179"/>
                  <a:pt x="103" y="179"/>
                  <a:pt x="103" y="180"/>
                </a:cubicBezTo>
                <a:cubicBezTo>
                  <a:pt x="104" y="179"/>
                  <a:pt x="104" y="180"/>
                  <a:pt x="104" y="179"/>
                </a:cubicBezTo>
                <a:cubicBezTo>
                  <a:pt x="105" y="179"/>
                  <a:pt x="105" y="180"/>
                  <a:pt x="106" y="179"/>
                </a:cubicBezTo>
                <a:cubicBezTo>
                  <a:pt x="105" y="179"/>
                  <a:pt x="105" y="179"/>
                  <a:pt x="105" y="179"/>
                </a:cubicBezTo>
                <a:cubicBezTo>
                  <a:pt x="105" y="178"/>
                  <a:pt x="105" y="179"/>
                  <a:pt x="106" y="178"/>
                </a:cubicBezTo>
                <a:cubicBezTo>
                  <a:pt x="105" y="179"/>
                  <a:pt x="108" y="175"/>
                  <a:pt x="108" y="175"/>
                </a:cubicBezTo>
                <a:cubicBezTo>
                  <a:pt x="108" y="175"/>
                  <a:pt x="108" y="175"/>
                  <a:pt x="109" y="175"/>
                </a:cubicBezTo>
                <a:cubicBezTo>
                  <a:pt x="108" y="175"/>
                  <a:pt x="107" y="175"/>
                  <a:pt x="106" y="176"/>
                </a:cubicBezTo>
                <a:close/>
                <a:moveTo>
                  <a:pt x="109" y="180"/>
                </a:moveTo>
                <a:cubicBezTo>
                  <a:pt x="108" y="180"/>
                  <a:pt x="108" y="180"/>
                  <a:pt x="108" y="180"/>
                </a:cubicBezTo>
                <a:cubicBezTo>
                  <a:pt x="108" y="181"/>
                  <a:pt x="108" y="181"/>
                  <a:pt x="108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6" y="182"/>
                  <a:pt x="106" y="183"/>
                  <a:pt x="105" y="184"/>
                </a:cubicBezTo>
                <a:cubicBezTo>
                  <a:pt x="106" y="184"/>
                  <a:pt x="107" y="183"/>
                  <a:pt x="107" y="182"/>
                </a:cubicBezTo>
                <a:cubicBezTo>
                  <a:pt x="108" y="182"/>
                  <a:pt x="108" y="182"/>
                  <a:pt x="108" y="182"/>
                </a:cubicBezTo>
                <a:cubicBezTo>
                  <a:pt x="108" y="182"/>
                  <a:pt x="108" y="182"/>
                  <a:pt x="110" y="180"/>
                </a:cubicBezTo>
                <a:cubicBezTo>
                  <a:pt x="110" y="180"/>
                  <a:pt x="109" y="180"/>
                  <a:pt x="109" y="180"/>
                </a:cubicBezTo>
                <a:close/>
                <a:moveTo>
                  <a:pt x="88" y="171"/>
                </a:moveTo>
                <a:cubicBezTo>
                  <a:pt x="89" y="170"/>
                  <a:pt x="88" y="170"/>
                  <a:pt x="88" y="170"/>
                </a:cubicBezTo>
                <a:cubicBezTo>
                  <a:pt x="89" y="171"/>
                  <a:pt x="90" y="169"/>
                  <a:pt x="90" y="169"/>
                </a:cubicBezTo>
                <a:cubicBezTo>
                  <a:pt x="90" y="169"/>
                  <a:pt x="90" y="168"/>
                  <a:pt x="89" y="169"/>
                </a:cubicBezTo>
                <a:cubicBezTo>
                  <a:pt x="89" y="169"/>
                  <a:pt x="88" y="170"/>
                  <a:pt x="88" y="171"/>
                </a:cubicBezTo>
                <a:close/>
                <a:moveTo>
                  <a:pt x="98" y="180"/>
                </a:moveTo>
                <a:cubicBezTo>
                  <a:pt x="99" y="179"/>
                  <a:pt x="99" y="180"/>
                  <a:pt x="100" y="180"/>
                </a:cubicBezTo>
                <a:cubicBezTo>
                  <a:pt x="99" y="179"/>
                  <a:pt x="98" y="179"/>
                  <a:pt x="98" y="180"/>
                </a:cubicBezTo>
                <a:close/>
                <a:moveTo>
                  <a:pt x="102" y="183"/>
                </a:moveTo>
                <a:cubicBezTo>
                  <a:pt x="102" y="182"/>
                  <a:pt x="101" y="182"/>
                  <a:pt x="102" y="182"/>
                </a:cubicBezTo>
                <a:cubicBezTo>
                  <a:pt x="102" y="182"/>
                  <a:pt x="102" y="183"/>
                  <a:pt x="102" y="182"/>
                </a:cubicBezTo>
                <a:cubicBezTo>
                  <a:pt x="102" y="182"/>
                  <a:pt x="101" y="182"/>
                  <a:pt x="101" y="182"/>
                </a:cubicBezTo>
                <a:cubicBezTo>
                  <a:pt x="102" y="182"/>
                  <a:pt x="101" y="183"/>
                  <a:pt x="102" y="183"/>
                </a:cubicBezTo>
                <a:close/>
                <a:moveTo>
                  <a:pt x="102" y="191"/>
                </a:moveTo>
                <a:cubicBezTo>
                  <a:pt x="102" y="191"/>
                  <a:pt x="104" y="189"/>
                  <a:pt x="104" y="188"/>
                </a:cubicBezTo>
                <a:cubicBezTo>
                  <a:pt x="103" y="187"/>
                  <a:pt x="103" y="186"/>
                  <a:pt x="102" y="187"/>
                </a:cubicBezTo>
                <a:cubicBezTo>
                  <a:pt x="104" y="188"/>
                  <a:pt x="101" y="190"/>
                  <a:pt x="102" y="191"/>
                </a:cubicBezTo>
                <a:close/>
                <a:moveTo>
                  <a:pt x="100" y="187"/>
                </a:moveTo>
                <a:cubicBezTo>
                  <a:pt x="100" y="187"/>
                  <a:pt x="99" y="187"/>
                  <a:pt x="100" y="187"/>
                </a:cubicBezTo>
                <a:cubicBezTo>
                  <a:pt x="100" y="187"/>
                  <a:pt x="101" y="187"/>
                  <a:pt x="101" y="187"/>
                </a:cubicBezTo>
                <a:cubicBezTo>
                  <a:pt x="100" y="187"/>
                  <a:pt x="100" y="187"/>
                  <a:pt x="100" y="187"/>
                </a:cubicBezTo>
                <a:close/>
                <a:moveTo>
                  <a:pt x="99" y="192"/>
                </a:moveTo>
                <a:cubicBezTo>
                  <a:pt x="97" y="193"/>
                  <a:pt x="94" y="197"/>
                  <a:pt x="94" y="198"/>
                </a:cubicBezTo>
                <a:cubicBezTo>
                  <a:pt x="95" y="197"/>
                  <a:pt x="96" y="196"/>
                  <a:pt x="97" y="194"/>
                </a:cubicBezTo>
                <a:cubicBezTo>
                  <a:pt x="97" y="195"/>
                  <a:pt x="97" y="195"/>
                  <a:pt x="97" y="194"/>
                </a:cubicBezTo>
                <a:cubicBezTo>
                  <a:pt x="98" y="192"/>
                  <a:pt x="101" y="192"/>
                  <a:pt x="102" y="189"/>
                </a:cubicBezTo>
                <a:cubicBezTo>
                  <a:pt x="101" y="189"/>
                  <a:pt x="101" y="190"/>
                  <a:pt x="101" y="190"/>
                </a:cubicBezTo>
                <a:cubicBezTo>
                  <a:pt x="100" y="189"/>
                  <a:pt x="102" y="189"/>
                  <a:pt x="102" y="188"/>
                </a:cubicBezTo>
                <a:cubicBezTo>
                  <a:pt x="100" y="189"/>
                  <a:pt x="100" y="191"/>
                  <a:pt x="98" y="191"/>
                </a:cubicBezTo>
                <a:cubicBezTo>
                  <a:pt x="99" y="191"/>
                  <a:pt x="99" y="192"/>
                  <a:pt x="99" y="192"/>
                </a:cubicBezTo>
                <a:close/>
                <a:moveTo>
                  <a:pt x="95" y="191"/>
                </a:moveTo>
                <a:cubicBezTo>
                  <a:pt x="96" y="191"/>
                  <a:pt x="95" y="192"/>
                  <a:pt x="96" y="192"/>
                </a:cubicBezTo>
                <a:cubicBezTo>
                  <a:pt x="96" y="191"/>
                  <a:pt x="98" y="191"/>
                  <a:pt x="97" y="190"/>
                </a:cubicBezTo>
                <a:cubicBezTo>
                  <a:pt x="98" y="190"/>
                  <a:pt x="98" y="189"/>
                  <a:pt x="98" y="189"/>
                </a:cubicBezTo>
                <a:cubicBezTo>
                  <a:pt x="98" y="189"/>
                  <a:pt x="97" y="189"/>
                  <a:pt x="98" y="189"/>
                </a:cubicBezTo>
                <a:cubicBezTo>
                  <a:pt x="98" y="189"/>
                  <a:pt x="99" y="189"/>
                  <a:pt x="100" y="188"/>
                </a:cubicBezTo>
                <a:cubicBezTo>
                  <a:pt x="99" y="187"/>
                  <a:pt x="99" y="187"/>
                  <a:pt x="99" y="187"/>
                </a:cubicBezTo>
                <a:cubicBezTo>
                  <a:pt x="98" y="187"/>
                  <a:pt x="99" y="188"/>
                  <a:pt x="98" y="188"/>
                </a:cubicBezTo>
                <a:cubicBezTo>
                  <a:pt x="98" y="187"/>
                  <a:pt x="96" y="189"/>
                  <a:pt x="97" y="190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0"/>
                  <a:pt x="97" y="190"/>
                  <a:pt x="96" y="191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1"/>
                  <a:pt x="96" y="191"/>
                  <a:pt x="95" y="191"/>
                </a:cubicBezTo>
                <a:close/>
                <a:moveTo>
                  <a:pt x="85" y="191"/>
                </a:moveTo>
                <a:cubicBezTo>
                  <a:pt x="85" y="194"/>
                  <a:pt x="82" y="195"/>
                  <a:pt x="81" y="197"/>
                </a:cubicBezTo>
                <a:cubicBezTo>
                  <a:pt x="82" y="198"/>
                  <a:pt x="82" y="197"/>
                  <a:pt x="82" y="197"/>
                </a:cubicBezTo>
                <a:cubicBezTo>
                  <a:pt x="84" y="195"/>
                  <a:pt x="85" y="193"/>
                  <a:pt x="87" y="192"/>
                </a:cubicBezTo>
                <a:cubicBezTo>
                  <a:pt x="87" y="192"/>
                  <a:pt x="87" y="193"/>
                  <a:pt x="88" y="193"/>
                </a:cubicBezTo>
                <a:cubicBezTo>
                  <a:pt x="88" y="193"/>
                  <a:pt x="89" y="191"/>
                  <a:pt x="90" y="191"/>
                </a:cubicBezTo>
                <a:cubicBezTo>
                  <a:pt x="89" y="190"/>
                  <a:pt x="89" y="190"/>
                  <a:pt x="89" y="190"/>
                </a:cubicBezTo>
                <a:cubicBezTo>
                  <a:pt x="89" y="191"/>
                  <a:pt x="88" y="193"/>
                  <a:pt x="87" y="192"/>
                </a:cubicBezTo>
                <a:cubicBezTo>
                  <a:pt x="87" y="191"/>
                  <a:pt x="88" y="190"/>
                  <a:pt x="89" y="189"/>
                </a:cubicBezTo>
                <a:cubicBezTo>
                  <a:pt x="88" y="189"/>
                  <a:pt x="88" y="188"/>
                  <a:pt x="87" y="189"/>
                </a:cubicBezTo>
                <a:cubicBezTo>
                  <a:pt x="88" y="189"/>
                  <a:pt x="87" y="190"/>
                  <a:pt x="88" y="190"/>
                </a:cubicBezTo>
                <a:cubicBezTo>
                  <a:pt x="87" y="190"/>
                  <a:pt x="88" y="190"/>
                  <a:pt x="87" y="190"/>
                </a:cubicBezTo>
                <a:cubicBezTo>
                  <a:pt x="86" y="190"/>
                  <a:pt x="86" y="192"/>
                  <a:pt x="85" y="191"/>
                </a:cubicBezTo>
                <a:cubicBezTo>
                  <a:pt x="86" y="191"/>
                  <a:pt x="86" y="191"/>
                  <a:pt x="86" y="191"/>
                </a:cubicBezTo>
                <a:cubicBezTo>
                  <a:pt x="85" y="191"/>
                  <a:pt x="86" y="191"/>
                  <a:pt x="85" y="191"/>
                </a:cubicBezTo>
                <a:close/>
                <a:moveTo>
                  <a:pt x="94" y="201"/>
                </a:moveTo>
                <a:cubicBezTo>
                  <a:pt x="95" y="200"/>
                  <a:pt x="94" y="199"/>
                  <a:pt x="95" y="200"/>
                </a:cubicBezTo>
                <a:cubicBezTo>
                  <a:pt x="95" y="199"/>
                  <a:pt x="95" y="199"/>
                  <a:pt x="96" y="199"/>
                </a:cubicBezTo>
                <a:cubicBezTo>
                  <a:pt x="94" y="198"/>
                  <a:pt x="94" y="200"/>
                  <a:pt x="94" y="201"/>
                </a:cubicBezTo>
                <a:close/>
                <a:moveTo>
                  <a:pt x="93" y="198"/>
                </a:moveTo>
                <a:cubicBezTo>
                  <a:pt x="93" y="199"/>
                  <a:pt x="93" y="199"/>
                  <a:pt x="92" y="199"/>
                </a:cubicBezTo>
                <a:cubicBezTo>
                  <a:pt x="93" y="200"/>
                  <a:pt x="91" y="200"/>
                  <a:pt x="92" y="200"/>
                </a:cubicBezTo>
                <a:cubicBezTo>
                  <a:pt x="92" y="199"/>
                  <a:pt x="94" y="199"/>
                  <a:pt x="93" y="198"/>
                </a:cubicBezTo>
                <a:close/>
                <a:moveTo>
                  <a:pt x="91" y="201"/>
                </a:moveTo>
                <a:cubicBezTo>
                  <a:pt x="91" y="202"/>
                  <a:pt x="91" y="201"/>
                  <a:pt x="90" y="201"/>
                </a:cubicBezTo>
                <a:cubicBezTo>
                  <a:pt x="90" y="202"/>
                  <a:pt x="91" y="202"/>
                  <a:pt x="91" y="202"/>
                </a:cubicBezTo>
                <a:cubicBezTo>
                  <a:pt x="91" y="202"/>
                  <a:pt x="91" y="202"/>
                  <a:pt x="91" y="203"/>
                </a:cubicBezTo>
                <a:cubicBezTo>
                  <a:pt x="91" y="202"/>
                  <a:pt x="92" y="202"/>
                  <a:pt x="91" y="202"/>
                </a:cubicBezTo>
                <a:cubicBezTo>
                  <a:pt x="92" y="201"/>
                  <a:pt x="92" y="202"/>
                  <a:pt x="92" y="201"/>
                </a:cubicBezTo>
                <a:cubicBezTo>
                  <a:pt x="92" y="201"/>
                  <a:pt x="92" y="201"/>
                  <a:pt x="92" y="201"/>
                </a:cubicBezTo>
                <a:cubicBezTo>
                  <a:pt x="92" y="200"/>
                  <a:pt x="92" y="201"/>
                  <a:pt x="93" y="201"/>
                </a:cubicBezTo>
                <a:cubicBezTo>
                  <a:pt x="93" y="200"/>
                  <a:pt x="93" y="200"/>
                  <a:pt x="93" y="200"/>
                </a:cubicBezTo>
                <a:cubicBezTo>
                  <a:pt x="92" y="199"/>
                  <a:pt x="92" y="201"/>
                  <a:pt x="91" y="201"/>
                </a:cubicBezTo>
                <a:close/>
                <a:moveTo>
                  <a:pt x="87" y="202"/>
                </a:moveTo>
                <a:cubicBezTo>
                  <a:pt x="87" y="203"/>
                  <a:pt x="86" y="204"/>
                  <a:pt x="86" y="205"/>
                </a:cubicBezTo>
                <a:cubicBezTo>
                  <a:pt x="88" y="203"/>
                  <a:pt x="89" y="204"/>
                  <a:pt x="90" y="205"/>
                </a:cubicBezTo>
                <a:cubicBezTo>
                  <a:pt x="89" y="204"/>
                  <a:pt x="90" y="204"/>
                  <a:pt x="90" y="204"/>
                </a:cubicBezTo>
                <a:cubicBezTo>
                  <a:pt x="90" y="204"/>
                  <a:pt x="89" y="204"/>
                  <a:pt x="89" y="203"/>
                </a:cubicBezTo>
                <a:cubicBezTo>
                  <a:pt x="89" y="204"/>
                  <a:pt x="89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2"/>
                  <a:pt x="89" y="202"/>
                </a:cubicBezTo>
                <a:cubicBezTo>
                  <a:pt x="87" y="202"/>
                  <a:pt x="88" y="201"/>
                  <a:pt x="87" y="202"/>
                </a:cubicBezTo>
                <a:close/>
                <a:moveTo>
                  <a:pt x="64" y="186"/>
                </a:move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4" y="186"/>
                  <a:pt x="64" y="186"/>
                </a:cubicBezTo>
                <a:close/>
                <a:moveTo>
                  <a:pt x="86" y="208"/>
                </a:moveTo>
                <a:cubicBezTo>
                  <a:pt x="86" y="208"/>
                  <a:pt x="86" y="207"/>
                  <a:pt x="86" y="207"/>
                </a:cubicBezTo>
                <a:cubicBezTo>
                  <a:pt x="85" y="207"/>
                  <a:pt x="87" y="207"/>
                  <a:pt x="87" y="206"/>
                </a:cubicBezTo>
                <a:cubicBezTo>
                  <a:pt x="86" y="206"/>
                  <a:pt x="85" y="208"/>
                  <a:pt x="86" y="208"/>
                </a:cubicBezTo>
                <a:close/>
                <a:moveTo>
                  <a:pt x="84" y="206"/>
                </a:moveTo>
                <a:cubicBezTo>
                  <a:pt x="84" y="206"/>
                  <a:pt x="84" y="207"/>
                  <a:pt x="85" y="206"/>
                </a:cubicBezTo>
                <a:cubicBezTo>
                  <a:pt x="84" y="206"/>
                  <a:pt x="84" y="205"/>
                  <a:pt x="84" y="206"/>
                </a:cubicBezTo>
                <a:cubicBezTo>
                  <a:pt x="84" y="206"/>
                  <a:pt x="83" y="205"/>
                  <a:pt x="84" y="206"/>
                </a:cubicBezTo>
                <a:close/>
                <a:moveTo>
                  <a:pt x="79" y="215"/>
                </a:moveTo>
                <a:cubicBezTo>
                  <a:pt x="79" y="215"/>
                  <a:pt x="79" y="215"/>
                  <a:pt x="80" y="215"/>
                </a:cubicBezTo>
                <a:cubicBezTo>
                  <a:pt x="80" y="214"/>
                  <a:pt x="82" y="213"/>
                  <a:pt x="81" y="212"/>
                </a:cubicBezTo>
                <a:cubicBezTo>
                  <a:pt x="81" y="212"/>
                  <a:pt x="81" y="212"/>
                  <a:pt x="81" y="212"/>
                </a:cubicBezTo>
                <a:cubicBezTo>
                  <a:pt x="81" y="212"/>
                  <a:pt x="80" y="212"/>
                  <a:pt x="80" y="212"/>
                </a:cubicBezTo>
                <a:cubicBezTo>
                  <a:pt x="81" y="212"/>
                  <a:pt x="81" y="212"/>
                  <a:pt x="81" y="213"/>
                </a:cubicBezTo>
                <a:cubicBezTo>
                  <a:pt x="80" y="212"/>
                  <a:pt x="80" y="213"/>
                  <a:pt x="80" y="212"/>
                </a:cubicBezTo>
                <a:cubicBezTo>
                  <a:pt x="79" y="212"/>
                  <a:pt x="79" y="212"/>
                  <a:pt x="79" y="213"/>
                </a:cubicBezTo>
                <a:cubicBezTo>
                  <a:pt x="79" y="214"/>
                  <a:pt x="77" y="216"/>
                  <a:pt x="76" y="217"/>
                </a:cubicBezTo>
                <a:cubicBezTo>
                  <a:pt x="77" y="217"/>
                  <a:pt x="77" y="216"/>
                  <a:pt x="77" y="217"/>
                </a:cubicBezTo>
                <a:cubicBezTo>
                  <a:pt x="77" y="217"/>
                  <a:pt x="77" y="217"/>
                  <a:pt x="77" y="217"/>
                </a:cubicBezTo>
                <a:cubicBezTo>
                  <a:pt x="77" y="217"/>
                  <a:pt x="78" y="216"/>
                  <a:pt x="79" y="216"/>
                </a:cubicBezTo>
                <a:cubicBezTo>
                  <a:pt x="78" y="216"/>
                  <a:pt x="78" y="215"/>
                  <a:pt x="78" y="215"/>
                </a:cubicBezTo>
                <a:cubicBezTo>
                  <a:pt x="79" y="215"/>
                  <a:pt x="78" y="215"/>
                  <a:pt x="79" y="215"/>
                </a:cubicBezTo>
                <a:cubicBezTo>
                  <a:pt x="79" y="215"/>
                  <a:pt x="79" y="215"/>
                  <a:pt x="79" y="215"/>
                </a:cubicBezTo>
                <a:close/>
                <a:moveTo>
                  <a:pt x="74" y="207"/>
                </a:moveTo>
                <a:cubicBezTo>
                  <a:pt x="73" y="207"/>
                  <a:pt x="73" y="208"/>
                  <a:pt x="72" y="207"/>
                </a:cubicBezTo>
                <a:cubicBezTo>
                  <a:pt x="71" y="209"/>
                  <a:pt x="70" y="210"/>
                  <a:pt x="69" y="210"/>
                </a:cubicBezTo>
                <a:cubicBezTo>
                  <a:pt x="68" y="211"/>
                  <a:pt x="69" y="210"/>
                  <a:pt x="69" y="211"/>
                </a:cubicBezTo>
                <a:cubicBezTo>
                  <a:pt x="68" y="211"/>
                  <a:pt x="69" y="212"/>
                  <a:pt x="68" y="212"/>
                </a:cubicBezTo>
                <a:cubicBezTo>
                  <a:pt x="69" y="212"/>
                  <a:pt x="69" y="211"/>
                  <a:pt x="68" y="211"/>
                </a:cubicBezTo>
                <a:cubicBezTo>
                  <a:pt x="68" y="212"/>
                  <a:pt x="67" y="212"/>
                  <a:pt x="68" y="213"/>
                </a:cubicBezTo>
                <a:cubicBezTo>
                  <a:pt x="68" y="213"/>
                  <a:pt x="68" y="213"/>
                  <a:pt x="68" y="213"/>
                </a:cubicBezTo>
                <a:cubicBezTo>
                  <a:pt x="69" y="212"/>
                  <a:pt x="69" y="213"/>
                  <a:pt x="69" y="214"/>
                </a:cubicBezTo>
                <a:cubicBezTo>
                  <a:pt x="70" y="213"/>
                  <a:pt x="70" y="211"/>
                  <a:pt x="71" y="211"/>
                </a:cubicBezTo>
                <a:cubicBezTo>
                  <a:pt x="70" y="211"/>
                  <a:pt x="70" y="212"/>
                  <a:pt x="70" y="212"/>
                </a:cubicBezTo>
                <a:cubicBezTo>
                  <a:pt x="71" y="212"/>
                  <a:pt x="71" y="212"/>
                  <a:pt x="71" y="212"/>
                </a:cubicBezTo>
                <a:cubicBezTo>
                  <a:pt x="71" y="213"/>
                  <a:pt x="70" y="213"/>
                  <a:pt x="71" y="214"/>
                </a:cubicBezTo>
                <a:cubicBezTo>
                  <a:pt x="69" y="213"/>
                  <a:pt x="70" y="215"/>
                  <a:pt x="69" y="216"/>
                </a:cubicBezTo>
                <a:cubicBezTo>
                  <a:pt x="68" y="217"/>
                  <a:pt x="66" y="218"/>
                  <a:pt x="67" y="219"/>
                </a:cubicBezTo>
                <a:cubicBezTo>
                  <a:pt x="65" y="219"/>
                  <a:pt x="64" y="222"/>
                  <a:pt x="62" y="223"/>
                </a:cubicBezTo>
                <a:cubicBezTo>
                  <a:pt x="63" y="223"/>
                  <a:pt x="62" y="223"/>
                  <a:pt x="63" y="223"/>
                </a:cubicBezTo>
                <a:cubicBezTo>
                  <a:pt x="63" y="223"/>
                  <a:pt x="62" y="225"/>
                  <a:pt x="63" y="225"/>
                </a:cubicBezTo>
                <a:cubicBezTo>
                  <a:pt x="63" y="224"/>
                  <a:pt x="63" y="223"/>
                  <a:pt x="64" y="223"/>
                </a:cubicBezTo>
                <a:cubicBezTo>
                  <a:pt x="64" y="221"/>
                  <a:pt x="67" y="221"/>
                  <a:pt x="67" y="219"/>
                </a:cubicBezTo>
                <a:cubicBezTo>
                  <a:pt x="68" y="218"/>
                  <a:pt x="68" y="218"/>
                  <a:pt x="69" y="217"/>
                </a:cubicBezTo>
                <a:cubicBezTo>
                  <a:pt x="69" y="217"/>
                  <a:pt x="68" y="217"/>
                  <a:pt x="69" y="216"/>
                </a:cubicBezTo>
                <a:cubicBezTo>
                  <a:pt x="70" y="217"/>
                  <a:pt x="69" y="216"/>
                  <a:pt x="69" y="216"/>
                </a:cubicBezTo>
                <a:cubicBezTo>
                  <a:pt x="70" y="216"/>
                  <a:pt x="73" y="213"/>
                  <a:pt x="72" y="212"/>
                </a:cubicBezTo>
                <a:cubicBezTo>
                  <a:pt x="73" y="212"/>
                  <a:pt x="73" y="212"/>
                  <a:pt x="73" y="212"/>
                </a:cubicBezTo>
                <a:cubicBezTo>
                  <a:pt x="73" y="211"/>
                  <a:pt x="73" y="210"/>
                  <a:pt x="72" y="210"/>
                </a:cubicBezTo>
                <a:cubicBezTo>
                  <a:pt x="73" y="210"/>
                  <a:pt x="73" y="210"/>
                  <a:pt x="73" y="211"/>
                </a:cubicBezTo>
                <a:cubicBezTo>
                  <a:pt x="72" y="210"/>
                  <a:pt x="72" y="211"/>
                  <a:pt x="72" y="211"/>
                </a:cubicBezTo>
                <a:cubicBezTo>
                  <a:pt x="72" y="210"/>
                  <a:pt x="72" y="209"/>
                  <a:pt x="72" y="209"/>
                </a:cubicBezTo>
                <a:cubicBezTo>
                  <a:pt x="72" y="210"/>
                  <a:pt x="71" y="210"/>
                  <a:pt x="71" y="210"/>
                </a:cubicBezTo>
                <a:cubicBezTo>
                  <a:pt x="72" y="210"/>
                  <a:pt x="71" y="209"/>
                  <a:pt x="72" y="209"/>
                </a:cubicBezTo>
                <a:cubicBezTo>
                  <a:pt x="73" y="209"/>
                  <a:pt x="72" y="207"/>
                  <a:pt x="74" y="208"/>
                </a:cubicBezTo>
                <a:cubicBezTo>
                  <a:pt x="74" y="208"/>
                  <a:pt x="74" y="207"/>
                  <a:pt x="74" y="207"/>
                </a:cubicBezTo>
                <a:close/>
                <a:moveTo>
                  <a:pt x="64" y="211"/>
                </a:moveTo>
                <a:cubicBezTo>
                  <a:pt x="66" y="211"/>
                  <a:pt x="67" y="206"/>
                  <a:pt x="68" y="207"/>
                </a:cubicBezTo>
                <a:cubicBezTo>
                  <a:pt x="68" y="206"/>
                  <a:pt x="70" y="205"/>
                  <a:pt x="69" y="204"/>
                </a:cubicBezTo>
                <a:cubicBezTo>
                  <a:pt x="68" y="206"/>
                  <a:pt x="66" y="208"/>
                  <a:pt x="64" y="211"/>
                </a:cubicBezTo>
                <a:close/>
                <a:moveTo>
                  <a:pt x="73" y="215"/>
                </a:moveTo>
                <a:cubicBezTo>
                  <a:pt x="73" y="215"/>
                  <a:pt x="74" y="214"/>
                  <a:pt x="73" y="214"/>
                </a:cubicBezTo>
                <a:cubicBezTo>
                  <a:pt x="73" y="215"/>
                  <a:pt x="72" y="214"/>
                  <a:pt x="72" y="215"/>
                </a:cubicBezTo>
                <a:cubicBezTo>
                  <a:pt x="72" y="215"/>
                  <a:pt x="71" y="215"/>
                  <a:pt x="71" y="217"/>
                </a:cubicBezTo>
                <a:cubicBezTo>
                  <a:pt x="71" y="217"/>
                  <a:pt x="71" y="217"/>
                  <a:pt x="71" y="217"/>
                </a:cubicBezTo>
                <a:cubicBezTo>
                  <a:pt x="72" y="217"/>
                  <a:pt x="73" y="215"/>
                  <a:pt x="74" y="216"/>
                </a:cubicBezTo>
                <a:cubicBezTo>
                  <a:pt x="74" y="216"/>
                  <a:pt x="74" y="215"/>
                  <a:pt x="75" y="215"/>
                </a:cubicBezTo>
                <a:cubicBezTo>
                  <a:pt x="74" y="214"/>
                  <a:pt x="74" y="214"/>
                  <a:pt x="74" y="213"/>
                </a:cubicBezTo>
                <a:cubicBezTo>
                  <a:pt x="75" y="213"/>
                  <a:pt x="75" y="212"/>
                  <a:pt x="76" y="212"/>
                </a:cubicBezTo>
                <a:cubicBezTo>
                  <a:pt x="75" y="212"/>
                  <a:pt x="76" y="211"/>
                  <a:pt x="76" y="211"/>
                </a:cubicBezTo>
                <a:cubicBezTo>
                  <a:pt x="75" y="211"/>
                  <a:pt x="74" y="213"/>
                  <a:pt x="73" y="214"/>
                </a:cubicBezTo>
                <a:cubicBezTo>
                  <a:pt x="74" y="214"/>
                  <a:pt x="74" y="215"/>
                  <a:pt x="73" y="215"/>
                </a:cubicBezTo>
                <a:close/>
                <a:moveTo>
                  <a:pt x="74" y="210"/>
                </a:moveTo>
                <a:cubicBezTo>
                  <a:pt x="74" y="210"/>
                  <a:pt x="74" y="210"/>
                  <a:pt x="74" y="210"/>
                </a:cubicBezTo>
                <a:cubicBezTo>
                  <a:pt x="75" y="211"/>
                  <a:pt x="75" y="211"/>
                  <a:pt x="75" y="211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4" y="210"/>
                  <a:pt x="74" y="210"/>
                </a:cubicBezTo>
                <a:close/>
                <a:moveTo>
                  <a:pt x="48" y="194"/>
                </a:moveTo>
                <a:cubicBezTo>
                  <a:pt x="47" y="194"/>
                  <a:pt x="49" y="193"/>
                  <a:pt x="48" y="193"/>
                </a:cubicBezTo>
                <a:cubicBezTo>
                  <a:pt x="47" y="193"/>
                  <a:pt x="47" y="195"/>
                  <a:pt x="48" y="194"/>
                </a:cubicBezTo>
                <a:close/>
                <a:moveTo>
                  <a:pt x="75" y="220"/>
                </a:moveTo>
                <a:cubicBezTo>
                  <a:pt x="76" y="219"/>
                  <a:pt x="77" y="219"/>
                  <a:pt x="77" y="217"/>
                </a:cubicBezTo>
                <a:cubicBezTo>
                  <a:pt x="76" y="218"/>
                  <a:pt x="75" y="219"/>
                  <a:pt x="75" y="220"/>
                </a:cubicBezTo>
                <a:close/>
                <a:moveTo>
                  <a:pt x="39" y="198"/>
                </a:moveTo>
                <a:cubicBezTo>
                  <a:pt x="39" y="199"/>
                  <a:pt x="39" y="198"/>
                  <a:pt x="39" y="199"/>
                </a:cubicBezTo>
                <a:cubicBezTo>
                  <a:pt x="40" y="199"/>
                  <a:pt x="40" y="198"/>
                  <a:pt x="40" y="198"/>
                </a:cubicBezTo>
                <a:cubicBezTo>
                  <a:pt x="40" y="198"/>
                  <a:pt x="39" y="198"/>
                  <a:pt x="39" y="198"/>
                </a:cubicBezTo>
                <a:close/>
                <a:moveTo>
                  <a:pt x="67" y="230"/>
                </a:moveTo>
                <a:cubicBezTo>
                  <a:pt x="68" y="230"/>
                  <a:pt x="68" y="229"/>
                  <a:pt x="67" y="229"/>
                </a:cubicBezTo>
                <a:cubicBezTo>
                  <a:pt x="67" y="229"/>
                  <a:pt x="66" y="229"/>
                  <a:pt x="67" y="230"/>
                </a:cubicBezTo>
                <a:cubicBezTo>
                  <a:pt x="67" y="230"/>
                  <a:pt x="67" y="230"/>
                  <a:pt x="67" y="230"/>
                </a:cubicBezTo>
                <a:cubicBezTo>
                  <a:pt x="68" y="230"/>
                  <a:pt x="71" y="228"/>
                  <a:pt x="70" y="227"/>
                </a:cubicBezTo>
                <a:cubicBezTo>
                  <a:pt x="70" y="228"/>
                  <a:pt x="69" y="228"/>
                  <a:pt x="68" y="228"/>
                </a:cubicBezTo>
                <a:cubicBezTo>
                  <a:pt x="68" y="228"/>
                  <a:pt x="67" y="228"/>
                  <a:pt x="68" y="227"/>
                </a:cubicBezTo>
                <a:cubicBezTo>
                  <a:pt x="67" y="228"/>
                  <a:pt x="67" y="229"/>
                  <a:pt x="68" y="229"/>
                </a:cubicBezTo>
                <a:cubicBezTo>
                  <a:pt x="68" y="229"/>
                  <a:pt x="68" y="229"/>
                  <a:pt x="68" y="230"/>
                </a:cubicBezTo>
                <a:cubicBezTo>
                  <a:pt x="68" y="229"/>
                  <a:pt x="67" y="230"/>
                  <a:pt x="67" y="230"/>
                </a:cubicBezTo>
                <a:close/>
                <a:moveTo>
                  <a:pt x="57" y="232"/>
                </a:moveTo>
                <a:cubicBezTo>
                  <a:pt x="56" y="231"/>
                  <a:pt x="57" y="233"/>
                  <a:pt x="56" y="233"/>
                </a:cubicBezTo>
                <a:cubicBezTo>
                  <a:pt x="56" y="233"/>
                  <a:pt x="57" y="233"/>
                  <a:pt x="57" y="232"/>
                </a:cubicBezTo>
                <a:cubicBezTo>
                  <a:pt x="57" y="231"/>
                  <a:pt x="60" y="229"/>
                  <a:pt x="61" y="228"/>
                </a:cubicBezTo>
                <a:cubicBezTo>
                  <a:pt x="60" y="228"/>
                  <a:pt x="60" y="227"/>
                  <a:pt x="60" y="227"/>
                </a:cubicBezTo>
                <a:cubicBezTo>
                  <a:pt x="61" y="227"/>
                  <a:pt x="62" y="226"/>
                  <a:pt x="62" y="226"/>
                </a:cubicBezTo>
                <a:cubicBezTo>
                  <a:pt x="61" y="226"/>
                  <a:pt x="61" y="226"/>
                  <a:pt x="60" y="226"/>
                </a:cubicBezTo>
                <a:cubicBezTo>
                  <a:pt x="61" y="226"/>
                  <a:pt x="61" y="227"/>
                  <a:pt x="61" y="227"/>
                </a:cubicBezTo>
                <a:cubicBezTo>
                  <a:pt x="59" y="228"/>
                  <a:pt x="58" y="230"/>
                  <a:pt x="57" y="232"/>
                </a:cubicBezTo>
                <a:close/>
                <a:moveTo>
                  <a:pt x="66" y="232"/>
                </a:moveTo>
                <a:cubicBezTo>
                  <a:pt x="67" y="232"/>
                  <a:pt x="65" y="232"/>
                  <a:pt x="65" y="231"/>
                </a:cubicBezTo>
                <a:cubicBezTo>
                  <a:pt x="66" y="232"/>
                  <a:pt x="64" y="232"/>
                  <a:pt x="64" y="233"/>
                </a:cubicBezTo>
                <a:cubicBezTo>
                  <a:pt x="65" y="233"/>
                  <a:pt x="65" y="233"/>
                  <a:pt x="66" y="233"/>
                </a:cubicBezTo>
                <a:cubicBezTo>
                  <a:pt x="65" y="232"/>
                  <a:pt x="65" y="233"/>
                  <a:pt x="65" y="233"/>
                </a:cubicBezTo>
                <a:cubicBezTo>
                  <a:pt x="65" y="232"/>
                  <a:pt x="65" y="232"/>
                  <a:pt x="66" y="232"/>
                </a:cubicBezTo>
                <a:cubicBezTo>
                  <a:pt x="66" y="232"/>
                  <a:pt x="66" y="232"/>
                  <a:pt x="66" y="233"/>
                </a:cubicBezTo>
                <a:cubicBezTo>
                  <a:pt x="67" y="232"/>
                  <a:pt x="68" y="232"/>
                  <a:pt x="67" y="231"/>
                </a:cubicBezTo>
                <a:cubicBezTo>
                  <a:pt x="67" y="231"/>
                  <a:pt x="67" y="232"/>
                  <a:pt x="66" y="232"/>
                </a:cubicBezTo>
                <a:close/>
                <a:moveTo>
                  <a:pt x="50" y="233"/>
                </a:moveTo>
                <a:cubicBezTo>
                  <a:pt x="50" y="232"/>
                  <a:pt x="50" y="232"/>
                  <a:pt x="50" y="232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8" y="233"/>
                  <a:pt x="48" y="234"/>
                  <a:pt x="47" y="235"/>
                </a:cubicBezTo>
                <a:cubicBezTo>
                  <a:pt x="48" y="233"/>
                  <a:pt x="49" y="231"/>
                  <a:pt x="50" y="229"/>
                </a:cubicBezTo>
                <a:cubicBezTo>
                  <a:pt x="52" y="228"/>
                  <a:pt x="53" y="226"/>
                  <a:pt x="55" y="224"/>
                </a:cubicBezTo>
                <a:cubicBezTo>
                  <a:pt x="55" y="225"/>
                  <a:pt x="54" y="226"/>
                  <a:pt x="53" y="227"/>
                </a:cubicBezTo>
                <a:cubicBezTo>
                  <a:pt x="52" y="228"/>
                  <a:pt x="53" y="228"/>
                  <a:pt x="52" y="229"/>
                </a:cubicBezTo>
                <a:cubicBezTo>
                  <a:pt x="52" y="229"/>
                  <a:pt x="52" y="230"/>
                  <a:pt x="52" y="229"/>
                </a:cubicBezTo>
                <a:cubicBezTo>
                  <a:pt x="52" y="231"/>
                  <a:pt x="50" y="232"/>
                  <a:pt x="50" y="233"/>
                </a:cubicBezTo>
                <a:close/>
                <a:moveTo>
                  <a:pt x="51" y="231"/>
                </a:moveTo>
                <a:cubicBezTo>
                  <a:pt x="51" y="231"/>
                  <a:pt x="50" y="231"/>
                  <a:pt x="50" y="231"/>
                </a:cubicBezTo>
                <a:cubicBezTo>
                  <a:pt x="50" y="232"/>
                  <a:pt x="50" y="232"/>
                  <a:pt x="51" y="231"/>
                </a:cubicBezTo>
                <a:close/>
                <a:moveTo>
                  <a:pt x="47" y="227"/>
                </a:moveTo>
                <a:cubicBezTo>
                  <a:pt x="47" y="226"/>
                  <a:pt x="48" y="225"/>
                  <a:pt x="48" y="225"/>
                </a:cubicBezTo>
                <a:cubicBezTo>
                  <a:pt x="47" y="225"/>
                  <a:pt x="47" y="225"/>
                  <a:pt x="47" y="225"/>
                </a:cubicBezTo>
                <a:cubicBezTo>
                  <a:pt x="48" y="226"/>
                  <a:pt x="46" y="226"/>
                  <a:pt x="47" y="227"/>
                </a:cubicBezTo>
                <a:close/>
                <a:moveTo>
                  <a:pt x="64" y="239"/>
                </a:moveTo>
                <a:cubicBezTo>
                  <a:pt x="64" y="238"/>
                  <a:pt x="65" y="238"/>
                  <a:pt x="64" y="238"/>
                </a:cubicBezTo>
                <a:cubicBezTo>
                  <a:pt x="64" y="238"/>
                  <a:pt x="64" y="238"/>
                  <a:pt x="64" y="238"/>
                </a:cubicBezTo>
                <a:cubicBezTo>
                  <a:pt x="65" y="238"/>
                  <a:pt x="63" y="239"/>
                  <a:pt x="64" y="239"/>
                </a:cubicBezTo>
                <a:close/>
                <a:moveTo>
                  <a:pt x="54" y="231"/>
                </a:moveTo>
                <a:cubicBezTo>
                  <a:pt x="53" y="232"/>
                  <a:pt x="53" y="232"/>
                  <a:pt x="53" y="232"/>
                </a:cubicBezTo>
                <a:cubicBezTo>
                  <a:pt x="53" y="231"/>
                  <a:pt x="53" y="231"/>
                  <a:pt x="53" y="231"/>
                </a:cubicBezTo>
                <a:cubicBezTo>
                  <a:pt x="53" y="231"/>
                  <a:pt x="52" y="231"/>
                  <a:pt x="52" y="231"/>
                </a:cubicBezTo>
                <a:cubicBezTo>
                  <a:pt x="52" y="232"/>
                  <a:pt x="53" y="232"/>
                  <a:pt x="52" y="232"/>
                </a:cubicBezTo>
                <a:cubicBezTo>
                  <a:pt x="51" y="232"/>
                  <a:pt x="51" y="234"/>
                  <a:pt x="50" y="235"/>
                </a:cubicBezTo>
                <a:cubicBezTo>
                  <a:pt x="50" y="235"/>
                  <a:pt x="51" y="236"/>
                  <a:pt x="51" y="235"/>
                </a:cubicBezTo>
                <a:cubicBezTo>
                  <a:pt x="52" y="235"/>
                  <a:pt x="50" y="235"/>
                  <a:pt x="51" y="235"/>
                </a:cubicBezTo>
                <a:cubicBezTo>
                  <a:pt x="51" y="235"/>
                  <a:pt x="52" y="235"/>
                  <a:pt x="52" y="234"/>
                </a:cubicBezTo>
                <a:cubicBezTo>
                  <a:pt x="51" y="234"/>
                  <a:pt x="51" y="234"/>
                  <a:pt x="51" y="233"/>
                </a:cubicBezTo>
                <a:cubicBezTo>
                  <a:pt x="52" y="233"/>
                  <a:pt x="52" y="232"/>
                  <a:pt x="53" y="232"/>
                </a:cubicBezTo>
                <a:cubicBezTo>
                  <a:pt x="53" y="232"/>
                  <a:pt x="53" y="233"/>
                  <a:pt x="53" y="233"/>
                </a:cubicBezTo>
                <a:cubicBezTo>
                  <a:pt x="54" y="232"/>
                  <a:pt x="54" y="231"/>
                  <a:pt x="53" y="231"/>
                </a:cubicBezTo>
                <a:cubicBezTo>
                  <a:pt x="53" y="231"/>
                  <a:pt x="54" y="231"/>
                  <a:pt x="54" y="231"/>
                </a:cubicBezTo>
                <a:close/>
                <a:moveTo>
                  <a:pt x="53" y="236"/>
                </a:moveTo>
                <a:cubicBezTo>
                  <a:pt x="54" y="237"/>
                  <a:pt x="51" y="238"/>
                  <a:pt x="52" y="239"/>
                </a:cubicBezTo>
                <a:cubicBezTo>
                  <a:pt x="53" y="237"/>
                  <a:pt x="55" y="235"/>
                  <a:pt x="56" y="233"/>
                </a:cubicBezTo>
                <a:cubicBezTo>
                  <a:pt x="55" y="234"/>
                  <a:pt x="55" y="235"/>
                  <a:pt x="54" y="235"/>
                </a:cubicBezTo>
                <a:cubicBezTo>
                  <a:pt x="54" y="236"/>
                  <a:pt x="54" y="236"/>
                  <a:pt x="54" y="235"/>
                </a:cubicBezTo>
                <a:cubicBezTo>
                  <a:pt x="54" y="236"/>
                  <a:pt x="53" y="237"/>
                  <a:pt x="53" y="236"/>
                </a:cubicBezTo>
                <a:close/>
                <a:moveTo>
                  <a:pt x="59" y="240"/>
                </a:moveTo>
                <a:cubicBezTo>
                  <a:pt x="59" y="240"/>
                  <a:pt x="60" y="240"/>
                  <a:pt x="60" y="240"/>
                </a:cubicBezTo>
                <a:cubicBezTo>
                  <a:pt x="60" y="239"/>
                  <a:pt x="60" y="240"/>
                  <a:pt x="59" y="239"/>
                </a:cubicBezTo>
                <a:cubicBezTo>
                  <a:pt x="60" y="239"/>
                  <a:pt x="59" y="239"/>
                  <a:pt x="59" y="239"/>
                </a:cubicBezTo>
                <a:cubicBezTo>
                  <a:pt x="60" y="240"/>
                  <a:pt x="59" y="240"/>
                  <a:pt x="59" y="240"/>
                </a:cubicBezTo>
                <a:close/>
                <a:moveTo>
                  <a:pt x="46" y="234"/>
                </a:moveTo>
                <a:cubicBezTo>
                  <a:pt x="47" y="234"/>
                  <a:pt x="47" y="233"/>
                  <a:pt x="47" y="233"/>
                </a:cubicBezTo>
                <a:cubicBezTo>
                  <a:pt x="46" y="234"/>
                  <a:pt x="46" y="232"/>
                  <a:pt x="46" y="233"/>
                </a:cubicBezTo>
                <a:cubicBezTo>
                  <a:pt x="46" y="233"/>
                  <a:pt x="46" y="233"/>
                  <a:pt x="46" y="233"/>
                </a:cubicBezTo>
                <a:cubicBezTo>
                  <a:pt x="46" y="233"/>
                  <a:pt x="46" y="234"/>
                  <a:pt x="46" y="234"/>
                </a:cubicBezTo>
                <a:close/>
                <a:moveTo>
                  <a:pt x="48" y="236"/>
                </a:moveTo>
                <a:cubicBezTo>
                  <a:pt x="48" y="237"/>
                  <a:pt x="49" y="237"/>
                  <a:pt x="49" y="238"/>
                </a:cubicBezTo>
                <a:cubicBezTo>
                  <a:pt x="49" y="237"/>
                  <a:pt x="51" y="237"/>
                  <a:pt x="51" y="236"/>
                </a:cubicBezTo>
                <a:cubicBezTo>
                  <a:pt x="50" y="236"/>
                  <a:pt x="50" y="236"/>
                  <a:pt x="49" y="237"/>
                </a:cubicBezTo>
                <a:cubicBezTo>
                  <a:pt x="49" y="236"/>
                  <a:pt x="50" y="236"/>
                  <a:pt x="49" y="235"/>
                </a:cubicBezTo>
                <a:cubicBezTo>
                  <a:pt x="49" y="236"/>
                  <a:pt x="49" y="236"/>
                  <a:pt x="48" y="236"/>
                </a:cubicBezTo>
                <a:close/>
                <a:moveTo>
                  <a:pt x="24" y="224"/>
                </a:moveTo>
                <a:cubicBezTo>
                  <a:pt x="24" y="223"/>
                  <a:pt x="24" y="224"/>
                  <a:pt x="25" y="223"/>
                </a:cubicBezTo>
                <a:cubicBezTo>
                  <a:pt x="24" y="223"/>
                  <a:pt x="24" y="223"/>
                  <a:pt x="23" y="223"/>
                </a:cubicBezTo>
                <a:cubicBezTo>
                  <a:pt x="24" y="224"/>
                  <a:pt x="24" y="223"/>
                  <a:pt x="24" y="224"/>
                </a:cubicBezTo>
                <a:cubicBezTo>
                  <a:pt x="24" y="224"/>
                  <a:pt x="24" y="224"/>
                  <a:pt x="24" y="224"/>
                </a:cubicBezTo>
                <a:close/>
                <a:moveTo>
                  <a:pt x="17" y="230"/>
                </a:moveTo>
                <a:cubicBezTo>
                  <a:pt x="18" y="228"/>
                  <a:pt x="19" y="228"/>
                  <a:pt x="19" y="227"/>
                </a:cubicBezTo>
                <a:cubicBezTo>
                  <a:pt x="19" y="227"/>
                  <a:pt x="16" y="229"/>
                  <a:pt x="17" y="230"/>
                </a:cubicBezTo>
                <a:close/>
                <a:moveTo>
                  <a:pt x="45" y="246"/>
                </a:moveTo>
                <a:cubicBezTo>
                  <a:pt x="45" y="246"/>
                  <a:pt x="46" y="247"/>
                  <a:pt x="46" y="247"/>
                </a:cubicBezTo>
                <a:cubicBezTo>
                  <a:pt x="45" y="247"/>
                  <a:pt x="45" y="248"/>
                  <a:pt x="45" y="248"/>
                </a:cubicBezTo>
                <a:cubicBezTo>
                  <a:pt x="46" y="248"/>
                  <a:pt x="46" y="247"/>
                  <a:pt x="47" y="247"/>
                </a:cubicBezTo>
                <a:cubicBezTo>
                  <a:pt x="47" y="247"/>
                  <a:pt x="47" y="247"/>
                  <a:pt x="47" y="247"/>
                </a:cubicBezTo>
                <a:cubicBezTo>
                  <a:pt x="46" y="247"/>
                  <a:pt x="46" y="245"/>
                  <a:pt x="45" y="246"/>
                </a:cubicBezTo>
                <a:close/>
                <a:moveTo>
                  <a:pt x="19" y="231"/>
                </a:moveTo>
                <a:cubicBezTo>
                  <a:pt x="19" y="231"/>
                  <a:pt x="18" y="231"/>
                  <a:pt x="18" y="231"/>
                </a:cubicBezTo>
                <a:cubicBezTo>
                  <a:pt x="19" y="232"/>
                  <a:pt x="19" y="230"/>
                  <a:pt x="18" y="230"/>
                </a:cubicBezTo>
                <a:cubicBezTo>
                  <a:pt x="18" y="231"/>
                  <a:pt x="19" y="230"/>
                  <a:pt x="19" y="231"/>
                </a:cubicBezTo>
                <a:close/>
                <a:moveTo>
                  <a:pt x="18" y="232"/>
                </a:moveTo>
                <a:cubicBezTo>
                  <a:pt x="18" y="234"/>
                  <a:pt x="17" y="234"/>
                  <a:pt x="17" y="235"/>
                </a:cubicBezTo>
                <a:cubicBezTo>
                  <a:pt x="17" y="235"/>
                  <a:pt x="17" y="234"/>
                  <a:pt x="18" y="234"/>
                </a:cubicBezTo>
                <a:cubicBezTo>
                  <a:pt x="18" y="233"/>
                  <a:pt x="19" y="232"/>
                  <a:pt x="18" y="232"/>
                </a:cubicBezTo>
                <a:cubicBezTo>
                  <a:pt x="17" y="232"/>
                  <a:pt x="18" y="233"/>
                  <a:pt x="18" y="232"/>
                </a:cubicBezTo>
                <a:close/>
                <a:moveTo>
                  <a:pt x="4" y="256"/>
                </a:moveTo>
                <a:cubicBezTo>
                  <a:pt x="5" y="255"/>
                  <a:pt x="5" y="254"/>
                  <a:pt x="6" y="253"/>
                </a:cubicBezTo>
                <a:cubicBezTo>
                  <a:pt x="5" y="254"/>
                  <a:pt x="4" y="255"/>
                  <a:pt x="4" y="256"/>
                </a:cubicBezTo>
                <a:close/>
                <a:moveTo>
                  <a:pt x="5" y="258"/>
                </a:moveTo>
                <a:cubicBezTo>
                  <a:pt x="6" y="257"/>
                  <a:pt x="6" y="258"/>
                  <a:pt x="6" y="257"/>
                </a:cubicBezTo>
                <a:cubicBezTo>
                  <a:pt x="6" y="257"/>
                  <a:pt x="6" y="256"/>
                  <a:pt x="6" y="257"/>
                </a:cubicBezTo>
                <a:cubicBezTo>
                  <a:pt x="6" y="257"/>
                  <a:pt x="6" y="257"/>
                  <a:pt x="6" y="257"/>
                </a:cubicBezTo>
                <a:cubicBezTo>
                  <a:pt x="5" y="257"/>
                  <a:pt x="5" y="257"/>
                  <a:pt x="5" y="258"/>
                </a:cubicBezTo>
                <a:close/>
                <a:moveTo>
                  <a:pt x="810" y="264"/>
                </a:moveTo>
                <a:cubicBezTo>
                  <a:pt x="810" y="263"/>
                  <a:pt x="808" y="261"/>
                  <a:pt x="809" y="261"/>
                </a:cubicBezTo>
                <a:cubicBezTo>
                  <a:pt x="810" y="263"/>
                  <a:pt x="809" y="259"/>
                  <a:pt x="809" y="258"/>
                </a:cubicBezTo>
                <a:cubicBezTo>
                  <a:pt x="810" y="258"/>
                  <a:pt x="811" y="261"/>
                  <a:pt x="811" y="261"/>
                </a:cubicBezTo>
                <a:cubicBezTo>
                  <a:pt x="809" y="256"/>
                  <a:pt x="809" y="255"/>
                  <a:pt x="807" y="251"/>
                </a:cubicBezTo>
                <a:cubicBezTo>
                  <a:pt x="808" y="254"/>
                  <a:pt x="807" y="252"/>
                  <a:pt x="806" y="253"/>
                </a:cubicBezTo>
                <a:cubicBezTo>
                  <a:pt x="806" y="253"/>
                  <a:pt x="807" y="260"/>
                  <a:pt x="805" y="261"/>
                </a:cubicBezTo>
                <a:cubicBezTo>
                  <a:pt x="805" y="261"/>
                  <a:pt x="804" y="259"/>
                  <a:pt x="804" y="259"/>
                </a:cubicBezTo>
                <a:cubicBezTo>
                  <a:pt x="803" y="261"/>
                  <a:pt x="804" y="266"/>
                  <a:pt x="801" y="262"/>
                </a:cubicBezTo>
                <a:cubicBezTo>
                  <a:pt x="805" y="271"/>
                  <a:pt x="805" y="267"/>
                  <a:pt x="806" y="266"/>
                </a:cubicBezTo>
                <a:cubicBezTo>
                  <a:pt x="806" y="266"/>
                  <a:pt x="810" y="269"/>
                  <a:pt x="808" y="265"/>
                </a:cubicBezTo>
                <a:cubicBezTo>
                  <a:pt x="809" y="266"/>
                  <a:pt x="810" y="269"/>
                  <a:pt x="810" y="268"/>
                </a:cubicBezTo>
                <a:cubicBezTo>
                  <a:pt x="811" y="267"/>
                  <a:pt x="808" y="263"/>
                  <a:pt x="810" y="264"/>
                </a:cubicBezTo>
                <a:close/>
                <a:moveTo>
                  <a:pt x="440" y="4"/>
                </a:moveTo>
                <a:cubicBezTo>
                  <a:pt x="437" y="3"/>
                  <a:pt x="437" y="4"/>
                  <a:pt x="434" y="4"/>
                </a:cubicBezTo>
                <a:cubicBezTo>
                  <a:pt x="434" y="3"/>
                  <a:pt x="433" y="3"/>
                  <a:pt x="433" y="3"/>
                </a:cubicBezTo>
                <a:cubicBezTo>
                  <a:pt x="435" y="3"/>
                  <a:pt x="437" y="3"/>
                  <a:pt x="438" y="2"/>
                </a:cubicBezTo>
                <a:cubicBezTo>
                  <a:pt x="434" y="2"/>
                  <a:pt x="429" y="3"/>
                  <a:pt x="425" y="3"/>
                </a:cubicBezTo>
                <a:cubicBezTo>
                  <a:pt x="428" y="3"/>
                  <a:pt x="433" y="4"/>
                  <a:pt x="437" y="4"/>
                </a:cubicBezTo>
                <a:cubicBezTo>
                  <a:pt x="436" y="4"/>
                  <a:pt x="434" y="4"/>
                  <a:pt x="434" y="4"/>
                </a:cubicBezTo>
                <a:cubicBezTo>
                  <a:pt x="439" y="4"/>
                  <a:pt x="441" y="4"/>
                  <a:pt x="443" y="5"/>
                </a:cubicBezTo>
                <a:cubicBezTo>
                  <a:pt x="442" y="4"/>
                  <a:pt x="446" y="5"/>
                  <a:pt x="446" y="5"/>
                </a:cubicBezTo>
                <a:cubicBezTo>
                  <a:pt x="444" y="4"/>
                  <a:pt x="444" y="5"/>
                  <a:pt x="440" y="4"/>
                </a:cubicBezTo>
                <a:close/>
                <a:moveTo>
                  <a:pt x="399" y="5"/>
                </a:moveTo>
                <a:cubicBezTo>
                  <a:pt x="398" y="4"/>
                  <a:pt x="401" y="4"/>
                  <a:pt x="398" y="4"/>
                </a:cubicBezTo>
                <a:cubicBezTo>
                  <a:pt x="393" y="5"/>
                  <a:pt x="386" y="4"/>
                  <a:pt x="382" y="5"/>
                </a:cubicBezTo>
                <a:cubicBezTo>
                  <a:pt x="385" y="5"/>
                  <a:pt x="389" y="5"/>
                  <a:pt x="390" y="6"/>
                </a:cubicBezTo>
                <a:cubicBezTo>
                  <a:pt x="395" y="5"/>
                  <a:pt x="398" y="6"/>
                  <a:pt x="400" y="5"/>
                </a:cubicBezTo>
                <a:lnTo>
                  <a:pt x="399" y="5"/>
                </a:lnTo>
                <a:close/>
                <a:moveTo>
                  <a:pt x="142" y="101"/>
                </a:moveTo>
                <a:cubicBezTo>
                  <a:pt x="142" y="102"/>
                  <a:pt x="141" y="103"/>
                  <a:pt x="143" y="102"/>
                </a:cubicBezTo>
                <a:cubicBezTo>
                  <a:pt x="147" y="98"/>
                  <a:pt x="152" y="95"/>
                  <a:pt x="156" y="91"/>
                </a:cubicBezTo>
                <a:cubicBezTo>
                  <a:pt x="154" y="92"/>
                  <a:pt x="153" y="93"/>
                  <a:pt x="152" y="94"/>
                </a:cubicBezTo>
                <a:cubicBezTo>
                  <a:pt x="153" y="93"/>
                  <a:pt x="154" y="92"/>
                  <a:pt x="154" y="91"/>
                </a:cubicBezTo>
                <a:cubicBezTo>
                  <a:pt x="149" y="95"/>
                  <a:pt x="141" y="101"/>
                  <a:pt x="134" y="107"/>
                </a:cubicBezTo>
                <a:cubicBezTo>
                  <a:pt x="135" y="107"/>
                  <a:pt x="140" y="103"/>
                  <a:pt x="142" y="101"/>
                </a:cubicBezTo>
                <a:close/>
                <a:moveTo>
                  <a:pt x="84" y="158"/>
                </a:moveTo>
                <a:cubicBezTo>
                  <a:pt x="84" y="159"/>
                  <a:pt x="84" y="160"/>
                  <a:pt x="83" y="160"/>
                </a:cubicBezTo>
                <a:cubicBezTo>
                  <a:pt x="83" y="161"/>
                  <a:pt x="83" y="162"/>
                  <a:pt x="84" y="161"/>
                </a:cubicBezTo>
                <a:cubicBezTo>
                  <a:pt x="84" y="161"/>
                  <a:pt x="84" y="161"/>
                  <a:pt x="84" y="161"/>
                </a:cubicBezTo>
                <a:cubicBezTo>
                  <a:pt x="84" y="160"/>
                  <a:pt x="84" y="160"/>
                  <a:pt x="84" y="160"/>
                </a:cubicBezTo>
                <a:cubicBezTo>
                  <a:pt x="85" y="160"/>
                  <a:pt x="84" y="161"/>
                  <a:pt x="85" y="161"/>
                </a:cubicBezTo>
                <a:cubicBezTo>
                  <a:pt x="85" y="160"/>
                  <a:pt x="86" y="160"/>
                  <a:pt x="85" y="160"/>
                </a:cubicBezTo>
                <a:cubicBezTo>
                  <a:pt x="85" y="160"/>
                  <a:pt x="85" y="160"/>
                  <a:pt x="85" y="160"/>
                </a:cubicBezTo>
                <a:cubicBezTo>
                  <a:pt x="85" y="160"/>
                  <a:pt x="85" y="159"/>
                  <a:pt x="85" y="159"/>
                </a:cubicBezTo>
                <a:cubicBezTo>
                  <a:pt x="85" y="159"/>
                  <a:pt x="86" y="159"/>
                  <a:pt x="87" y="158"/>
                </a:cubicBezTo>
                <a:cubicBezTo>
                  <a:pt x="85" y="159"/>
                  <a:pt x="86" y="157"/>
                  <a:pt x="84" y="158"/>
                </a:cubicBezTo>
                <a:close/>
                <a:moveTo>
                  <a:pt x="103" y="180"/>
                </a:moveTo>
                <a:cubicBezTo>
                  <a:pt x="102" y="180"/>
                  <a:pt x="102" y="181"/>
                  <a:pt x="102" y="181"/>
                </a:cubicBezTo>
                <a:cubicBezTo>
                  <a:pt x="102" y="181"/>
                  <a:pt x="103" y="181"/>
                  <a:pt x="103" y="181"/>
                </a:cubicBezTo>
                <a:cubicBezTo>
                  <a:pt x="103" y="181"/>
                  <a:pt x="102" y="181"/>
                  <a:pt x="103" y="182"/>
                </a:cubicBezTo>
                <a:cubicBezTo>
                  <a:pt x="103" y="182"/>
                  <a:pt x="103" y="181"/>
                  <a:pt x="104" y="181"/>
                </a:cubicBezTo>
                <a:cubicBezTo>
                  <a:pt x="103" y="182"/>
                  <a:pt x="103" y="182"/>
                  <a:pt x="103" y="183"/>
                </a:cubicBezTo>
                <a:cubicBezTo>
                  <a:pt x="103" y="182"/>
                  <a:pt x="104" y="182"/>
                  <a:pt x="104" y="181"/>
                </a:cubicBezTo>
                <a:cubicBezTo>
                  <a:pt x="103" y="182"/>
                  <a:pt x="104" y="180"/>
                  <a:pt x="103" y="180"/>
                </a:cubicBezTo>
                <a:close/>
                <a:moveTo>
                  <a:pt x="77" y="160"/>
                </a:moveTo>
                <a:cubicBezTo>
                  <a:pt x="79" y="161"/>
                  <a:pt x="79" y="158"/>
                  <a:pt x="80" y="158"/>
                </a:cubicBezTo>
                <a:cubicBezTo>
                  <a:pt x="80" y="157"/>
                  <a:pt x="80" y="157"/>
                  <a:pt x="80" y="157"/>
                </a:cubicBezTo>
                <a:cubicBezTo>
                  <a:pt x="79" y="157"/>
                  <a:pt x="78" y="159"/>
                  <a:pt x="77" y="160"/>
                </a:cubicBezTo>
                <a:close/>
                <a:moveTo>
                  <a:pt x="81" y="163"/>
                </a:moveTo>
                <a:cubicBezTo>
                  <a:pt x="81" y="163"/>
                  <a:pt x="81" y="164"/>
                  <a:pt x="81" y="164"/>
                </a:cubicBezTo>
                <a:cubicBezTo>
                  <a:pt x="81" y="164"/>
                  <a:pt x="80" y="165"/>
                  <a:pt x="80" y="165"/>
                </a:cubicBezTo>
                <a:cubicBezTo>
                  <a:pt x="82" y="164"/>
                  <a:pt x="83" y="163"/>
                  <a:pt x="83" y="162"/>
                </a:cubicBezTo>
                <a:cubicBezTo>
                  <a:pt x="83" y="161"/>
                  <a:pt x="83" y="161"/>
                  <a:pt x="82" y="161"/>
                </a:cubicBezTo>
                <a:cubicBezTo>
                  <a:pt x="81" y="161"/>
                  <a:pt x="82" y="163"/>
                  <a:pt x="81" y="163"/>
                </a:cubicBezTo>
                <a:close/>
                <a:moveTo>
                  <a:pt x="95" y="192"/>
                </a:moveTo>
                <a:cubicBezTo>
                  <a:pt x="95" y="192"/>
                  <a:pt x="95" y="192"/>
                  <a:pt x="94" y="192"/>
                </a:cubicBezTo>
                <a:cubicBezTo>
                  <a:pt x="94" y="192"/>
                  <a:pt x="94" y="193"/>
                  <a:pt x="94" y="193"/>
                </a:cubicBezTo>
                <a:cubicBezTo>
                  <a:pt x="93" y="193"/>
                  <a:pt x="93" y="194"/>
                  <a:pt x="94" y="194"/>
                </a:cubicBezTo>
                <a:cubicBezTo>
                  <a:pt x="93" y="194"/>
                  <a:pt x="91" y="196"/>
                  <a:pt x="91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98"/>
                  <a:pt x="90" y="198"/>
                  <a:pt x="90" y="199"/>
                </a:cubicBezTo>
                <a:cubicBezTo>
                  <a:pt x="91" y="197"/>
                  <a:pt x="92" y="197"/>
                  <a:pt x="93" y="197"/>
                </a:cubicBezTo>
                <a:cubicBezTo>
                  <a:pt x="93" y="197"/>
                  <a:pt x="93" y="197"/>
                  <a:pt x="93" y="196"/>
                </a:cubicBezTo>
                <a:cubicBezTo>
                  <a:pt x="93" y="196"/>
                  <a:pt x="94" y="195"/>
                  <a:pt x="94" y="195"/>
                </a:cubicBezTo>
                <a:cubicBezTo>
                  <a:pt x="94" y="195"/>
                  <a:pt x="94" y="195"/>
                  <a:pt x="94" y="196"/>
                </a:cubicBezTo>
                <a:cubicBezTo>
                  <a:pt x="95" y="194"/>
                  <a:pt x="95" y="192"/>
                  <a:pt x="96" y="193"/>
                </a:cubicBezTo>
                <a:cubicBezTo>
                  <a:pt x="96" y="193"/>
                  <a:pt x="96" y="193"/>
                  <a:pt x="96" y="193"/>
                </a:cubicBezTo>
                <a:cubicBezTo>
                  <a:pt x="97" y="193"/>
                  <a:pt x="97" y="193"/>
                  <a:pt x="97" y="192"/>
                </a:cubicBezTo>
                <a:cubicBezTo>
                  <a:pt x="96" y="193"/>
                  <a:pt x="97" y="192"/>
                  <a:pt x="96" y="192"/>
                </a:cubicBezTo>
                <a:cubicBezTo>
                  <a:pt x="96" y="193"/>
                  <a:pt x="96" y="192"/>
                  <a:pt x="95" y="192"/>
                </a:cubicBezTo>
                <a:close/>
                <a:moveTo>
                  <a:pt x="65" y="175"/>
                </a:moveTo>
                <a:cubicBezTo>
                  <a:pt x="64" y="175"/>
                  <a:pt x="64" y="175"/>
                  <a:pt x="63" y="175"/>
                </a:cubicBezTo>
                <a:cubicBezTo>
                  <a:pt x="63" y="175"/>
                  <a:pt x="63" y="175"/>
                  <a:pt x="63" y="176"/>
                </a:cubicBezTo>
                <a:cubicBezTo>
                  <a:pt x="64" y="176"/>
                  <a:pt x="64" y="176"/>
                  <a:pt x="64" y="177"/>
                </a:cubicBezTo>
                <a:cubicBezTo>
                  <a:pt x="65" y="175"/>
                  <a:pt x="66" y="175"/>
                  <a:pt x="67" y="173"/>
                </a:cubicBezTo>
                <a:cubicBezTo>
                  <a:pt x="65" y="173"/>
                  <a:pt x="66" y="174"/>
                  <a:pt x="65" y="175"/>
                </a:cubicBezTo>
                <a:close/>
                <a:moveTo>
                  <a:pt x="45" y="240"/>
                </a:moveTo>
                <a:cubicBezTo>
                  <a:pt x="46" y="241"/>
                  <a:pt x="46" y="241"/>
                  <a:pt x="46" y="241"/>
                </a:cubicBezTo>
                <a:cubicBezTo>
                  <a:pt x="45" y="241"/>
                  <a:pt x="45" y="242"/>
                  <a:pt x="44" y="243"/>
                </a:cubicBezTo>
                <a:cubicBezTo>
                  <a:pt x="44" y="243"/>
                  <a:pt x="43" y="243"/>
                  <a:pt x="43" y="243"/>
                </a:cubicBezTo>
                <a:cubicBezTo>
                  <a:pt x="43" y="244"/>
                  <a:pt x="43" y="244"/>
                  <a:pt x="42" y="245"/>
                </a:cubicBezTo>
                <a:cubicBezTo>
                  <a:pt x="43" y="245"/>
                  <a:pt x="43" y="245"/>
                  <a:pt x="44" y="244"/>
                </a:cubicBezTo>
                <a:cubicBezTo>
                  <a:pt x="44" y="244"/>
                  <a:pt x="44" y="244"/>
                  <a:pt x="44" y="244"/>
                </a:cubicBezTo>
                <a:cubicBezTo>
                  <a:pt x="44" y="244"/>
                  <a:pt x="45" y="243"/>
                  <a:pt x="45" y="244"/>
                </a:cubicBezTo>
                <a:cubicBezTo>
                  <a:pt x="45" y="241"/>
                  <a:pt x="47" y="241"/>
                  <a:pt x="48" y="239"/>
                </a:cubicBezTo>
                <a:cubicBezTo>
                  <a:pt x="47" y="238"/>
                  <a:pt x="48" y="238"/>
                  <a:pt x="48" y="237"/>
                </a:cubicBezTo>
                <a:cubicBezTo>
                  <a:pt x="47" y="238"/>
                  <a:pt x="47" y="240"/>
                  <a:pt x="45" y="240"/>
                </a:cubicBezTo>
                <a:close/>
                <a:moveTo>
                  <a:pt x="820" y="180"/>
                </a:moveTo>
                <a:cubicBezTo>
                  <a:pt x="820" y="181"/>
                  <a:pt x="820" y="181"/>
                  <a:pt x="820" y="181"/>
                </a:cubicBezTo>
                <a:cubicBezTo>
                  <a:pt x="821" y="181"/>
                  <a:pt x="820" y="180"/>
                  <a:pt x="820" y="180"/>
                </a:cubicBezTo>
                <a:close/>
                <a:moveTo>
                  <a:pt x="866" y="171"/>
                </a:moveTo>
                <a:cubicBezTo>
                  <a:pt x="865" y="171"/>
                  <a:pt x="865" y="172"/>
                  <a:pt x="865" y="172"/>
                </a:cubicBezTo>
                <a:cubicBezTo>
                  <a:pt x="865" y="172"/>
                  <a:pt x="866" y="172"/>
                  <a:pt x="866" y="171"/>
                </a:cubicBezTo>
                <a:close/>
                <a:moveTo>
                  <a:pt x="867" y="170"/>
                </a:moveTo>
                <a:cubicBezTo>
                  <a:pt x="867" y="170"/>
                  <a:pt x="866" y="171"/>
                  <a:pt x="866" y="171"/>
                </a:cubicBezTo>
                <a:cubicBezTo>
                  <a:pt x="867" y="171"/>
                  <a:pt x="867" y="170"/>
                  <a:pt x="867" y="170"/>
                </a:cubicBezTo>
                <a:close/>
                <a:moveTo>
                  <a:pt x="861" y="164"/>
                </a:moveTo>
                <a:cubicBezTo>
                  <a:pt x="861" y="164"/>
                  <a:pt x="861" y="165"/>
                  <a:pt x="861" y="165"/>
                </a:cubicBezTo>
                <a:cubicBezTo>
                  <a:pt x="861" y="164"/>
                  <a:pt x="861" y="164"/>
                  <a:pt x="861" y="164"/>
                </a:cubicBezTo>
                <a:close/>
                <a:moveTo>
                  <a:pt x="868" y="162"/>
                </a:moveTo>
                <a:cubicBezTo>
                  <a:pt x="868" y="163"/>
                  <a:pt x="868" y="163"/>
                  <a:pt x="868" y="164"/>
                </a:cubicBezTo>
                <a:cubicBezTo>
                  <a:pt x="868" y="163"/>
                  <a:pt x="868" y="162"/>
                  <a:pt x="868" y="162"/>
                </a:cubicBezTo>
                <a:close/>
                <a:moveTo>
                  <a:pt x="837" y="147"/>
                </a:moveTo>
                <a:cubicBezTo>
                  <a:pt x="837" y="148"/>
                  <a:pt x="837" y="150"/>
                  <a:pt x="836" y="151"/>
                </a:cubicBezTo>
                <a:cubicBezTo>
                  <a:pt x="837" y="150"/>
                  <a:pt x="837" y="148"/>
                  <a:pt x="837" y="147"/>
                </a:cubicBezTo>
                <a:close/>
                <a:moveTo>
                  <a:pt x="852" y="150"/>
                </a:moveTo>
                <a:cubicBezTo>
                  <a:pt x="852" y="149"/>
                  <a:pt x="852" y="149"/>
                  <a:pt x="852" y="149"/>
                </a:cubicBezTo>
                <a:cubicBezTo>
                  <a:pt x="852" y="148"/>
                  <a:pt x="853" y="145"/>
                  <a:pt x="852" y="146"/>
                </a:cubicBezTo>
                <a:cubicBezTo>
                  <a:pt x="852" y="147"/>
                  <a:pt x="851" y="150"/>
                  <a:pt x="851" y="151"/>
                </a:cubicBezTo>
                <a:cubicBezTo>
                  <a:pt x="852" y="151"/>
                  <a:pt x="852" y="150"/>
                  <a:pt x="852" y="150"/>
                </a:cubicBezTo>
                <a:close/>
                <a:moveTo>
                  <a:pt x="857" y="134"/>
                </a:moveTo>
                <a:cubicBezTo>
                  <a:pt x="857" y="134"/>
                  <a:pt x="857" y="134"/>
                  <a:pt x="857" y="134"/>
                </a:cubicBezTo>
                <a:cubicBezTo>
                  <a:pt x="857" y="135"/>
                  <a:pt x="857" y="135"/>
                  <a:pt x="857" y="135"/>
                </a:cubicBezTo>
                <a:lnTo>
                  <a:pt x="857" y="134"/>
                </a:lnTo>
                <a:close/>
                <a:moveTo>
                  <a:pt x="855" y="121"/>
                </a:moveTo>
                <a:cubicBezTo>
                  <a:pt x="855" y="119"/>
                  <a:pt x="855" y="121"/>
                  <a:pt x="855" y="122"/>
                </a:cubicBezTo>
                <a:cubicBezTo>
                  <a:pt x="854" y="122"/>
                  <a:pt x="855" y="122"/>
                  <a:pt x="855" y="122"/>
                </a:cubicBezTo>
                <a:cubicBezTo>
                  <a:pt x="854" y="123"/>
                  <a:pt x="853" y="126"/>
                  <a:pt x="854" y="127"/>
                </a:cubicBezTo>
                <a:cubicBezTo>
                  <a:pt x="854" y="125"/>
                  <a:pt x="855" y="123"/>
                  <a:pt x="855" y="121"/>
                </a:cubicBezTo>
                <a:close/>
                <a:moveTo>
                  <a:pt x="861" y="127"/>
                </a:moveTo>
                <a:cubicBezTo>
                  <a:pt x="861" y="127"/>
                  <a:pt x="861" y="128"/>
                  <a:pt x="861" y="128"/>
                </a:cubicBezTo>
                <a:cubicBezTo>
                  <a:pt x="862" y="128"/>
                  <a:pt x="862" y="127"/>
                  <a:pt x="861" y="127"/>
                </a:cubicBezTo>
                <a:close/>
                <a:moveTo>
                  <a:pt x="843" y="120"/>
                </a:moveTo>
                <a:cubicBezTo>
                  <a:pt x="843" y="121"/>
                  <a:pt x="842" y="121"/>
                  <a:pt x="842" y="122"/>
                </a:cubicBezTo>
                <a:cubicBezTo>
                  <a:pt x="843" y="121"/>
                  <a:pt x="843" y="120"/>
                  <a:pt x="843" y="120"/>
                </a:cubicBezTo>
                <a:close/>
                <a:moveTo>
                  <a:pt x="859" y="124"/>
                </a:moveTo>
                <a:cubicBezTo>
                  <a:pt x="859" y="125"/>
                  <a:pt x="859" y="126"/>
                  <a:pt x="859" y="126"/>
                </a:cubicBezTo>
                <a:cubicBezTo>
                  <a:pt x="859" y="125"/>
                  <a:pt x="860" y="124"/>
                  <a:pt x="859" y="124"/>
                </a:cubicBezTo>
                <a:close/>
                <a:moveTo>
                  <a:pt x="862" y="124"/>
                </a:moveTo>
                <a:cubicBezTo>
                  <a:pt x="862" y="124"/>
                  <a:pt x="861" y="125"/>
                  <a:pt x="862" y="126"/>
                </a:cubicBezTo>
                <a:cubicBezTo>
                  <a:pt x="862" y="125"/>
                  <a:pt x="862" y="124"/>
                  <a:pt x="862" y="124"/>
                </a:cubicBezTo>
                <a:close/>
                <a:moveTo>
                  <a:pt x="839" y="118"/>
                </a:moveTo>
                <a:cubicBezTo>
                  <a:pt x="839" y="118"/>
                  <a:pt x="839" y="119"/>
                  <a:pt x="839" y="119"/>
                </a:cubicBezTo>
                <a:cubicBezTo>
                  <a:pt x="839" y="119"/>
                  <a:pt x="839" y="118"/>
                  <a:pt x="839" y="118"/>
                </a:cubicBezTo>
                <a:close/>
                <a:moveTo>
                  <a:pt x="844" y="116"/>
                </a:moveTo>
                <a:cubicBezTo>
                  <a:pt x="843" y="117"/>
                  <a:pt x="843" y="119"/>
                  <a:pt x="843" y="119"/>
                </a:cubicBezTo>
                <a:cubicBezTo>
                  <a:pt x="843" y="118"/>
                  <a:pt x="844" y="117"/>
                  <a:pt x="844" y="116"/>
                </a:cubicBezTo>
                <a:close/>
                <a:moveTo>
                  <a:pt x="862" y="120"/>
                </a:moveTo>
                <a:cubicBezTo>
                  <a:pt x="862" y="121"/>
                  <a:pt x="861" y="122"/>
                  <a:pt x="862" y="123"/>
                </a:cubicBezTo>
                <a:cubicBezTo>
                  <a:pt x="862" y="122"/>
                  <a:pt x="863" y="121"/>
                  <a:pt x="862" y="120"/>
                </a:cubicBezTo>
                <a:close/>
                <a:moveTo>
                  <a:pt x="855" y="118"/>
                </a:moveTo>
                <a:cubicBezTo>
                  <a:pt x="855" y="118"/>
                  <a:pt x="855" y="119"/>
                  <a:pt x="855" y="119"/>
                </a:cubicBezTo>
                <a:cubicBezTo>
                  <a:pt x="855" y="119"/>
                  <a:pt x="856" y="118"/>
                  <a:pt x="855" y="118"/>
                </a:cubicBezTo>
                <a:close/>
                <a:moveTo>
                  <a:pt x="858" y="117"/>
                </a:moveTo>
                <a:cubicBezTo>
                  <a:pt x="857" y="117"/>
                  <a:pt x="857" y="118"/>
                  <a:pt x="857" y="118"/>
                </a:cubicBezTo>
                <a:cubicBezTo>
                  <a:pt x="857" y="118"/>
                  <a:pt x="858" y="117"/>
                  <a:pt x="858" y="117"/>
                </a:cubicBezTo>
                <a:close/>
                <a:moveTo>
                  <a:pt x="860" y="116"/>
                </a:moveTo>
                <a:cubicBezTo>
                  <a:pt x="860" y="116"/>
                  <a:pt x="860" y="116"/>
                  <a:pt x="860" y="116"/>
                </a:cubicBezTo>
                <a:cubicBezTo>
                  <a:pt x="859" y="115"/>
                  <a:pt x="859" y="117"/>
                  <a:pt x="859" y="117"/>
                </a:cubicBezTo>
                <a:cubicBezTo>
                  <a:pt x="860" y="117"/>
                  <a:pt x="859" y="117"/>
                  <a:pt x="860" y="116"/>
                </a:cubicBezTo>
                <a:close/>
                <a:moveTo>
                  <a:pt x="849" y="110"/>
                </a:moveTo>
                <a:cubicBezTo>
                  <a:pt x="848" y="113"/>
                  <a:pt x="849" y="111"/>
                  <a:pt x="849" y="110"/>
                </a:cubicBezTo>
                <a:close/>
                <a:moveTo>
                  <a:pt x="845" y="105"/>
                </a:moveTo>
                <a:cubicBezTo>
                  <a:pt x="844" y="106"/>
                  <a:pt x="844" y="106"/>
                  <a:pt x="844" y="107"/>
                </a:cubicBezTo>
                <a:cubicBezTo>
                  <a:pt x="844" y="107"/>
                  <a:pt x="845" y="105"/>
                  <a:pt x="845" y="105"/>
                </a:cubicBezTo>
                <a:close/>
                <a:moveTo>
                  <a:pt x="844" y="105"/>
                </a:moveTo>
                <a:cubicBezTo>
                  <a:pt x="843" y="105"/>
                  <a:pt x="843" y="106"/>
                  <a:pt x="843" y="106"/>
                </a:cubicBezTo>
                <a:lnTo>
                  <a:pt x="844" y="105"/>
                </a:lnTo>
                <a:close/>
                <a:moveTo>
                  <a:pt x="836" y="101"/>
                </a:moveTo>
                <a:cubicBezTo>
                  <a:pt x="836" y="102"/>
                  <a:pt x="836" y="102"/>
                  <a:pt x="836" y="102"/>
                </a:cubicBezTo>
                <a:cubicBezTo>
                  <a:pt x="836" y="102"/>
                  <a:pt x="836" y="101"/>
                  <a:pt x="836" y="101"/>
                </a:cubicBezTo>
                <a:close/>
                <a:moveTo>
                  <a:pt x="838" y="98"/>
                </a:moveTo>
                <a:cubicBezTo>
                  <a:pt x="839" y="95"/>
                  <a:pt x="838" y="96"/>
                  <a:pt x="838" y="98"/>
                </a:cubicBezTo>
                <a:close/>
                <a:moveTo>
                  <a:pt x="828" y="135"/>
                </a:moveTo>
                <a:cubicBezTo>
                  <a:pt x="828" y="136"/>
                  <a:pt x="828" y="137"/>
                  <a:pt x="827" y="137"/>
                </a:cubicBezTo>
                <a:cubicBezTo>
                  <a:pt x="828" y="138"/>
                  <a:pt x="828" y="138"/>
                  <a:pt x="828" y="138"/>
                </a:cubicBezTo>
                <a:cubicBezTo>
                  <a:pt x="828" y="137"/>
                  <a:pt x="829" y="136"/>
                  <a:pt x="828" y="135"/>
                </a:cubicBezTo>
                <a:close/>
                <a:moveTo>
                  <a:pt x="846" y="121"/>
                </a:moveTo>
                <a:cubicBezTo>
                  <a:pt x="847" y="121"/>
                  <a:pt x="846" y="122"/>
                  <a:pt x="846" y="123"/>
                </a:cubicBezTo>
                <a:cubicBezTo>
                  <a:pt x="847" y="121"/>
                  <a:pt x="848" y="117"/>
                  <a:pt x="848" y="115"/>
                </a:cubicBezTo>
                <a:cubicBezTo>
                  <a:pt x="848" y="117"/>
                  <a:pt x="846" y="118"/>
                  <a:pt x="847" y="119"/>
                </a:cubicBezTo>
                <a:cubicBezTo>
                  <a:pt x="847" y="119"/>
                  <a:pt x="847" y="119"/>
                  <a:pt x="847" y="118"/>
                </a:cubicBezTo>
                <a:cubicBezTo>
                  <a:pt x="846" y="119"/>
                  <a:pt x="846" y="120"/>
                  <a:pt x="846" y="121"/>
                </a:cubicBezTo>
                <a:cubicBezTo>
                  <a:pt x="846" y="121"/>
                  <a:pt x="846" y="120"/>
                  <a:pt x="846" y="120"/>
                </a:cubicBezTo>
                <a:cubicBezTo>
                  <a:pt x="846" y="121"/>
                  <a:pt x="845" y="121"/>
                  <a:pt x="845" y="121"/>
                </a:cubicBezTo>
                <a:cubicBezTo>
                  <a:pt x="846" y="122"/>
                  <a:pt x="846" y="121"/>
                  <a:pt x="846" y="121"/>
                </a:cubicBezTo>
                <a:close/>
                <a:moveTo>
                  <a:pt x="860" y="122"/>
                </a:moveTo>
                <a:cubicBezTo>
                  <a:pt x="860" y="122"/>
                  <a:pt x="859" y="123"/>
                  <a:pt x="860" y="123"/>
                </a:cubicBezTo>
                <a:cubicBezTo>
                  <a:pt x="860" y="123"/>
                  <a:pt x="860" y="123"/>
                  <a:pt x="860" y="123"/>
                </a:cubicBezTo>
                <a:cubicBezTo>
                  <a:pt x="859" y="124"/>
                  <a:pt x="860" y="122"/>
                  <a:pt x="860" y="122"/>
                </a:cubicBezTo>
                <a:close/>
                <a:moveTo>
                  <a:pt x="861" y="115"/>
                </a:moveTo>
                <a:cubicBezTo>
                  <a:pt x="861" y="115"/>
                  <a:pt x="861" y="115"/>
                  <a:pt x="861" y="115"/>
                </a:cubicBezTo>
                <a:cubicBezTo>
                  <a:pt x="862" y="117"/>
                  <a:pt x="859" y="120"/>
                  <a:pt x="860" y="122"/>
                </a:cubicBezTo>
                <a:cubicBezTo>
                  <a:pt x="860" y="118"/>
                  <a:pt x="862" y="115"/>
                  <a:pt x="862" y="112"/>
                </a:cubicBezTo>
                <a:cubicBezTo>
                  <a:pt x="862" y="112"/>
                  <a:pt x="862" y="111"/>
                  <a:pt x="862" y="111"/>
                </a:cubicBezTo>
                <a:cubicBezTo>
                  <a:pt x="862" y="110"/>
                  <a:pt x="864" y="107"/>
                  <a:pt x="863" y="106"/>
                </a:cubicBezTo>
                <a:cubicBezTo>
                  <a:pt x="863" y="107"/>
                  <a:pt x="862" y="108"/>
                  <a:pt x="862" y="110"/>
                </a:cubicBezTo>
                <a:cubicBezTo>
                  <a:pt x="861" y="109"/>
                  <a:pt x="861" y="109"/>
                  <a:pt x="861" y="109"/>
                </a:cubicBezTo>
                <a:cubicBezTo>
                  <a:pt x="862" y="111"/>
                  <a:pt x="861" y="114"/>
                  <a:pt x="861" y="115"/>
                </a:cubicBezTo>
                <a:close/>
                <a:moveTo>
                  <a:pt x="842" y="104"/>
                </a:moveTo>
                <a:cubicBezTo>
                  <a:pt x="842" y="105"/>
                  <a:pt x="842" y="105"/>
                  <a:pt x="842" y="106"/>
                </a:cubicBezTo>
                <a:cubicBezTo>
                  <a:pt x="843" y="105"/>
                  <a:pt x="842" y="104"/>
                  <a:pt x="842" y="104"/>
                </a:cubicBezTo>
                <a:close/>
                <a:moveTo>
                  <a:pt x="707" y="252"/>
                </a:moveTo>
                <a:cubicBezTo>
                  <a:pt x="708" y="252"/>
                  <a:pt x="709" y="252"/>
                  <a:pt x="710" y="253"/>
                </a:cubicBezTo>
                <a:cubicBezTo>
                  <a:pt x="710" y="254"/>
                  <a:pt x="709" y="255"/>
                  <a:pt x="710" y="256"/>
                </a:cubicBezTo>
                <a:cubicBezTo>
                  <a:pt x="712" y="257"/>
                  <a:pt x="715" y="253"/>
                  <a:pt x="715" y="256"/>
                </a:cubicBezTo>
                <a:cubicBezTo>
                  <a:pt x="717" y="258"/>
                  <a:pt x="720" y="259"/>
                  <a:pt x="723" y="259"/>
                </a:cubicBezTo>
                <a:cubicBezTo>
                  <a:pt x="725" y="260"/>
                  <a:pt x="726" y="261"/>
                  <a:pt x="728" y="262"/>
                </a:cubicBezTo>
                <a:cubicBezTo>
                  <a:pt x="730" y="262"/>
                  <a:pt x="733" y="262"/>
                  <a:pt x="734" y="263"/>
                </a:cubicBezTo>
                <a:cubicBezTo>
                  <a:pt x="736" y="263"/>
                  <a:pt x="737" y="264"/>
                  <a:pt x="739" y="265"/>
                </a:cubicBezTo>
                <a:cubicBezTo>
                  <a:pt x="744" y="267"/>
                  <a:pt x="749" y="267"/>
                  <a:pt x="753" y="269"/>
                </a:cubicBezTo>
                <a:cubicBezTo>
                  <a:pt x="756" y="269"/>
                  <a:pt x="760" y="271"/>
                  <a:pt x="762" y="272"/>
                </a:cubicBezTo>
                <a:cubicBezTo>
                  <a:pt x="765" y="272"/>
                  <a:pt x="768" y="274"/>
                  <a:pt x="771" y="275"/>
                </a:cubicBezTo>
                <a:cubicBezTo>
                  <a:pt x="772" y="275"/>
                  <a:pt x="774" y="275"/>
                  <a:pt x="776" y="276"/>
                </a:cubicBezTo>
                <a:cubicBezTo>
                  <a:pt x="776" y="276"/>
                  <a:pt x="777" y="276"/>
                  <a:pt x="777" y="276"/>
                </a:cubicBezTo>
                <a:cubicBezTo>
                  <a:pt x="779" y="277"/>
                  <a:pt x="781" y="277"/>
                  <a:pt x="782" y="277"/>
                </a:cubicBezTo>
                <a:cubicBezTo>
                  <a:pt x="784" y="278"/>
                  <a:pt x="785" y="279"/>
                  <a:pt x="787" y="279"/>
                </a:cubicBezTo>
                <a:cubicBezTo>
                  <a:pt x="789" y="280"/>
                  <a:pt x="792" y="281"/>
                  <a:pt x="795" y="281"/>
                </a:cubicBezTo>
                <a:cubicBezTo>
                  <a:pt x="796" y="282"/>
                  <a:pt x="798" y="282"/>
                  <a:pt x="799" y="282"/>
                </a:cubicBezTo>
                <a:cubicBezTo>
                  <a:pt x="800" y="283"/>
                  <a:pt x="800" y="283"/>
                  <a:pt x="801" y="283"/>
                </a:cubicBezTo>
                <a:cubicBezTo>
                  <a:pt x="802" y="283"/>
                  <a:pt x="802" y="283"/>
                  <a:pt x="802" y="283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4" y="285"/>
                  <a:pt x="805" y="284"/>
                  <a:pt x="806" y="285"/>
                </a:cubicBezTo>
                <a:cubicBezTo>
                  <a:pt x="807" y="285"/>
                  <a:pt x="808" y="286"/>
                  <a:pt x="809" y="287"/>
                </a:cubicBezTo>
                <a:cubicBezTo>
                  <a:pt x="810" y="286"/>
                  <a:pt x="811" y="287"/>
                  <a:pt x="812" y="288"/>
                </a:cubicBezTo>
                <a:cubicBezTo>
                  <a:pt x="813" y="288"/>
                  <a:pt x="813" y="288"/>
                  <a:pt x="813" y="288"/>
                </a:cubicBezTo>
                <a:cubicBezTo>
                  <a:pt x="813" y="288"/>
                  <a:pt x="813" y="287"/>
                  <a:pt x="813" y="287"/>
                </a:cubicBezTo>
                <a:cubicBezTo>
                  <a:pt x="813" y="287"/>
                  <a:pt x="813" y="287"/>
                  <a:pt x="813" y="286"/>
                </a:cubicBezTo>
                <a:cubicBezTo>
                  <a:pt x="813" y="286"/>
                  <a:pt x="813" y="286"/>
                  <a:pt x="813" y="286"/>
                </a:cubicBezTo>
                <a:cubicBezTo>
                  <a:pt x="813" y="285"/>
                  <a:pt x="813" y="285"/>
                  <a:pt x="813" y="284"/>
                </a:cubicBezTo>
                <a:cubicBezTo>
                  <a:pt x="813" y="282"/>
                  <a:pt x="813" y="282"/>
                  <a:pt x="813" y="282"/>
                </a:cubicBezTo>
                <a:cubicBezTo>
                  <a:pt x="813" y="282"/>
                  <a:pt x="812" y="281"/>
                  <a:pt x="812" y="280"/>
                </a:cubicBezTo>
                <a:cubicBezTo>
                  <a:pt x="812" y="280"/>
                  <a:pt x="813" y="280"/>
                  <a:pt x="813" y="279"/>
                </a:cubicBezTo>
                <a:cubicBezTo>
                  <a:pt x="813" y="279"/>
                  <a:pt x="812" y="279"/>
                  <a:pt x="812" y="279"/>
                </a:cubicBezTo>
                <a:cubicBezTo>
                  <a:pt x="812" y="278"/>
                  <a:pt x="812" y="278"/>
                  <a:pt x="812" y="278"/>
                </a:cubicBezTo>
                <a:cubicBezTo>
                  <a:pt x="812" y="277"/>
                  <a:pt x="812" y="277"/>
                  <a:pt x="812" y="277"/>
                </a:cubicBezTo>
                <a:cubicBezTo>
                  <a:pt x="812" y="276"/>
                  <a:pt x="812" y="276"/>
                  <a:pt x="812" y="275"/>
                </a:cubicBezTo>
                <a:cubicBezTo>
                  <a:pt x="813" y="270"/>
                  <a:pt x="813" y="265"/>
                  <a:pt x="813" y="259"/>
                </a:cubicBezTo>
                <a:cubicBezTo>
                  <a:pt x="813" y="254"/>
                  <a:pt x="813" y="250"/>
                  <a:pt x="813" y="245"/>
                </a:cubicBezTo>
                <a:cubicBezTo>
                  <a:pt x="815" y="226"/>
                  <a:pt x="815" y="226"/>
                  <a:pt x="815" y="226"/>
                </a:cubicBezTo>
                <a:cubicBezTo>
                  <a:pt x="815" y="219"/>
                  <a:pt x="816" y="212"/>
                  <a:pt x="817" y="206"/>
                </a:cubicBezTo>
                <a:cubicBezTo>
                  <a:pt x="817" y="206"/>
                  <a:pt x="818" y="205"/>
                  <a:pt x="818" y="205"/>
                </a:cubicBezTo>
                <a:cubicBezTo>
                  <a:pt x="818" y="204"/>
                  <a:pt x="817" y="204"/>
                  <a:pt x="818" y="204"/>
                </a:cubicBezTo>
                <a:cubicBezTo>
                  <a:pt x="818" y="203"/>
                  <a:pt x="818" y="203"/>
                  <a:pt x="818" y="203"/>
                </a:cubicBezTo>
                <a:cubicBezTo>
                  <a:pt x="819" y="197"/>
                  <a:pt x="820" y="192"/>
                  <a:pt x="822" y="186"/>
                </a:cubicBezTo>
                <a:cubicBezTo>
                  <a:pt x="822" y="185"/>
                  <a:pt x="822" y="186"/>
                  <a:pt x="822" y="186"/>
                </a:cubicBezTo>
                <a:cubicBezTo>
                  <a:pt x="823" y="183"/>
                  <a:pt x="824" y="178"/>
                  <a:pt x="825" y="175"/>
                </a:cubicBezTo>
                <a:cubicBezTo>
                  <a:pt x="825" y="173"/>
                  <a:pt x="825" y="171"/>
                  <a:pt x="826" y="170"/>
                </a:cubicBezTo>
                <a:cubicBezTo>
                  <a:pt x="826" y="169"/>
                  <a:pt x="825" y="169"/>
                  <a:pt x="825" y="169"/>
                </a:cubicBezTo>
                <a:cubicBezTo>
                  <a:pt x="826" y="169"/>
                  <a:pt x="826" y="169"/>
                  <a:pt x="826" y="169"/>
                </a:cubicBezTo>
                <a:cubicBezTo>
                  <a:pt x="826" y="167"/>
                  <a:pt x="826" y="167"/>
                  <a:pt x="826" y="167"/>
                </a:cubicBezTo>
                <a:cubicBezTo>
                  <a:pt x="827" y="164"/>
                  <a:pt x="828" y="160"/>
                  <a:pt x="829" y="156"/>
                </a:cubicBezTo>
                <a:cubicBezTo>
                  <a:pt x="829" y="155"/>
                  <a:pt x="829" y="155"/>
                  <a:pt x="829" y="154"/>
                </a:cubicBezTo>
                <a:cubicBezTo>
                  <a:pt x="830" y="154"/>
                  <a:pt x="830" y="154"/>
                  <a:pt x="829" y="153"/>
                </a:cubicBezTo>
                <a:cubicBezTo>
                  <a:pt x="829" y="153"/>
                  <a:pt x="830" y="151"/>
                  <a:pt x="830" y="152"/>
                </a:cubicBezTo>
                <a:cubicBezTo>
                  <a:pt x="830" y="151"/>
                  <a:pt x="830" y="152"/>
                  <a:pt x="830" y="152"/>
                </a:cubicBezTo>
                <a:cubicBezTo>
                  <a:pt x="831" y="151"/>
                  <a:pt x="831" y="149"/>
                  <a:pt x="831" y="147"/>
                </a:cubicBezTo>
                <a:cubicBezTo>
                  <a:pt x="831" y="146"/>
                  <a:pt x="832" y="144"/>
                  <a:pt x="833" y="142"/>
                </a:cubicBezTo>
                <a:cubicBezTo>
                  <a:pt x="833" y="144"/>
                  <a:pt x="833" y="146"/>
                  <a:pt x="835" y="147"/>
                </a:cubicBezTo>
                <a:cubicBezTo>
                  <a:pt x="836" y="145"/>
                  <a:pt x="836" y="141"/>
                  <a:pt x="837" y="140"/>
                </a:cubicBezTo>
                <a:cubicBezTo>
                  <a:pt x="838" y="135"/>
                  <a:pt x="839" y="130"/>
                  <a:pt x="840" y="125"/>
                </a:cubicBezTo>
                <a:cubicBezTo>
                  <a:pt x="840" y="124"/>
                  <a:pt x="840" y="124"/>
                  <a:pt x="840" y="124"/>
                </a:cubicBezTo>
                <a:cubicBezTo>
                  <a:pt x="842" y="119"/>
                  <a:pt x="842" y="114"/>
                  <a:pt x="844" y="108"/>
                </a:cubicBezTo>
                <a:cubicBezTo>
                  <a:pt x="842" y="119"/>
                  <a:pt x="839" y="128"/>
                  <a:pt x="838" y="138"/>
                </a:cubicBezTo>
                <a:cubicBezTo>
                  <a:pt x="837" y="140"/>
                  <a:pt x="836" y="146"/>
                  <a:pt x="835" y="150"/>
                </a:cubicBezTo>
                <a:cubicBezTo>
                  <a:pt x="835" y="152"/>
                  <a:pt x="836" y="153"/>
                  <a:pt x="838" y="152"/>
                </a:cubicBezTo>
                <a:cubicBezTo>
                  <a:pt x="840" y="150"/>
                  <a:pt x="839" y="147"/>
                  <a:pt x="840" y="145"/>
                </a:cubicBezTo>
                <a:cubicBezTo>
                  <a:pt x="841" y="145"/>
                  <a:pt x="841" y="144"/>
                  <a:pt x="842" y="145"/>
                </a:cubicBezTo>
                <a:cubicBezTo>
                  <a:pt x="842" y="150"/>
                  <a:pt x="840" y="156"/>
                  <a:pt x="840" y="160"/>
                </a:cubicBezTo>
                <a:cubicBezTo>
                  <a:pt x="840" y="161"/>
                  <a:pt x="840" y="162"/>
                  <a:pt x="840" y="163"/>
                </a:cubicBezTo>
                <a:cubicBezTo>
                  <a:pt x="840" y="163"/>
                  <a:pt x="840" y="164"/>
                  <a:pt x="841" y="164"/>
                </a:cubicBezTo>
                <a:cubicBezTo>
                  <a:pt x="841" y="164"/>
                  <a:pt x="841" y="164"/>
                  <a:pt x="842" y="164"/>
                </a:cubicBezTo>
                <a:cubicBezTo>
                  <a:pt x="842" y="159"/>
                  <a:pt x="846" y="156"/>
                  <a:pt x="846" y="151"/>
                </a:cubicBezTo>
                <a:cubicBezTo>
                  <a:pt x="847" y="150"/>
                  <a:pt x="848" y="149"/>
                  <a:pt x="849" y="149"/>
                </a:cubicBezTo>
                <a:cubicBezTo>
                  <a:pt x="849" y="147"/>
                  <a:pt x="850" y="145"/>
                  <a:pt x="850" y="143"/>
                </a:cubicBezTo>
                <a:cubicBezTo>
                  <a:pt x="850" y="142"/>
                  <a:pt x="850" y="142"/>
                  <a:pt x="850" y="142"/>
                </a:cubicBezTo>
                <a:cubicBezTo>
                  <a:pt x="851" y="137"/>
                  <a:pt x="851" y="133"/>
                  <a:pt x="853" y="129"/>
                </a:cubicBezTo>
                <a:cubicBezTo>
                  <a:pt x="853" y="133"/>
                  <a:pt x="852" y="136"/>
                  <a:pt x="851" y="140"/>
                </a:cubicBezTo>
                <a:cubicBezTo>
                  <a:pt x="851" y="140"/>
                  <a:pt x="852" y="141"/>
                  <a:pt x="852" y="141"/>
                </a:cubicBezTo>
                <a:cubicBezTo>
                  <a:pt x="851" y="144"/>
                  <a:pt x="850" y="149"/>
                  <a:pt x="849" y="152"/>
                </a:cubicBezTo>
                <a:cubicBezTo>
                  <a:pt x="850" y="153"/>
                  <a:pt x="851" y="153"/>
                  <a:pt x="851" y="152"/>
                </a:cubicBezTo>
                <a:cubicBezTo>
                  <a:pt x="851" y="152"/>
                  <a:pt x="851" y="153"/>
                  <a:pt x="851" y="153"/>
                </a:cubicBezTo>
                <a:cubicBezTo>
                  <a:pt x="851" y="153"/>
                  <a:pt x="851" y="153"/>
                  <a:pt x="852" y="153"/>
                </a:cubicBezTo>
                <a:cubicBezTo>
                  <a:pt x="851" y="155"/>
                  <a:pt x="851" y="155"/>
                  <a:pt x="851" y="157"/>
                </a:cubicBezTo>
                <a:cubicBezTo>
                  <a:pt x="851" y="158"/>
                  <a:pt x="851" y="158"/>
                  <a:pt x="852" y="158"/>
                </a:cubicBezTo>
                <a:cubicBezTo>
                  <a:pt x="852" y="156"/>
                  <a:pt x="853" y="155"/>
                  <a:pt x="853" y="153"/>
                </a:cubicBezTo>
                <a:cubicBezTo>
                  <a:pt x="853" y="152"/>
                  <a:pt x="853" y="151"/>
                  <a:pt x="853" y="151"/>
                </a:cubicBezTo>
                <a:cubicBezTo>
                  <a:pt x="853" y="150"/>
                  <a:pt x="853" y="150"/>
                  <a:pt x="854" y="150"/>
                </a:cubicBezTo>
                <a:cubicBezTo>
                  <a:pt x="854" y="149"/>
                  <a:pt x="853" y="149"/>
                  <a:pt x="853" y="148"/>
                </a:cubicBezTo>
                <a:cubicBezTo>
                  <a:pt x="853" y="148"/>
                  <a:pt x="854" y="148"/>
                  <a:pt x="854" y="147"/>
                </a:cubicBezTo>
                <a:cubicBezTo>
                  <a:pt x="855" y="145"/>
                  <a:pt x="854" y="143"/>
                  <a:pt x="855" y="141"/>
                </a:cubicBezTo>
                <a:cubicBezTo>
                  <a:pt x="855" y="140"/>
                  <a:pt x="856" y="139"/>
                  <a:pt x="857" y="137"/>
                </a:cubicBezTo>
                <a:cubicBezTo>
                  <a:pt x="857" y="138"/>
                  <a:pt x="856" y="139"/>
                  <a:pt x="856" y="140"/>
                </a:cubicBezTo>
                <a:cubicBezTo>
                  <a:pt x="855" y="144"/>
                  <a:pt x="856" y="148"/>
                  <a:pt x="855" y="151"/>
                </a:cubicBezTo>
                <a:cubicBezTo>
                  <a:pt x="856" y="152"/>
                  <a:pt x="856" y="151"/>
                  <a:pt x="857" y="151"/>
                </a:cubicBezTo>
                <a:cubicBezTo>
                  <a:pt x="857" y="150"/>
                  <a:pt x="857" y="149"/>
                  <a:pt x="857" y="148"/>
                </a:cubicBezTo>
                <a:cubicBezTo>
                  <a:pt x="857" y="148"/>
                  <a:pt x="857" y="149"/>
                  <a:pt x="857" y="148"/>
                </a:cubicBezTo>
                <a:cubicBezTo>
                  <a:pt x="857" y="146"/>
                  <a:pt x="857" y="144"/>
                  <a:pt x="858" y="141"/>
                </a:cubicBezTo>
                <a:cubicBezTo>
                  <a:pt x="858" y="141"/>
                  <a:pt x="858" y="140"/>
                  <a:pt x="859" y="141"/>
                </a:cubicBezTo>
                <a:cubicBezTo>
                  <a:pt x="859" y="140"/>
                  <a:pt x="859" y="140"/>
                  <a:pt x="860" y="140"/>
                </a:cubicBezTo>
                <a:cubicBezTo>
                  <a:pt x="860" y="139"/>
                  <a:pt x="859" y="140"/>
                  <a:pt x="859" y="140"/>
                </a:cubicBezTo>
                <a:cubicBezTo>
                  <a:pt x="860" y="139"/>
                  <a:pt x="859" y="138"/>
                  <a:pt x="860" y="138"/>
                </a:cubicBezTo>
                <a:cubicBezTo>
                  <a:pt x="860" y="134"/>
                  <a:pt x="861" y="132"/>
                  <a:pt x="861" y="128"/>
                </a:cubicBezTo>
                <a:cubicBezTo>
                  <a:pt x="861" y="131"/>
                  <a:pt x="861" y="134"/>
                  <a:pt x="860" y="137"/>
                </a:cubicBezTo>
                <a:cubicBezTo>
                  <a:pt x="860" y="138"/>
                  <a:pt x="861" y="137"/>
                  <a:pt x="861" y="138"/>
                </a:cubicBezTo>
                <a:cubicBezTo>
                  <a:pt x="861" y="139"/>
                  <a:pt x="860" y="139"/>
                  <a:pt x="860" y="140"/>
                </a:cubicBezTo>
                <a:cubicBezTo>
                  <a:pt x="860" y="141"/>
                  <a:pt x="860" y="142"/>
                  <a:pt x="860" y="143"/>
                </a:cubicBezTo>
                <a:cubicBezTo>
                  <a:pt x="860" y="144"/>
                  <a:pt x="859" y="145"/>
                  <a:pt x="859" y="146"/>
                </a:cubicBezTo>
                <a:cubicBezTo>
                  <a:pt x="860" y="147"/>
                  <a:pt x="860" y="148"/>
                  <a:pt x="860" y="149"/>
                </a:cubicBezTo>
                <a:cubicBezTo>
                  <a:pt x="860" y="150"/>
                  <a:pt x="860" y="149"/>
                  <a:pt x="860" y="150"/>
                </a:cubicBezTo>
                <a:cubicBezTo>
                  <a:pt x="861" y="151"/>
                  <a:pt x="861" y="150"/>
                  <a:pt x="862" y="150"/>
                </a:cubicBezTo>
                <a:cubicBezTo>
                  <a:pt x="862" y="151"/>
                  <a:pt x="861" y="150"/>
                  <a:pt x="861" y="151"/>
                </a:cubicBezTo>
                <a:cubicBezTo>
                  <a:pt x="861" y="151"/>
                  <a:pt x="861" y="152"/>
                  <a:pt x="862" y="152"/>
                </a:cubicBezTo>
                <a:cubicBezTo>
                  <a:pt x="861" y="154"/>
                  <a:pt x="861" y="155"/>
                  <a:pt x="861" y="157"/>
                </a:cubicBezTo>
                <a:cubicBezTo>
                  <a:pt x="861" y="157"/>
                  <a:pt x="861" y="156"/>
                  <a:pt x="861" y="157"/>
                </a:cubicBezTo>
                <a:cubicBezTo>
                  <a:pt x="861" y="157"/>
                  <a:pt x="861" y="160"/>
                  <a:pt x="861" y="160"/>
                </a:cubicBezTo>
                <a:cubicBezTo>
                  <a:pt x="861" y="162"/>
                  <a:pt x="861" y="163"/>
                  <a:pt x="860" y="165"/>
                </a:cubicBezTo>
                <a:cubicBezTo>
                  <a:pt x="860" y="166"/>
                  <a:pt x="861" y="165"/>
                  <a:pt x="861" y="166"/>
                </a:cubicBezTo>
                <a:cubicBezTo>
                  <a:pt x="861" y="167"/>
                  <a:pt x="861" y="168"/>
                  <a:pt x="860" y="169"/>
                </a:cubicBezTo>
                <a:cubicBezTo>
                  <a:pt x="861" y="170"/>
                  <a:pt x="861" y="172"/>
                  <a:pt x="860" y="173"/>
                </a:cubicBezTo>
                <a:cubicBezTo>
                  <a:pt x="861" y="173"/>
                  <a:pt x="861" y="172"/>
                  <a:pt x="862" y="172"/>
                </a:cubicBezTo>
                <a:cubicBezTo>
                  <a:pt x="862" y="172"/>
                  <a:pt x="861" y="173"/>
                  <a:pt x="861" y="174"/>
                </a:cubicBezTo>
                <a:cubicBezTo>
                  <a:pt x="861" y="178"/>
                  <a:pt x="862" y="181"/>
                  <a:pt x="861" y="186"/>
                </a:cubicBezTo>
                <a:cubicBezTo>
                  <a:pt x="861" y="187"/>
                  <a:pt x="862" y="187"/>
                  <a:pt x="861" y="188"/>
                </a:cubicBezTo>
                <a:cubicBezTo>
                  <a:pt x="861" y="188"/>
                  <a:pt x="862" y="188"/>
                  <a:pt x="862" y="188"/>
                </a:cubicBezTo>
                <a:cubicBezTo>
                  <a:pt x="862" y="190"/>
                  <a:pt x="860" y="196"/>
                  <a:pt x="862" y="198"/>
                </a:cubicBezTo>
                <a:cubicBezTo>
                  <a:pt x="861" y="198"/>
                  <a:pt x="861" y="197"/>
                  <a:pt x="861" y="198"/>
                </a:cubicBezTo>
                <a:cubicBezTo>
                  <a:pt x="861" y="199"/>
                  <a:pt x="860" y="200"/>
                  <a:pt x="861" y="201"/>
                </a:cubicBezTo>
                <a:cubicBezTo>
                  <a:pt x="861" y="204"/>
                  <a:pt x="860" y="206"/>
                  <a:pt x="861" y="208"/>
                </a:cubicBezTo>
                <a:cubicBezTo>
                  <a:pt x="860" y="209"/>
                  <a:pt x="860" y="210"/>
                  <a:pt x="860" y="210"/>
                </a:cubicBezTo>
                <a:cubicBezTo>
                  <a:pt x="860" y="211"/>
                  <a:pt x="860" y="213"/>
                  <a:pt x="860" y="214"/>
                </a:cubicBezTo>
                <a:cubicBezTo>
                  <a:pt x="859" y="231"/>
                  <a:pt x="857" y="248"/>
                  <a:pt x="857" y="264"/>
                </a:cubicBezTo>
                <a:cubicBezTo>
                  <a:pt x="856" y="268"/>
                  <a:pt x="857" y="273"/>
                  <a:pt x="857" y="277"/>
                </a:cubicBezTo>
                <a:cubicBezTo>
                  <a:pt x="857" y="277"/>
                  <a:pt x="857" y="277"/>
                  <a:pt x="857" y="278"/>
                </a:cubicBezTo>
                <a:cubicBezTo>
                  <a:pt x="857" y="279"/>
                  <a:pt x="857" y="279"/>
                  <a:pt x="857" y="279"/>
                </a:cubicBezTo>
                <a:cubicBezTo>
                  <a:pt x="857" y="280"/>
                  <a:pt x="857" y="281"/>
                  <a:pt x="857" y="282"/>
                </a:cubicBezTo>
                <a:cubicBezTo>
                  <a:pt x="857" y="291"/>
                  <a:pt x="857" y="302"/>
                  <a:pt x="859" y="311"/>
                </a:cubicBezTo>
                <a:cubicBezTo>
                  <a:pt x="858" y="317"/>
                  <a:pt x="860" y="324"/>
                  <a:pt x="860" y="331"/>
                </a:cubicBezTo>
                <a:cubicBezTo>
                  <a:pt x="860" y="334"/>
                  <a:pt x="860" y="336"/>
                  <a:pt x="860" y="339"/>
                </a:cubicBezTo>
                <a:cubicBezTo>
                  <a:pt x="861" y="340"/>
                  <a:pt x="861" y="342"/>
                  <a:pt x="861" y="343"/>
                </a:cubicBezTo>
                <a:cubicBezTo>
                  <a:pt x="861" y="345"/>
                  <a:pt x="861" y="347"/>
                  <a:pt x="861" y="349"/>
                </a:cubicBezTo>
                <a:cubicBezTo>
                  <a:pt x="861" y="350"/>
                  <a:pt x="861" y="350"/>
                  <a:pt x="861" y="350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0" y="350"/>
                  <a:pt x="860" y="350"/>
                </a:cubicBezTo>
                <a:cubicBezTo>
                  <a:pt x="859" y="350"/>
                  <a:pt x="858" y="350"/>
                  <a:pt x="857" y="349"/>
                </a:cubicBezTo>
                <a:cubicBezTo>
                  <a:pt x="854" y="349"/>
                  <a:pt x="853" y="349"/>
                  <a:pt x="851" y="348"/>
                </a:cubicBezTo>
                <a:cubicBezTo>
                  <a:pt x="843" y="346"/>
                  <a:pt x="834" y="342"/>
                  <a:pt x="826" y="340"/>
                </a:cubicBezTo>
                <a:cubicBezTo>
                  <a:pt x="824" y="340"/>
                  <a:pt x="821" y="338"/>
                  <a:pt x="819" y="338"/>
                </a:cubicBezTo>
                <a:cubicBezTo>
                  <a:pt x="818" y="338"/>
                  <a:pt x="817" y="338"/>
                  <a:pt x="816" y="337"/>
                </a:cubicBezTo>
                <a:cubicBezTo>
                  <a:pt x="812" y="336"/>
                  <a:pt x="807" y="334"/>
                  <a:pt x="803" y="334"/>
                </a:cubicBezTo>
                <a:cubicBezTo>
                  <a:pt x="801" y="333"/>
                  <a:pt x="799" y="332"/>
                  <a:pt x="797" y="331"/>
                </a:cubicBezTo>
                <a:cubicBezTo>
                  <a:pt x="794" y="331"/>
                  <a:pt x="792" y="330"/>
                  <a:pt x="790" y="330"/>
                </a:cubicBezTo>
                <a:cubicBezTo>
                  <a:pt x="789" y="329"/>
                  <a:pt x="788" y="329"/>
                  <a:pt x="788" y="329"/>
                </a:cubicBezTo>
                <a:cubicBezTo>
                  <a:pt x="787" y="329"/>
                  <a:pt x="787" y="329"/>
                  <a:pt x="786" y="328"/>
                </a:cubicBezTo>
                <a:cubicBezTo>
                  <a:pt x="783" y="328"/>
                  <a:pt x="779" y="327"/>
                  <a:pt x="776" y="325"/>
                </a:cubicBezTo>
                <a:cubicBezTo>
                  <a:pt x="775" y="325"/>
                  <a:pt x="775" y="325"/>
                  <a:pt x="775" y="326"/>
                </a:cubicBezTo>
                <a:cubicBezTo>
                  <a:pt x="773" y="324"/>
                  <a:pt x="770" y="325"/>
                  <a:pt x="768" y="324"/>
                </a:cubicBezTo>
                <a:cubicBezTo>
                  <a:pt x="767" y="324"/>
                  <a:pt x="767" y="324"/>
                  <a:pt x="767" y="324"/>
                </a:cubicBezTo>
                <a:cubicBezTo>
                  <a:pt x="766" y="323"/>
                  <a:pt x="765" y="323"/>
                  <a:pt x="763" y="323"/>
                </a:cubicBezTo>
                <a:cubicBezTo>
                  <a:pt x="759" y="321"/>
                  <a:pt x="755" y="321"/>
                  <a:pt x="751" y="319"/>
                </a:cubicBezTo>
                <a:cubicBezTo>
                  <a:pt x="749" y="320"/>
                  <a:pt x="746" y="319"/>
                  <a:pt x="744" y="318"/>
                </a:cubicBezTo>
                <a:cubicBezTo>
                  <a:pt x="743" y="318"/>
                  <a:pt x="743" y="319"/>
                  <a:pt x="742" y="318"/>
                </a:cubicBezTo>
                <a:cubicBezTo>
                  <a:pt x="741" y="318"/>
                  <a:pt x="741" y="318"/>
                  <a:pt x="741" y="318"/>
                </a:cubicBezTo>
                <a:cubicBezTo>
                  <a:pt x="740" y="318"/>
                  <a:pt x="740" y="318"/>
                  <a:pt x="739" y="318"/>
                </a:cubicBezTo>
                <a:cubicBezTo>
                  <a:pt x="738" y="317"/>
                  <a:pt x="738" y="317"/>
                  <a:pt x="737" y="316"/>
                </a:cubicBezTo>
                <a:cubicBezTo>
                  <a:pt x="736" y="316"/>
                  <a:pt x="736" y="317"/>
                  <a:pt x="735" y="316"/>
                </a:cubicBezTo>
                <a:cubicBezTo>
                  <a:pt x="734" y="316"/>
                  <a:pt x="733" y="315"/>
                  <a:pt x="733" y="315"/>
                </a:cubicBezTo>
                <a:cubicBezTo>
                  <a:pt x="731" y="315"/>
                  <a:pt x="729" y="316"/>
                  <a:pt x="727" y="314"/>
                </a:cubicBezTo>
                <a:cubicBezTo>
                  <a:pt x="725" y="314"/>
                  <a:pt x="724" y="313"/>
                  <a:pt x="722" y="313"/>
                </a:cubicBezTo>
                <a:cubicBezTo>
                  <a:pt x="721" y="313"/>
                  <a:pt x="720" y="313"/>
                  <a:pt x="719" y="313"/>
                </a:cubicBezTo>
                <a:cubicBezTo>
                  <a:pt x="718" y="313"/>
                  <a:pt x="718" y="313"/>
                  <a:pt x="717" y="313"/>
                </a:cubicBezTo>
                <a:cubicBezTo>
                  <a:pt x="715" y="312"/>
                  <a:pt x="713" y="313"/>
                  <a:pt x="711" y="311"/>
                </a:cubicBezTo>
                <a:cubicBezTo>
                  <a:pt x="708" y="312"/>
                  <a:pt x="703" y="309"/>
                  <a:pt x="701" y="311"/>
                </a:cubicBezTo>
                <a:cubicBezTo>
                  <a:pt x="701" y="312"/>
                  <a:pt x="700" y="313"/>
                  <a:pt x="699" y="313"/>
                </a:cubicBezTo>
                <a:cubicBezTo>
                  <a:pt x="698" y="313"/>
                  <a:pt x="698" y="312"/>
                  <a:pt x="697" y="311"/>
                </a:cubicBezTo>
                <a:cubicBezTo>
                  <a:pt x="696" y="311"/>
                  <a:pt x="693" y="310"/>
                  <a:pt x="692" y="310"/>
                </a:cubicBezTo>
                <a:cubicBezTo>
                  <a:pt x="691" y="310"/>
                  <a:pt x="691" y="311"/>
                  <a:pt x="690" y="311"/>
                </a:cubicBezTo>
                <a:cubicBezTo>
                  <a:pt x="689" y="311"/>
                  <a:pt x="688" y="309"/>
                  <a:pt x="687" y="309"/>
                </a:cubicBezTo>
                <a:cubicBezTo>
                  <a:pt x="686" y="309"/>
                  <a:pt x="685" y="310"/>
                  <a:pt x="684" y="310"/>
                </a:cubicBezTo>
                <a:cubicBezTo>
                  <a:pt x="683" y="309"/>
                  <a:pt x="682" y="308"/>
                  <a:pt x="682" y="307"/>
                </a:cubicBezTo>
                <a:cubicBezTo>
                  <a:pt x="682" y="307"/>
                  <a:pt x="682" y="307"/>
                  <a:pt x="681" y="307"/>
                </a:cubicBezTo>
                <a:cubicBezTo>
                  <a:pt x="680" y="305"/>
                  <a:pt x="677" y="304"/>
                  <a:pt x="674" y="304"/>
                </a:cubicBezTo>
                <a:cubicBezTo>
                  <a:pt x="674" y="303"/>
                  <a:pt x="673" y="303"/>
                  <a:pt x="673" y="303"/>
                </a:cubicBezTo>
                <a:cubicBezTo>
                  <a:pt x="670" y="302"/>
                  <a:pt x="668" y="299"/>
                  <a:pt x="666" y="296"/>
                </a:cubicBezTo>
                <a:cubicBezTo>
                  <a:pt x="666" y="296"/>
                  <a:pt x="665" y="296"/>
                  <a:pt x="665" y="295"/>
                </a:cubicBezTo>
                <a:cubicBezTo>
                  <a:pt x="664" y="294"/>
                  <a:pt x="664" y="293"/>
                  <a:pt x="663" y="292"/>
                </a:cubicBezTo>
                <a:cubicBezTo>
                  <a:pt x="663" y="291"/>
                  <a:pt x="662" y="291"/>
                  <a:pt x="662" y="290"/>
                </a:cubicBezTo>
                <a:cubicBezTo>
                  <a:pt x="662" y="288"/>
                  <a:pt x="661" y="287"/>
                  <a:pt x="660" y="286"/>
                </a:cubicBezTo>
                <a:cubicBezTo>
                  <a:pt x="660" y="285"/>
                  <a:pt x="659" y="284"/>
                  <a:pt x="659" y="283"/>
                </a:cubicBezTo>
                <a:cubicBezTo>
                  <a:pt x="658" y="281"/>
                  <a:pt x="659" y="279"/>
                  <a:pt x="658" y="277"/>
                </a:cubicBezTo>
                <a:cubicBezTo>
                  <a:pt x="659" y="274"/>
                  <a:pt x="659" y="271"/>
                  <a:pt x="660" y="267"/>
                </a:cubicBezTo>
                <a:cubicBezTo>
                  <a:pt x="660" y="267"/>
                  <a:pt x="659" y="267"/>
                  <a:pt x="660" y="266"/>
                </a:cubicBezTo>
                <a:cubicBezTo>
                  <a:pt x="661" y="265"/>
                  <a:pt x="661" y="263"/>
                  <a:pt x="662" y="261"/>
                </a:cubicBezTo>
                <a:cubicBezTo>
                  <a:pt x="663" y="261"/>
                  <a:pt x="663" y="260"/>
                  <a:pt x="664" y="260"/>
                </a:cubicBezTo>
                <a:cubicBezTo>
                  <a:pt x="665" y="259"/>
                  <a:pt x="665" y="258"/>
                  <a:pt x="666" y="257"/>
                </a:cubicBezTo>
                <a:cubicBezTo>
                  <a:pt x="670" y="256"/>
                  <a:pt x="673" y="253"/>
                  <a:pt x="677" y="251"/>
                </a:cubicBezTo>
                <a:cubicBezTo>
                  <a:pt x="677" y="251"/>
                  <a:pt x="678" y="251"/>
                  <a:pt x="678" y="251"/>
                </a:cubicBezTo>
                <a:cubicBezTo>
                  <a:pt x="680" y="250"/>
                  <a:pt x="682" y="250"/>
                  <a:pt x="684" y="249"/>
                </a:cubicBezTo>
                <a:cubicBezTo>
                  <a:pt x="685" y="248"/>
                  <a:pt x="687" y="249"/>
                  <a:pt x="689" y="249"/>
                </a:cubicBezTo>
                <a:cubicBezTo>
                  <a:pt x="690" y="249"/>
                  <a:pt x="690" y="248"/>
                  <a:pt x="692" y="249"/>
                </a:cubicBezTo>
                <a:cubicBezTo>
                  <a:pt x="693" y="249"/>
                  <a:pt x="695" y="248"/>
                  <a:pt x="696" y="248"/>
                </a:cubicBezTo>
                <a:cubicBezTo>
                  <a:pt x="698" y="248"/>
                  <a:pt x="700" y="249"/>
                  <a:pt x="701" y="250"/>
                </a:cubicBezTo>
                <a:cubicBezTo>
                  <a:pt x="702" y="250"/>
                  <a:pt x="703" y="249"/>
                  <a:pt x="704" y="250"/>
                </a:cubicBezTo>
                <a:cubicBezTo>
                  <a:pt x="705" y="250"/>
                  <a:pt x="706" y="252"/>
                  <a:pt x="707" y="252"/>
                </a:cubicBezTo>
                <a:close/>
                <a:moveTo>
                  <a:pt x="858" y="156"/>
                </a:moveTo>
                <a:cubicBezTo>
                  <a:pt x="858" y="156"/>
                  <a:pt x="858" y="156"/>
                  <a:pt x="858" y="156"/>
                </a:cubicBezTo>
                <a:cubicBezTo>
                  <a:pt x="858" y="157"/>
                  <a:pt x="859" y="156"/>
                  <a:pt x="858" y="156"/>
                </a:cubicBezTo>
                <a:close/>
                <a:moveTo>
                  <a:pt x="859" y="156"/>
                </a:moveTo>
                <a:cubicBezTo>
                  <a:pt x="860" y="155"/>
                  <a:pt x="859" y="154"/>
                  <a:pt x="860" y="152"/>
                </a:cubicBezTo>
                <a:cubicBezTo>
                  <a:pt x="859" y="152"/>
                  <a:pt x="859" y="152"/>
                  <a:pt x="860" y="151"/>
                </a:cubicBezTo>
                <a:cubicBezTo>
                  <a:pt x="859" y="150"/>
                  <a:pt x="860" y="148"/>
                  <a:pt x="858" y="148"/>
                </a:cubicBezTo>
                <a:cubicBezTo>
                  <a:pt x="858" y="149"/>
                  <a:pt x="858" y="150"/>
                  <a:pt x="857" y="151"/>
                </a:cubicBezTo>
                <a:cubicBezTo>
                  <a:pt x="857" y="151"/>
                  <a:pt x="858" y="151"/>
                  <a:pt x="858" y="151"/>
                </a:cubicBezTo>
                <a:cubicBezTo>
                  <a:pt x="858" y="152"/>
                  <a:pt x="858" y="154"/>
                  <a:pt x="858" y="156"/>
                </a:cubicBezTo>
                <a:cubicBezTo>
                  <a:pt x="858" y="156"/>
                  <a:pt x="858" y="155"/>
                  <a:pt x="859" y="1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104" tIns="45552" rIns="91104" bIns="45552" numCol="1" anchor="t" anchorCtr="0" compatLnSpc="1">
            <a:prstTxWarp prst="textNoShape">
              <a:avLst/>
            </a:prstTxWarp>
          </a:bodyPr>
          <a:lstStyle/>
          <a:p>
            <a:pPr defTabSz="91111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86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886150" y="3362504"/>
            <a:ext cx="4141236" cy="33732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200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9111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prstClr val="white"/>
                </a:solidFill>
              </a:rPr>
              <a:t>Apply this coupon code during sign up</a:t>
            </a:r>
            <a:endParaRPr lang="es-UY" sz="1600" dirty="0">
              <a:solidFill>
                <a:prstClr val="white"/>
              </a:solidFill>
            </a:endParaRPr>
          </a:p>
        </p:txBody>
      </p:sp>
      <p:grpSp>
        <p:nvGrpSpPr>
          <p:cNvPr id="22" name="Group 21"/>
          <p:cNvGrpSpPr>
            <a:grpSpLocks noChangeAspect="1"/>
          </p:cNvGrpSpPr>
          <p:nvPr/>
        </p:nvGrpSpPr>
        <p:grpSpPr bwMode="auto">
          <a:xfrm>
            <a:off x="848430" y="718280"/>
            <a:ext cx="4308806" cy="3565810"/>
            <a:chOff x="507" y="1182"/>
            <a:chExt cx="3091" cy="2558"/>
          </a:xfrm>
        </p:grpSpPr>
        <p:sp>
          <p:nvSpPr>
            <p:cNvPr id="23" name="AutoShape 3"/>
            <p:cNvSpPr>
              <a:spLocks noChangeAspect="1" noChangeArrowheads="1" noTextEdit="1"/>
            </p:cNvSpPr>
            <p:nvPr/>
          </p:nvSpPr>
          <p:spPr bwMode="auto">
            <a:xfrm>
              <a:off x="507" y="1183"/>
              <a:ext cx="3044" cy="25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104" tIns="45552" rIns="91104" bIns="45552" numCol="1" anchor="t" anchorCtr="0" compatLnSpc="1">
              <a:prstTxWarp prst="textNoShape">
                <a:avLst/>
              </a:prstTxWarp>
            </a:bodyPr>
            <a:lstStyle/>
            <a:p>
              <a:pPr algn="ctr" defTabSz="911114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Freeform 5"/>
            <p:cNvSpPr>
              <a:spLocks/>
            </p:cNvSpPr>
            <p:nvPr/>
          </p:nvSpPr>
          <p:spPr bwMode="auto">
            <a:xfrm>
              <a:off x="1700" y="3289"/>
              <a:ext cx="669" cy="364"/>
            </a:xfrm>
            <a:custGeom>
              <a:avLst/>
              <a:gdLst>
                <a:gd name="T0" fmla="*/ 659 w 659"/>
                <a:gd name="T1" fmla="*/ 364 h 364"/>
                <a:gd name="T2" fmla="*/ 0 w 659"/>
                <a:gd name="T3" fmla="*/ 364 h 364"/>
                <a:gd name="T4" fmla="*/ 51 w 659"/>
                <a:gd name="T5" fmla="*/ 0 h 364"/>
                <a:gd name="T6" fmla="*/ 612 w 659"/>
                <a:gd name="T7" fmla="*/ 0 h 364"/>
                <a:gd name="T8" fmla="*/ 659 w 659"/>
                <a:gd name="T9" fmla="*/ 364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9" h="364">
                  <a:moveTo>
                    <a:pt x="659" y="364"/>
                  </a:moveTo>
                  <a:lnTo>
                    <a:pt x="0" y="364"/>
                  </a:lnTo>
                  <a:lnTo>
                    <a:pt x="51" y="0"/>
                  </a:lnTo>
                  <a:lnTo>
                    <a:pt x="612" y="0"/>
                  </a:lnTo>
                  <a:lnTo>
                    <a:pt x="659" y="364"/>
                  </a:lnTo>
                  <a:close/>
                </a:path>
              </a:pathLst>
            </a:custGeom>
            <a:solidFill>
              <a:srgbClr val="D3D0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104" tIns="45552" rIns="91104" bIns="45552" numCol="1" anchor="t" anchorCtr="0" compatLnSpc="1">
              <a:prstTxWarp prst="textNoShape">
                <a:avLst/>
              </a:prstTxWarp>
            </a:bodyPr>
            <a:lstStyle/>
            <a:p>
              <a:pPr algn="ctr" defTabSz="911114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Freeform 6"/>
            <p:cNvSpPr>
              <a:spLocks/>
            </p:cNvSpPr>
            <p:nvPr/>
          </p:nvSpPr>
          <p:spPr bwMode="auto">
            <a:xfrm>
              <a:off x="1652" y="3645"/>
              <a:ext cx="765" cy="94"/>
            </a:xfrm>
            <a:custGeom>
              <a:avLst/>
              <a:gdLst>
                <a:gd name="T0" fmla="*/ 758 w 772"/>
                <a:gd name="T1" fmla="*/ 96 h 96"/>
                <a:gd name="T2" fmla="*/ 12 w 772"/>
                <a:gd name="T3" fmla="*/ 96 h 96"/>
                <a:gd name="T4" fmla="*/ 0 w 772"/>
                <a:gd name="T5" fmla="*/ 84 h 96"/>
                <a:gd name="T6" fmla="*/ 2 w 772"/>
                <a:gd name="T7" fmla="*/ 78 h 96"/>
                <a:gd name="T8" fmla="*/ 48 w 772"/>
                <a:gd name="T9" fmla="*/ 5 h 96"/>
                <a:gd name="T10" fmla="*/ 58 w 772"/>
                <a:gd name="T11" fmla="*/ 0 h 96"/>
                <a:gd name="T12" fmla="*/ 715 w 772"/>
                <a:gd name="T13" fmla="*/ 0 h 96"/>
                <a:gd name="T14" fmla="*/ 725 w 772"/>
                <a:gd name="T15" fmla="*/ 6 h 96"/>
                <a:gd name="T16" fmla="*/ 768 w 772"/>
                <a:gd name="T17" fmla="*/ 78 h 96"/>
                <a:gd name="T18" fmla="*/ 764 w 772"/>
                <a:gd name="T19" fmla="*/ 95 h 96"/>
                <a:gd name="T20" fmla="*/ 758 w 772"/>
                <a:gd name="T21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72" h="96">
                  <a:moveTo>
                    <a:pt x="758" y="96"/>
                  </a:moveTo>
                  <a:cubicBezTo>
                    <a:pt x="12" y="96"/>
                    <a:pt x="12" y="96"/>
                    <a:pt x="12" y="96"/>
                  </a:cubicBezTo>
                  <a:cubicBezTo>
                    <a:pt x="5" y="96"/>
                    <a:pt x="0" y="91"/>
                    <a:pt x="0" y="84"/>
                  </a:cubicBezTo>
                  <a:cubicBezTo>
                    <a:pt x="0" y="82"/>
                    <a:pt x="0" y="80"/>
                    <a:pt x="2" y="78"/>
                  </a:cubicBezTo>
                  <a:cubicBezTo>
                    <a:pt x="48" y="5"/>
                    <a:pt x="48" y="5"/>
                    <a:pt x="48" y="5"/>
                  </a:cubicBezTo>
                  <a:cubicBezTo>
                    <a:pt x="50" y="2"/>
                    <a:pt x="54" y="0"/>
                    <a:pt x="58" y="0"/>
                  </a:cubicBezTo>
                  <a:cubicBezTo>
                    <a:pt x="715" y="0"/>
                    <a:pt x="715" y="0"/>
                    <a:pt x="715" y="0"/>
                  </a:cubicBezTo>
                  <a:cubicBezTo>
                    <a:pt x="719" y="0"/>
                    <a:pt x="723" y="2"/>
                    <a:pt x="725" y="6"/>
                  </a:cubicBezTo>
                  <a:cubicBezTo>
                    <a:pt x="768" y="78"/>
                    <a:pt x="768" y="78"/>
                    <a:pt x="768" y="78"/>
                  </a:cubicBezTo>
                  <a:cubicBezTo>
                    <a:pt x="772" y="84"/>
                    <a:pt x="770" y="91"/>
                    <a:pt x="764" y="95"/>
                  </a:cubicBezTo>
                  <a:cubicBezTo>
                    <a:pt x="762" y="96"/>
                    <a:pt x="760" y="96"/>
                    <a:pt x="758" y="96"/>
                  </a:cubicBezTo>
                  <a:close/>
                </a:path>
              </a:pathLst>
            </a:custGeom>
            <a:solidFill>
              <a:srgbClr val="BFBD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104" tIns="45552" rIns="91104" bIns="45552" numCol="1" anchor="t" anchorCtr="0" compatLnSpc="1">
              <a:prstTxWarp prst="textNoShape">
                <a:avLst/>
              </a:prstTxWarp>
            </a:bodyPr>
            <a:lstStyle/>
            <a:p>
              <a:pPr algn="ctr" defTabSz="911114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Freeform 7"/>
            <p:cNvSpPr>
              <a:spLocks/>
            </p:cNvSpPr>
            <p:nvPr/>
          </p:nvSpPr>
          <p:spPr bwMode="auto">
            <a:xfrm>
              <a:off x="507" y="1182"/>
              <a:ext cx="3090" cy="1885"/>
            </a:xfrm>
            <a:custGeom>
              <a:avLst/>
              <a:gdLst>
                <a:gd name="T0" fmla="*/ 3056 w 3114"/>
                <a:gd name="T1" fmla="*/ 0 h 1928"/>
                <a:gd name="T2" fmla="*/ 56 w 3114"/>
                <a:gd name="T3" fmla="*/ 0 h 1928"/>
                <a:gd name="T4" fmla="*/ 0 w 3114"/>
                <a:gd name="T5" fmla="*/ 56 h 1928"/>
                <a:gd name="T6" fmla="*/ 0 w 3114"/>
                <a:gd name="T7" fmla="*/ 1928 h 1928"/>
                <a:gd name="T8" fmla="*/ 3114 w 3114"/>
                <a:gd name="T9" fmla="*/ 1928 h 1928"/>
                <a:gd name="T10" fmla="*/ 3112 w 3114"/>
                <a:gd name="T11" fmla="*/ 56 h 1928"/>
                <a:gd name="T12" fmla="*/ 3056 w 3114"/>
                <a:gd name="T13" fmla="*/ 0 h 1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14" h="1928">
                  <a:moveTo>
                    <a:pt x="3056" y="0"/>
                  </a:moveTo>
                  <a:cubicBezTo>
                    <a:pt x="56" y="0"/>
                    <a:pt x="56" y="0"/>
                    <a:pt x="56" y="0"/>
                  </a:cubicBezTo>
                  <a:cubicBezTo>
                    <a:pt x="25" y="0"/>
                    <a:pt x="0" y="26"/>
                    <a:pt x="0" y="56"/>
                  </a:cubicBezTo>
                  <a:cubicBezTo>
                    <a:pt x="0" y="56"/>
                    <a:pt x="0" y="1910"/>
                    <a:pt x="0" y="1928"/>
                  </a:cubicBezTo>
                  <a:cubicBezTo>
                    <a:pt x="3114" y="1928"/>
                    <a:pt x="3114" y="1928"/>
                    <a:pt x="3114" y="1928"/>
                  </a:cubicBezTo>
                  <a:cubicBezTo>
                    <a:pt x="3114" y="1896"/>
                    <a:pt x="3112" y="56"/>
                    <a:pt x="3112" y="56"/>
                  </a:cubicBezTo>
                  <a:cubicBezTo>
                    <a:pt x="3112" y="26"/>
                    <a:pt x="3087" y="0"/>
                    <a:pt x="3056" y="0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104" tIns="45552" rIns="91104" bIns="45552" numCol="1" anchor="t" anchorCtr="0" compatLnSpc="1">
              <a:prstTxWarp prst="textNoShape">
                <a:avLst/>
              </a:prstTxWarp>
            </a:bodyPr>
            <a:lstStyle/>
            <a:p>
              <a:pPr algn="ctr" defTabSz="911114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eform 9"/>
            <p:cNvSpPr>
              <a:spLocks/>
            </p:cNvSpPr>
            <p:nvPr/>
          </p:nvSpPr>
          <p:spPr bwMode="auto">
            <a:xfrm>
              <a:off x="508" y="3067"/>
              <a:ext cx="3090" cy="240"/>
            </a:xfrm>
            <a:custGeom>
              <a:avLst/>
              <a:gdLst>
                <a:gd name="T0" fmla="*/ 3061 w 3114"/>
                <a:gd name="T1" fmla="*/ 246 h 246"/>
                <a:gd name="T2" fmla="*/ 56 w 3114"/>
                <a:gd name="T3" fmla="*/ 246 h 246"/>
                <a:gd name="T4" fmla="*/ 0 w 3114"/>
                <a:gd name="T5" fmla="*/ 190 h 246"/>
                <a:gd name="T6" fmla="*/ 0 w 3114"/>
                <a:gd name="T7" fmla="*/ 0 h 246"/>
                <a:gd name="T8" fmla="*/ 3114 w 3114"/>
                <a:gd name="T9" fmla="*/ 0 h 246"/>
                <a:gd name="T10" fmla="*/ 3114 w 3114"/>
                <a:gd name="T11" fmla="*/ 190 h 246"/>
                <a:gd name="T12" fmla="*/ 3061 w 3114"/>
                <a:gd name="T13" fmla="*/ 24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14" h="246">
                  <a:moveTo>
                    <a:pt x="3061" y="246"/>
                  </a:moveTo>
                  <a:cubicBezTo>
                    <a:pt x="56" y="246"/>
                    <a:pt x="56" y="246"/>
                    <a:pt x="56" y="246"/>
                  </a:cubicBezTo>
                  <a:cubicBezTo>
                    <a:pt x="25" y="246"/>
                    <a:pt x="0" y="221"/>
                    <a:pt x="0" y="190"/>
                  </a:cubicBezTo>
                  <a:cubicBezTo>
                    <a:pt x="0" y="190"/>
                    <a:pt x="0" y="6"/>
                    <a:pt x="0" y="0"/>
                  </a:cubicBezTo>
                  <a:cubicBezTo>
                    <a:pt x="3114" y="0"/>
                    <a:pt x="3114" y="0"/>
                    <a:pt x="3114" y="0"/>
                  </a:cubicBezTo>
                  <a:cubicBezTo>
                    <a:pt x="3114" y="3"/>
                    <a:pt x="3114" y="190"/>
                    <a:pt x="3114" y="190"/>
                  </a:cubicBezTo>
                  <a:cubicBezTo>
                    <a:pt x="3114" y="221"/>
                    <a:pt x="3092" y="246"/>
                    <a:pt x="3061" y="246"/>
                  </a:cubicBezTo>
                  <a:close/>
                </a:path>
              </a:pathLst>
            </a:custGeom>
            <a:solidFill>
              <a:srgbClr val="EBEA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104" tIns="45552" rIns="91104" bIns="45552" numCol="1" anchor="t" anchorCtr="0" compatLnSpc="1">
              <a:prstTxWarp prst="textNoShape">
                <a:avLst/>
              </a:prstTxWarp>
            </a:bodyPr>
            <a:lstStyle/>
            <a:p>
              <a:pPr algn="ctr" defTabSz="911114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Oval 10"/>
            <p:cNvSpPr>
              <a:spLocks noChangeArrowheads="1"/>
            </p:cNvSpPr>
            <p:nvPr/>
          </p:nvSpPr>
          <p:spPr bwMode="auto">
            <a:xfrm>
              <a:off x="1983" y="3140"/>
              <a:ext cx="94" cy="94"/>
            </a:xfrm>
            <a:prstGeom prst="ellipse">
              <a:avLst/>
            </a:prstGeom>
            <a:solidFill>
              <a:srgbClr val="D5D3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104" tIns="45552" rIns="91104" bIns="45552" numCol="1" anchor="t" anchorCtr="0" compatLnSpc="1">
              <a:prstTxWarp prst="textNoShape">
                <a:avLst/>
              </a:prstTxWarp>
            </a:bodyPr>
            <a:lstStyle/>
            <a:p>
              <a:pPr algn="ctr" defTabSz="911114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Oval 11"/>
            <p:cNvSpPr>
              <a:spLocks noChangeArrowheads="1"/>
            </p:cNvSpPr>
            <p:nvPr/>
          </p:nvSpPr>
          <p:spPr bwMode="auto">
            <a:xfrm>
              <a:off x="2011" y="1243"/>
              <a:ext cx="38" cy="37"/>
            </a:xfrm>
            <a:prstGeom prst="ellipse">
              <a:avLst/>
            </a:prstGeom>
            <a:solidFill>
              <a:srgbClr val="626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104" tIns="45552" rIns="91104" bIns="45552" numCol="1" anchor="t" anchorCtr="0" compatLnSpc="1">
              <a:prstTxWarp prst="textNoShape">
                <a:avLst/>
              </a:prstTxWarp>
            </a:bodyPr>
            <a:lstStyle/>
            <a:p>
              <a:pPr algn="ctr" defTabSz="911114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1" name="Rectangle 30"/>
          <p:cNvSpPr/>
          <p:nvPr/>
        </p:nvSpPr>
        <p:spPr>
          <a:xfrm>
            <a:off x="7614857" y="5336954"/>
            <a:ext cx="2539918" cy="3029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1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it slidemodel.com</a:t>
            </a:r>
          </a:p>
        </p:txBody>
      </p:sp>
      <p:sp>
        <p:nvSpPr>
          <p:cNvPr id="35" name="Rectangle 34"/>
          <p:cNvSpPr/>
          <p:nvPr/>
        </p:nvSpPr>
        <p:spPr>
          <a:xfrm>
            <a:off x="556046" y="4846490"/>
            <a:ext cx="4704599" cy="904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69200" indent="-169200" defTabSz="911114" fontAlgn="auto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prstClr val="white"/>
                </a:solidFill>
                <a:latin typeface="Calibri" panose="020F0502020204030204"/>
              </a:rPr>
              <a:t>Easy to use</a:t>
            </a:r>
          </a:p>
          <a:p>
            <a:pPr marL="169200" indent="-169200" defTabSz="911114" fontAlgn="auto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prstClr val="white"/>
                </a:solidFill>
                <a:latin typeface="Calibri" panose="020F0502020204030204"/>
              </a:rPr>
              <a:t>Fully customizable</a:t>
            </a:r>
          </a:p>
          <a:p>
            <a:pPr marL="169200" indent="-169200" defTabSz="911114" fontAlgn="auto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prstClr val="white"/>
                </a:solidFill>
                <a:latin typeface="Calibri" panose="020F0502020204030204"/>
              </a:rPr>
              <a:t>Cutting edge designs</a:t>
            </a:r>
          </a:p>
        </p:txBody>
      </p:sp>
      <p:sp>
        <p:nvSpPr>
          <p:cNvPr id="36" name="Rectangle 35"/>
          <p:cNvSpPr/>
          <p:nvPr/>
        </p:nvSpPr>
        <p:spPr>
          <a:xfrm>
            <a:off x="556054" y="4465500"/>
            <a:ext cx="5895275" cy="3680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11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87" dirty="0">
                <a:solidFill>
                  <a:prstClr val="whit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ownload PowerPoint templates and save hours of work.</a:t>
            </a: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96" y="6114212"/>
            <a:ext cx="12147625" cy="673463"/>
          </a:xfrm>
          <a:prstGeom prst="rect">
            <a:avLst/>
          </a:prstGeom>
        </p:spPr>
      </p:pic>
      <p:sp>
        <p:nvSpPr>
          <p:cNvPr id="39" name="Up Ribbon 38"/>
          <p:cNvSpPr/>
          <p:nvPr/>
        </p:nvSpPr>
        <p:spPr>
          <a:xfrm>
            <a:off x="6171367" y="1846873"/>
            <a:ext cx="5570798" cy="1363954"/>
          </a:xfrm>
          <a:prstGeom prst="ribbon2">
            <a:avLst>
              <a:gd name="adj1" fmla="val 16667"/>
              <a:gd name="adj2" fmla="val 75000"/>
            </a:avLst>
          </a:prstGeom>
          <a:solidFill>
            <a:srgbClr val="6BC2ED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0841" fontAlgn="auto">
              <a:spcBef>
                <a:spcPts val="0"/>
              </a:spcBef>
              <a:spcAft>
                <a:spcPts val="0"/>
              </a:spcAft>
              <a:defRPr/>
            </a:pPr>
            <a:endParaRPr lang="es-UY" sz="2386" kern="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40" name="Picture 2" descr="E:\cloud\drive\websites\slidemodel\logo\sebastian\slidemodel-logo-trans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2504" y="771027"/>
            <a:ext cx="2781683" cy="5265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TextBox 40"/>
          <p:cNvSpPr txBox="1"/>
          <p:nvPr/>
        </p:nvSpPr>
        <p:spPr>
          <a:xfrm>
            <a:off x="7150804" y="2009000"/>
            <a:ext cx="3611940" cy="82797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200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91084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kern="0" dirty="0">
                <a:solidFill>
                  <a:prstClr val="white"/>
                </a:solidFill>
              </a:rPr>
              <a:t>Coupon Code:</a:t>
            </a:r>
          </a:p>
          <a:p>
            <a:pPr defTabSz="91084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186" b="1" kern="0" dirty="0">
                <a:solidFill>
                  <a:prstClr val="white"/>
                </a:solidFill>
              </a:rPr>
              <a:t>FREEBUNDLE15</a:t>
            </a:r>
            <a:endParaRPr lang="es-UY" sz="2386" b="1" kern="0" dirty="0">
              <a:solidFill>
                <a:prstClr val="white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6451320" y="1378652"/>
            <a:ext cx="5010897" cy="33741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00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algn="ctr" defTabSz="91084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kern="0" dirty="0">
                <a:solidFill>
                  <a:prstClr val="white"/>
                </a:solidFill>
              </a:rPr>
              <a:t>Get </a:t>
            </a:r>
            <a:r>
              <a:rPr lang="en-US" sz="1600" b="1" kern="0" dirty="0">
                <a:solidFill>
                  <a:prstClr val="white"/>
                </a:solidFill>
              </a:rPr>
              <a:t>15% discount</a:t>
            </a:r>
            <a:r>
              <a:rPr lang="en-US" sz="1600" kern="0" dirty="0">
                <a:solidFill>
                  <a:prstClr val="white"/>
                </a:solidFill>
              </a:rPr>
              <a:t> from regular price</a:t>
            </a:r>
            <a:endParaRPr lang="es-UY" sz="1600" kern="0" dirty="0">
              <a:solidFill>
                <a:prstClr val="white"/>
              </a:solidFill>
            </a:endParaRPr>
          </a:p>
        </p:txBody>
      </p:sp>
      <p:sp>
        <p:nvSpPr>
          <p:cNvPr id="158" name="Freeform 7"/>
          <p:cNvSpPr>
            <a:spLocks/>
          </p:cNvSpPr>
          <p:nvPr/>
        </p:nvSpPr>
        <p:spPr bwMode="auto">
          <a:xfrm>
            <a:off x="1036179" y="883454"/>
            <a:ext cx="3943581" cy="2305157"/>
          </a:xfrm>
          <a:custGeom>
            <a:avLst/>
            <a:gdLst>
              <a:gd name="T0" fmla="*/ 3056 w 3114"/>
              <a:gd name="T1" fmla="*/ 0 h 1928"/>
              <a:gd name="T2" fmla="*/ 56 w 3114"/>
              <a:gd name="T3" fmla="*/ 0 h 1928"/>
              <a:gd name="T4" fmla="*/ 0 w 3114"/>
              <a:gd name="T5" fmla="*/ 56 h 1928"/>
              <a:gd name="T6" fmla="*/ 0 w 3114"/>
              <a:gd name="T7" fmla="*/ 1928 h 1928"/>
              <a:gd name="T8" fmla="*/ 3114 w 3114"/>
              <a:gd name="T9" fmla="*/ 1928 h 1928"/>
              <a:gd name="T10" fmla="*/ 3112 w 3114"/>
              <a:gd name="T11" fmla="*/ 56 h 1928"/>
              <a:gd name="T12" fmla="*/ 3056 w 3114"/>
              <a:gd name="T13" fmla="*/ 0 h 19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114" h="1928">
                <a:moveTo>
                  <a:pt x="3056" y="0"/>
                </a:moveTo>
                <a:cubicBezTo>
                  <a:pt x="56" y="0"/>
                  <a:pt x="56" y="0"/>
                  <a:pt x="56" y="0"/>
                </a:cubicBezTo>
                <a:cubicBezTo>
                  <a:pt x="25" y="0"/>
                  <a:pt x="0" y="26"/>
                  <a:pt x="0" y="56"/>
                </a:cubicBezTo>
                <a:cubicBezTo>
                  <a:pt x="0" y="56"/>
                  <a:pt x="0" y="1910"/>
                  <a:pt x="0" y="1928"/>
                </a:cubicBezTo>
                <a:cubicBezTo>
                  <a:pt x="3114" y="1928"/>
                  <a:pt x="3114" y="1928"/>
                  <a:pt x="3114" y="1928"/>
                </a:cubicBezTo>
                <a:cubicBezTo>
                  <a:pt x="3114" y="1896"/>
                  <a:pt x="3112" y="56"/>
                  <a:pt x="3112" y="56"/>
                </a:cubicBezTo>
                <a:cubicBezTo>
                  <a:pt x="3112" y="26"/>
                  <a:pt x="3087" y="0"/>
                  <a:pt x="3056" y="0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  <a:extLst/>
        </p:spPr>
        <p:txBody>
          <a:bodyPr vert="horz" wrap="square" lIns="91128" tIns="45564" rIns="91128" bIns="45564" numCol="1" anchor="t" anchorCtr="0" compatLnSpc="1">
            <a:prstTxWarp prst="textNoShape">
              <a:avLst/>
            </a:prstTxWarp>
          </a:bodyPr>
          <a:lstStyle/>
          <a:p>
            <a:pPr defTabSz="91111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39" name="TextBox 238">
            <a:extLst>
              <a:ext uri="{FF2B5EF4-FFF2-40B4-BE49-F238E27FC236}">
                <a16:creationId xmlns:a16="http://schemas.microsoft.com/office/drawing/2014/main" id="{B631C39F-0C3B-4018-A0F4-91E316074AF5}"/>
              </a:ext>
            </a:extLst>
          </p:cNvPr>
          <p:cNvSpPr txBox="1"/>
          <p:nvPr/>
        </p:nvSpPr>
        <p:spPr>
          <a:xfrm>
            <a:off x="2671671" y="2750397"/>
            <a:ext cx="526339" cy="4604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121533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39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01</a:t>
            </a:r>
            <a:endParaRPr lang="en-IN" sz="2390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6" name="Freeform 49">
            <a:extLst>
              <a:ext uri="{FF2B5EF4-FFF2-40B4-BE49-F238E27FC236}">
                <a16:creationId xmlns:a16="http://schemas.microsoft.com/office/drawing/2014/main" id="{4DEB1D6B-AE3A-41D7-B789-9FDB664A240B}"/>
              </a:ext>
            </a:extLst>
          </p:cNvPr>
          <p:cNvSpPr>
            <a:spLocks noEditPoints="1"/>
          </p:cNvSpPr>
          <p:nvPr/>
        </p:nvSpPr>
        <p:spPr bwMode="auto">
          <a:xfrm>
            <a:off x="2029248" y="2309259"/>
            <a:ext cx="269080" cy="369214"/>
          </a:xfrm>
          <a:custGeom>
            <a:avLst/>
            <a:gdLst>
              <a:gd name="T0" fmla="*/ 2306 w 3073"/>
              <a:gd name="T1" fmla="*/ 2317 h 3260"/>
              <a:gd name="T2" fmla="*/ 2111 w 3073"/>
              <a:gd name="T3" fmla="*/ 2516 h 3260"/>
              <a:gd name="T4" fmla="*/ 2079 w 3073"/>
              <a:gd name="T5" fmla="*/ 2807 h 3260"/>
              <a:gd name="T6" fmla="*/ 2234 w 3073"/>
              <a:gd name="T7" fmla="*/ 3052 h 3260"/>
              <a:gd name="T8" fmla="*/ 2491 w 3073"/>
              <a:gd name="T9" fmla="*/ 3150 h 3260"/>
              <a:gd name="T10" fmla="*/ 2755 w 3073"/>
              <a:gd name="T11" fmla="*/ 3080 h 3260"/>
              <a:gd name="T12" fmla="*/ 2936 w 3073"/>
              <a:gd name="T13" fmla="*/ 2854 h 3260"/>
              <a:gd name="T14" fmla="*/ 2936 w 3073"/>
              <a:gd name="T15" fmla="*/ 2562 h 3260"/>
              <a:gd name="T16" fmla="*/ 2760 w 3073"/>
              <a:gd name="T17" fmla="*/ 2338 h 3260"/>
              <a:gd name="T18" fmla="*/ 2514 w 3073"/>
              <a:gd name="T19" fmla="*/ 2266 h 3260"/>
              <a:gd name="T20" fmla="*/ 319 w 3073"/>
              <a:gd name="T21" fmla="*/ 1255 h 3260"/>
              <a:gd name="T22" fmla="*/ 138 w 3073"/>
              <a:gd name="T23" fmla="*/ 1479 h 3260"/>
              <a:gd name="T24" fmla="*/ 138 w 3073"/>
              <a:gd name="T25" fmla="*/ 1776 h 3260"/>
              <a:gd name="T26" fmla="*/ 319 w 3073"/>
              <a:gd name="T27" fmla="*/ 2001 h 3260"/>
              <a:gd name="T28" fmla="*/ 611 w 3073"/>
              <a:gd name="T29" fmla="*/ 2067 h 3260"/>
              <a:gd name="T30" fmla="*/ 875 w 3073"/>
              <a:gd name="T31" fmla="*/ 1941 h 3260"/>
              <a:gd name="T32" fmla="*/ 1003 w 3073"/>
              <a:gd name="T33" fmla="*/ 1679 h 3260"/>
              <a:gd name="T34" fmla="*/ 936 w 3073"/>
              <a:gd name="T35" fmla="*/ 1391 h 3260"/>
              <a:gd name="T36" fmla="*/ 709 w 3073"/>
              <a:gd name="T37" fmla="*/ 1211 h 3260"/>
              <a:gd name="T38" fmla="*/ 2412 w 3073"/>
              <a:gd name="T39" fmla="*/ 122 h 3260"/>
              <a:gd name="T40" fmla="*/ 2166 w 3073"/>
              <a:gd name="T41" fmla="*/ 277 h 3260"/>
              <a:gd name="T42" fmla="*/ 2067 w 3073"/>
              <a:gd name="T43" fmla="*/ 553 h 3260"/>
              <a:gd name="T44" fmla="*/ 2166 w 3073"/>
              <a:gd name="T45" fmla="*/ 829 h 3260"/>
              <a:gd name="T46" fmla="*/ 2412 w 3073"/>
              <a:gd name="T47" fmla="*/ 983 h 3260"/>
              <a:gd name="T48" fmla="*/ 2710 w 3073"/>
              <a:gd name="T49" fmla="*/ 950 h 3260"/>
              <a:gd name="T50" fmla="*/ 2915 w 3073"/>
              <a:gd name="T51" fmla="*/ 747 h 3260"/>
              <a:gd name="T52" fmla="*/ 2950 w 3073"/>
              <a:gd name="T53" fmla="*/ 452 h 3260"/>
              <a:gd name="T54" fmla="*/ 2793 w 3073"/>
              <a:gd name="T55" fmla="*/ 209 h 3260"/>
              <a:gd name="T56" fmla="*/ 2514 w 3073"/>
              <a:gd name="T57" fmla="*/ 111 h 3260"/>
              <a:gd name="T58" fmla="*/ 2796 w 3073"/>
              <a:gd name="T59" fmla="*/ 76 h 3260"/>
              <a:gd name="T60" fmla="*/ 3023 w 3073"/>
              <a:gd name="T61" fmla="*/ 325 h 3260"/>
              <a:gd name="T62" fmla="*/ 3060 w 3073"/>
              <a:gd name="T63" fmla="*/ 671 h 3260"/>
              <a:gd name="T64" fmla="*/ 2888 w 3073"/>
              <a:gd name="T65" fmla="*/ 963 h 3260"/>
              <a:gd name="T66" fmla="*/ 2574 w 3073"/>
              <a:gd name="T67" fmla="*/ 1103 h 3260"/>
              <a:gd name="T68" fmla="*/ 2241 w 3073"/>
              <a:gd name="T69" fmla="*/ 1035 h 3260"/>
              <a:gd name="T70" fmla="*/ 1078 w 3073"/>
              <a:gd name="T71" fmla="*/ 1424 h 3260"/>
              <a:gd name="T72" fmla="*/ 1107 w 3073"/>
              <a:gd name="T73" fmla="*/ 1733 h 3260"/>
              <a:gd name="T74" fmla="*/ 2119 w 3073"/>
              <a:gd name="T75" fmla="*/ 2317 h 3260"/>
              <a:gd name="T76" fmla="*/ 2389 w 3073"/>
              <a:gd name="T77" fmla="*/ 2169 h 3260"/>
              <a:gd name="T78" fmla="*/ 2688 w 3073"/>
              <a:gd name="T79" fmla="*/ 2183 h 3260"/>
              <a:gd name="T80" fmla="*/ 2947 w 3073"/>
              <a:gd name="T81" fmla="*/ 2358 h 3260"/>
              <a:gd name="T82" fmla="*/ 3070 w 3073"/>
              <a:gd name="T83" fmla="*/ 2653 h 3260"/>
              <a:gd name="T84" fmla="*/ 3007 w 3073"/>
              <a:gd name="T85" fmla="*/ 2968 h 3260"/>
              <a:gd name="T86" fmla="*/ 2790 w 3073"/>
              <a:gd name="T87" fmla="*/ 3189 h 3260"/>
              <a:gd name="T88" fmla="*/ 2514 w 3073"/>
              <a:gd name="T89" fmla="*/ 3260 h 3260"/>
              <a:gd name="T90" fmla="*/ 2238 w 3073"/>
              <a:gd name="T91" fmla="*/ 3189 h 3260"/>
              <a:gd name="T92" fmla="*/ 2021 w 3073"/>
              <a:gd name="T93" fmla="*/ 2968 h 3260"/>
              <a:gd name="T94" fmla="*/ 1957 w 3073"/>
              <a:gd name="T95" fmla="*/ 2656 h 3260"/>
              <a:gd name="T96" fmla="*/ 958 w 3073"/>
              <a:gd name="T97" fmla="*/ 2014 h 3260"/>
              <a:gd name="T98" fmla="*/ 673 w 3073"/>
              <a:gd name="T99" fmla="*/ 2169 h 3260"/>
              <a:gd name="T100" fmla="*/ 329 w 3073"/>
              <a:gd name="T101" fmla="*/ 2131 h 3260"/>
              <a:gd name="T102" fmla="*/ 77 w 3073"/>
              <a:gd name="T103" fmla="*/ 1907 h 3260"/>
              <a:gd name="T104" fmla="*/ 4 w 3073"/>
              <a:gd name="T105" fmla="*/ 1568 h 3260"/>
              <a:gd name="T106" fmla="*/ 144 w 3073"/>
              <a:gd name="T107" fmla="*/ 1258 h 3260"/>
              <a:gd name="T108" fmla="*/ 440 w 3073"/>
              <a:gd name="T109" fmla="*/ 1088 h 3260"/>
              <a:gd name="T110" fmla="*/ 779 w 3073"/>
              <a:gd name="T111" fmla="*/ 1120 h 3260"/>
              <a:gd name="T112" fmla="*/ 1026 w 3073"/>
              <a:gd name="T113" fmla="*/ 1325 h 3260"/>
              <a:gd name="T114" fmla="*/ 1958 w 3073"/>
              <a:gd name="T115" fmla="*/ 493 h 3260"/>
              <a:gd name="T116" fmla="*/ 2099 w 3073"/>
              <a:gd name="T117" fmla="*/ 183 h 3260"/>
              <a:gd name="T118" fmla="*/ 2394 w 3073"/>
              <a:gd name="T119" fmla="*/ 14 h 32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073" h="3260">
                <a:moveTo>
                  <a:pt x="2514" y="2266"/>
                </a:moveTo>
                <a:lnTo>
                  <a:pt x="2472" y="2268"/>
                </a:lnTo>
                <a:lnTo>
                  <a:pt x="2429" y="2274"/>
                </a:lnTo>
                <a:lnTo>
                  <a:pt x="2387" y="2284"/>
                </a:lnTo>
                <a:lnTo>
                  <a:pt x="2346" y="2298"/>
                </a:lnTo>
                <a:lnTo>
                  <a:pt x="2306" y="2317"/>
                </a:lnTo>
                <a:lnTo>
                  <a:pt x="2268" y="2338"/>
                </a:lnTo>
                <a:lnTo>
                  <a:pt x="2232" y="2365"/>
                </a:lnTo>
                <a:lnTo>
                  <a:pt x="2198" y="2395"/>
                </a:lnTo>
                <a:lnTo>
                  <a:pt x="2165" y="2433"/>
                </a:lnTo>
                <a:lnTo>
                  <a:pt x="2136" y="2473"/>
                </a:lnTo>
                <a:lnTo>
                  <a:pt x="2111" y="2516"/>
                </a:lnTo>
                <a:lnTo>
                  <a:pt x="2092" y="2562"/>
                </a:lnTo>
                <a:lnTo>
                  <a:pt x="2079" y="2609"/>
                </a:lnTo>
                <a:lnTo>
                  <a:pt x="2070" y="2657"/>
                </a:lnTo>
                <a:lnTo>
                  <a:pt x="2067" y="2708"/>
                </a:lnTo>
                <a:lnTo>
                  <a:pt x="2070" y="2758"/>
                </a:lnTo>
                <a:lnTo>
                  <a:pt x="2079" y="2807"/>
                </a:lnTo>
                <a:lnTo>
                  <a:pt x="2092" y="2854"/>
                </a:lnTo>
                <a:lnTo>
                  <a:pt x="2111" y="2899"/>
                </a:lnTo>
                <a:lnTo>
                  <a:pt x="2136" y="2942"/>
                </a:lnTo>
                <a:lnTo>
                  <a:pt x="2165" y="2983"/>
                </a:lnTo>
                <a:lnTo>
                  <a:pt x="2198" y="3020"/>
                </a:lnTo>
                <a:lnTo>
                  <a:pt x="2234" y="3052"/>
                </a:lnTo>
                <a:lnTo>
                  <a:pt x="2274" y="3080"/>
                </a:lnTo>
                <a:lnTo>
                  <a:pt x="2314" y="3103"/>
                </a:lnTo>
                <a:lnTo>
                  <a:pt x="2357" y="3122"/>
                </a:lnTo>
                <a:lnTo>
                  <a:pt x="2400" y="3135"/>
                </a:lnTo>
                <a:lnTo>
                  <a:pt x="2446" y="3144"/>
                </a:lnTo>
                <a:lnTo>
                  <a:pt x="2491" y="3150"/>
                </a:lnTo>
                <a:lnTo>
                  <a:pt x="2537" y="3150"/>
                </a:lnTo>
                <a:lnTo>
                  <a:pt x="2583" y="3144"/>
                </a:lnTo>
                <a:lnTo>
                  <a:pt x="2627" y="3135"/>
                </a:lnTo>
                <a:lnTo>
                  <a:pt x="2672" y="3122"/>
                </a:lnTo>
                <a:lnTo>
                  <a:pt x="2714" y="3103"/>
                </a:lnTo>
                <a:lnTo>
                  <a:pt x="2755" y="3080"/>
                </a:lnTo>
                <a:lnTo>
                  <a:pt x="2794" y="3052"/>
                </a:lnTo>
                <a:lnTo>
                  <a:pt x="2830" y="3020"/>
                </a:lnTo>
                <a:lnTo>
                  <a:pt x="2864" y="2983"/>
                </a:lnTo>
                <a:lnTo>
                  <a:pt x="2893" y="2942"/>
                </a:lnTo>
                <a:lnTo>
                  <a:pt x="2917" y="2899"/>
                </a:lnTo>
                <a:lnTo>
                  <a:pt x="2936" y="2854"/>
                </a:lnTo>
                <a:lnTo>
                  <a:pt x="2950" y="2807"/>
                </a:lnTo>
                <a:lnTo>
                  <a:pt x="2958" y="2758"/>
                </a:lnTo>
                <a:lnTo>
                  <a:pt x="2961" y="2708"/>
                </a:lnTo>
                <a:lnTo>
                  <a:pt x="2958" y="2657"/>
                </a:lnTo>
                <a:lnTo>
                  <a:pt x="2950" y="2609"/>
                </a:lnTo>
                <a:lnTo>
                  <a:pt x="2936" y="2562"/>
                </a:lnTo>
                <a:lnTo>
                  <a:pt x="2917" y="2516"/>
                </a:lnTo>
                <a:lnTo>
                  <a:pt x="2893" y="2473"/>
                </a:lnTo>
                <a:lnTo>
                  <a:pt x="2864" y="2433"/>
                </a:lnTo>
                <a:lnTo>
                  <a:pt x="2830" y="2395"/>
                </a:lnTo>
                <a:lnTo>
                  <a:pt x="2796" y="2365"/>
                </a:lnTo>
                <a:lnTo>
                  <a:pt x="2760" y="2338"/>
                </a:lnTo>
                <a:lnTo>
                  <a:pt x="2722" y="2317"/>
                </a:lnTo>
                <a:lnTo>
                  <a:pt x="2682" y="2298"/>
                </a:lnTo>
                <a:lnTo>
                  <a:pt x="2642" y="2284"/>
                </a:lnTo>
                <a:lnTo>
                  <a:pt x="2599" y="2274"/>
                </a:lnTo>
                <a:lnTo>
                  <a:pt x="2557" y="2268"/>
                </a:lnTo>
                <a:lnTo>
                  <a:pt x="2514" y="2266"/>
                </a:lnTo>
                <a:close/>
                <a:moveTo>
                  <a:pt x="559" y="1186"/>
                </a:moveTo>
                <a:lnTo>
                  <a:pt x="507" y="1189"/>
                </a:lnTo>
                <a:lnTo>
                  <a:pt x="456" y="1197"/>
                </a:lnTo>
                <a:lnTo>
                  <a:pt x="408" y="1211"/>
                </a:lnTo>
                <a:lnTo>
                  <a:pt x="363" y="1231"/>
                </a:lnTo>
                <a:lnTo>
                  <a:pt x="319" y="1255"/>
                </a:lnTo>
                <a:lnTo>
                  <a:pt x="280" y="1283"/>
                </a:lnTo>
                <a:lnTo>
                  <a:pt x="244" y="1315"/>
                </a:lnTo>
                <a:lnTo>
                  <a:pt x="210" y="1352"/>
                </a:lnTo>
                <a:lnTo>
                  <a:pt x="181" y="1391"/>
                </a:lnTo>
                <a:lnTo>
                  <a:pt x="158" y="1434"/>
                </a:lnTo>
                <a:lnTo>
                  <a:pt x="138" y="1479"/>
                </a:lnTo>
                <a:lnTo>
                  <a:pt x="124" y="1526"/>
                </a:lnTo>
                <a:lnTo>
                  <a:pt x="115" y="1576"/>
                </a:lnTo>
                <a:lnTo>
                  <a:pt x="112" y="1628"/>
                </a:lnTo>
                <a:lnTo>
                  <a:pt x="115" y="1679"/>
                </a:lnTo>
                <a:lnTo>
                  <a:pt x="124" y="1729"/>
                </a:lnTo>
                <a:lnTo>
                  <a:pt x="138" y="1776"/>
                </a:lnTo>
                <a:lnTo>
                  <a:pt x="158" y="1823"/>
                </a:lnTo>
                <a:lnTo>
                  <a:pt x="181" y="1865"/>
                </a:lnTo>
                <a:lnTo>
                  <a:pt x="210" y="1905"/>
                </a:lnTo>
                <a:lnTo>
                  <a:pt x="244" y="1941"/>
                </a:lnTo>
                <a:lnTo>
                  <a:pt x="280" y="1972"/>
                </a:lnTo>
                <a:lnTo>
                  <a:pt x="319" y="2001"/>
                </a:lnTo>
                <a:lnTo>
                  <a:pt x="363" y="2025"/>
                </a:lnTo>
                <a:lnTo>
                  <a:pt x="408" y="2044"/>
                </a:lnTo>
                <a:lnTo>
                  <a:pt x="456" y="2058"/>
                </a:lnTo>
                <a:lnTo>
                  <a:pt x="507" y="2067"/>
                </a:lnTo>
                <a:lnTo>
                  <a:pt x="559" y="2070"/>
                </a:lnTo>
                <a:lnTo>
                  <a:pt x="611" y="2067"/>
                </a:lnTo>
                <a:lnTo>
                  <a:pt x="661" y="2058"/>
                </a:lnTo>
                <a:lnTo>
                  <a:pt x="709" y="2044"/>
                </a:lnTo>
                <a:lnTo>
                  <a:pt x="756" y="2025"/>
                </a:lnTo>
                <a:lnTo>
                  <a:pt x="798" y="2001"/>
                </a:lnTo>
                <a:lnTo>
                  <a:pt x="839" y="1972"/>
                </a:lnTo>
                <a:lnTo>
                  <a:pt x="875" y="1941"/>
                </a:lnTo>
                <a:lnTo>
                  <a:pt x="907" y="1905"/>
                </a:lnTo>
                <a:lnTo>
                  <a:pt x="936" y="1865"/>
                </a:lnTo>
                <a:lnTo>
                  <a:pt x="960" y="1823"/>
                </a:lnTo>
                <a:lnTo>
                  <a:pt x="980" y="1776"/>
                </a:lnTo>
                <a:lnTo>
                  <a:pt x="994" y="1729"/>
                </a:lnTo>
                <a:lnTo>
                  <a:pt x="1003" y="1679"/>
                </a:lnTo>
                <a:lnTo>
                  <a:pt x="1006" y="1628"/>
                </a:lnTo>
                <a:lnTo>
                  <a:pt x="1003" y="1576"/>
                </a:lnTo>
                <a:lnTo>
                  <a:pt x="994" y="1526"/>
                </a:lnTo>
                <a:lnTo>
                  <a:pt x="980" y="1479"/>
                </a:lnTo>
                <a:lnTo>
                  <a:pt x="960" y="1434"/>
                </a:lnTo>
                <a:lnTo>
                  <a:pt x="936" y="1391"/>
                </a:lnTo>
                <a:lnTo>
                  <a:pt x="907" y="1352"/>
                </a:lnTo>
                <a:lnTo>
                  <a:pt x="875" y="1315"/>
                </a:lnTo>
                <a:lnTo>
                  <a:pt x="839" y="1283"/>
                </a:lnTo>
                <a:lnTo>
                  <a:pt x="798" y="1255"/>
                </a:lnTo>
                <a:lnTo>
                  <a:pt x="756" y="1231"/>
                </a:lnTo>
                <a:lnTo>
                  <a:pt x="709" y="1211"/>
                </a:lnTo>
                <a:lnTo>
                  <a:pt x="661" y="1197"/>
                </a:lnTo>
                <a:lnTo>
                  <a:pt x="611" y="1189"/>
                </a:lnTo>
                <a:lnTo>
                  <a:pt x="559" y="1186"/>
                </a:lnTo>
                <a:close/>
                <a:moveTo>
                  <a:pt x="2514" y="111"/>
                </a:moveTo>
                <a:lnTo>
                  <a:pt x="2462" y="114"/>
                </a:lnTo>
                <a:lnTo>
                  <a:pt x="2412" y="122"/>
                </a:lnTo>
                <a:lnTo>
                  <a:pt x="2364" y="137"/>
                </a:lnTo>
                <a:lnTo>
                  <a:pt x="2318" y="156"/>
                </a:lnTo>
                <a:lnTo>
                  <a:pt x="2275" y="180"/>
                </a:lnTo>
                <a:lnTo>
                  <a:pt x="2235" y="209"/>
                </a:lnTo>
                <a:lnTo>
                  <a:pt x="2198" y="240"/>
                </a:lnTo>
                <a:lnTo>
                  <a:pt x="2166" y="277"/>
                </a:lnTo>
                <a:lnTo>
                  <a:pt x="2137" y="316"/>
                </a:lnTo>
                <a:lnTo>
                  <a:pt x="2113" y="359"/>
                </a:lnTo>
                <a:lnTo>
                  <a:pt x="2093" y="404"/>
                </a:lnTo>
                <a:lnTo>
                  <a:pt x="2079" y="452"/>
                </a:lnTo>
                <a:lnTo>
                  <a:pt x="2070" y="502"/>
                </a:lnTo>
                <a:lnTo>
                  <a:pt x="2067" y="553"/>
                </a:lnTo>
                <a:lnTo>
                  <a:pt x="2070" y="604"/>
                </a:lnTo>
                <a:lnTo>
                  <a:pt x="2079" y="655"/>
                </a:lnTo>
                <a:lnTo>
                  <a:pt x="2093" y="702"/>
                </a:lnTo>
                <a:lnTo>
                  <a:pt x="2113" y="747"/>
                </a:lnTo>
                <a:lnTo>
                  <a:pt x="2137" y="790"/>
                </a:lnTo>
                <a:lnTo>
                  <a:pt x="2166" y="829"/>
                </a:lnTo>
                <a:lnTo>
                  <a:pt x="2198" y="865"/>
                </a:lnTo>
                <a:lnTo>
                  <a:pt x="2235" y="898"/>
                </a:lnTo>
                <a:lnTo>
                  <a:pt x="2275" y="926"/>
                </a:lnTo>
                <a:lnTo>
                  <a:pt x="2318" y="950"/>
                </a:lnTo>
                <a:lnTo>
                  <a:pt x="2364" y="969"/>
                </a:lnTo>
                <a:lnTo>
                  <a:pt x="2412" y="983"/>
                </a:lnTo>
                <a:lnTo>
                  <a:pt x="2462" y="992"/>
                </a:lnTo>
                <a:lnTo>
                  <a:pt x="2514" y="995"/>
                </a:lnTo>
                <a:lnTo>
                  <a:pt x="2566" y="992"/>
                </a:lnTo>
                <a:lnTo>
                  <a:pt x="2617" y="983"/>
                </a:lnTo>
                <a:lnTo>
                  <a:pt x="2665" y="969"/>
                </a:lnTo>
                <a:lnTo>
                  <a:pt x="2710" y="950"/>
                </a:lnTo>
                <a:lnTo>
                  <a:pt x="2754" y="926"/>
                </a:lnTo>
                <a:lnTo>
                  <a:pt x="2793" y="898"/>
                </a:lnTo>
                <a:lnTo>
                  <a:pt x="2830" y="865"/>
                </a:lnTo>
                <a:lnTo>
                  <a:pt x="2863" y="829"/>
                </a:lnTo>
                <a:lnTo>
                  <a:pt x="2892" y="790"/>
                </a:lnTo>
                <a:lnTo>
                  <a:pt x="2915" y="747"/>
                </a:lnTo>
                <a:lnTo>
                  <a:pt x="2935" y="702"/>
                </a:lnTo>
                <a:lnTo>
                  <a:pt x="2950" y="655"/>
                </a:lnTo>
                <a:lnTo>
                  <a:pt x="2958" y="604"/>
                </a:lnTo>
                <a:lnTo>
                  <a:pt x="2961" y="553"/>
                </a:lnTo>
                <a:lnTo>
                  <a:pt x="2958" y="502"/>
                </a:lnTo>
                <a:lnTo>
                  <a:pt x="2950" y="452"/>
                </a:lnTo>
                <a:lnTo>
                  <a:pt x="2935" y="404"/>
                </a:lnTo>
                <a:lnTo>
                  <a:pt x="2915" y="359"/>
                </a:lnTo>
                <a:lnTo>
                  <a:pt x="2892" y="316"/>
                </a:lnTo>
                <a:lnTo>
                  <a:pt x="2863" y="277"/>
                </a:lnTo>
                <a:lnTo>
                  <a:pt x="2830" y="240"/>
                </a:lnTo>
                <a:lnTo>
                  <a:pt x="2793" y="209"/>
                </a:lnTo>
                <a:lnTo>
                  <a:pt x="2754" y="180"/>
                </a:lnTo>
                <a:lnTo>
                  <a:pt x="2710" y="156"/>
                </a:lnTo>
                <a:lnTo>
                  <a:pt x="2665" y="137"/>
                </a:lnTo>
                <a:lnTo>
                  <a:pt x="2617" y="122"/>
                </a:lnTo>
                <a:lnTo>
                  <a:pt x="2566" y="114"/>
                </a:lnTo>
                <a:lnTo>
                  <a:pt x="2514" y="111"/>
                </a:lnTo>
                <a:close/>
                <a:moveTo>
                  <a:pt x="2514" y="0"/>
                </a:moveTo>
                <a:lnTo>
                  <a:pt x="2574" y="3"/>
                </a:lnTo>
                <a:lnTo>
                  <a:pt x="2633" y="14"/>
                </a:lnTo>
                <a:lnTo>
                  <a:pt x="2690" y="29"/>
                </a:lnTo>
                <a:lnTo>
                  <a:pt x="2744" y="50"/>
                </a:lnTo>
                <a:lnTo>
                  <a:pt x="2796" y="76"/>
                </a:lnTo>
                <a:lnTo>
                  <a:pt x="2844" y="107"/>
                </a:lnTo>
                <a:lnTo>
                  <a:pt x="2888" y="143"/>
                </a:lnTo>
                <a:lnTo>
                  <a:pt x="2929" y="183"/>
                </a:lnTo>
                <a:lnTo>
                  <a:pt x="2965" y="227"/>
                </a:lnTo>
                <a:lnTo>
                  <a:pt x="2996" y="274"/>
                </a:lnTo>
                <a:lnTo>
                  <a:pt x="3023" y="325"/>
                </a:lnTo>
                <a:lnTo>
                  <a:pt x="3044" y="379"/>
                </a:lnTo>
                <a:lnTo>
                  <a:pt x="3060" y="435"/>
                </a:lnTo>
                <a:lnTo>
                  <a:pt x="3069" y="493"/>
                </a:lnTo>
                <a:lnTo>
                  <a:pt x="3073" y="553"/>
                </a:lnTo>
                <a:lnTo>
                  <a:pt x="3069" y="614"/>
                </a:lnTo>
                <a:lnTo>
                  <a:pt x="3060" y="671"/>
                </a:lnTo>
                <a:lnTo>
                  <a:pt x="3044" y="727"/>
                </a:lnTo>
                <a:lnTo>
                  <a:pt x="3023" y="781"/>
                </a:lnTo>
                <a:lnTo>
                  <a:pt x="2996" y="832"/>
                </a:lnTo>
                <a:lnTo>
                  <a:pt x="2965" y="879"/>
                </a:lnTo>
                <a:lnTo>
                  <a:pt x="2929" y="923"/>
                </a:lnTo>
                <a:lnTo>
                  <a:pt x="2888" y="963"/>
                </a:lnTo>
                <a:lnTo>
                  <a:pt x="2844" y="999"/>
                </a:lnTo>
                <a:lnTo>
                  <a:pt x="2796" y="1030"/>
                </a:lnTo>
                <a:lnTo>
                  <a:pt x="2744" y="1057"/>
                </a:lnTo>
                <a:lnTo>
                  <a:pt x="2690" y="1077"/>
                </a:lnTo>
                <a:lnTo>
                  <a:pt x="2633" y="1092"/>
                </a:lnTo>
                <a:lnTo>
                  <a:pt x="2574" y="1103"/>
                </a:lnTo>
                <a:lnTo>
                  <a:pt x="2514" y="1106"/>
                </a:lnTo>
                <a:lnTo>
                  <a:pt x="2455" y="1103"/>
                </a:lnTo>
                <a:lnTo>
                  <a:pt x="2398" y="1094"/>
                </a:lnTo>
                <a:lnTo>
                  <a:pt x="2344" y="1079"/>
                </a:lnTo>
                <a:lnTo>
                  <a:pt x="2291" y="1060"/>
                </a:lnTo>
                <a:lnTo>
                  <a:pt x="2241" y="1035"/>
                </a:lnTo>
                <a:lnTo>
                  <a:pt x="2195" y="1005"/>
                </a:lnTo>
                <a:lnTo>
                  <a:pt x="2151" y="973"/>
                </a:lnTo>
                <a:lnTo>
                  <a:pt x="2111" y="935"/>
                </a:lnTo>
                <a:lnTo>
                  <a:pt x="2076" y="894"/>
                </a:lnTo>
                <a:lnTo>
                  <a:pt x="2043" y="848"/>
                </a:lnTo>
                <a:lnTo>
                  <a:pt x="1078" y="1424"/>
                </a:lnTo>
                <a:lnTo>
                  <a:pt x="1095" y="1472"/>
                </a:lnTo>
                <a:lnTo>
                  <a:pt x="1107" y="1522"/>
                </a:lnTo>
                <a:lnTo>
                  <a:pt x="1115" y="1574"/>
                </a:lnTo>
                <a:lnTo>
                  <a:pt x="1118" y="1628"/>
                </a:lnTo>
                <a:lnTo>
                  <a:pt x="1115" y="1681"/>
                </a:lnTo>
                <a:lnTo>
                  <a:pt x="1107" y="1733"/>
                </a:lnTo>
                <a:lnTo>
                  <a:pt x="1095" y="1784"/>
                </a:lnTo>
                <a:lnTo>
                  <a:pt x="1078" y="1832"/>
                </a:lnTo>
                <a:lnTo>
                  <a:pt x="2043" y="2411"/>
                </a:lnTo>
                <a:lnTo>
                  <a:pt x="2066" y="2378"/>
                </a:lnTo>
                <a:lnTo>
                  <a:pt x="2091" y="2347"/>
                </a:lnTo>
                <a:lnTo>
                  <a:pt x="2119" y="2317"/>
                </a:lnTo>
                <a:lnTo>
                  <a:pt x="2159" y="2281"/>
                </a:lnTo>
                <a:lnTo>
                  <a:pt x="2201" y="2250"/>
                </a:lnTo>
                <a:lnTo>
                  <a:pt x="2246" y="2224"/>
                </a:lnTo>
                <a:lnTo>
                  <a:pt x="2292" y="2201"/>
                </a:lnTo>
                <a:lnTo>
                  <a:pt x="2340" y="2183"/>
                </a:lnTo>
                <a:lnTo>
                  <a:pt x="2389" y="2169"/>
                </a:lnTo>
                <a:lnTo>
                  <a:pt x="2438" y="2160"/>
                </a:lnTo>
                <a:lnTo>
                  <a:pt x="2489" y="2156"/>
                </a:lnTo>
                <a:lnTo>
                  <a:pt x="2539" y="2156"/>
                </a:lnTo>
                <a:lnTo>
                  <a:pt x="2590" y="2160"/>
                </a:lnTo>
                <a:lnTo>
                  <a:pt x="2640" y="2169"/>
                </a:lnTo>
                <a:lnTo>
                  <a:pt x="2688" y="2183"/>
                </a:lnTo>
                <a:lnTo>
                  <a:pt x="2736" y="2201"/>
                </a:lnTo>
                <a:lnTo>
                  <a:pt x="2783" y="2224"/>
                </a:lnTo>
                <a:lnTo>
                  <a:pt x="2827" y="2250"/>
                </a:lnTo>
                <a:lnTo>
                  <a:pt x="2869" y="2281"/>
                </a:lnTo>
                <a:lnTo>
                  <a:pt x="2909" y="2317"/>
                </a:lnTo>
                <a:lnTo>
                  <a:pt x="2947" y="2358"/>
                </a:lnTo>
                <a:lnTo>
                  <a:pt x="2979" y="2401"/>
                </a:lnTo>
                <a:lnTo>
                  <a:pt x="3007" y="2448"/>
                </a:lnTo>
                <a:lnTo>
                  <a:pt x="3030" y="2496"/>
                </a:lnTo>
                <a:lnTo>
                  <a:pt x="3049" y="2547"/>
                </a:lnTo>
                <a:lnTo>
                  <a:pt x="3062" y="2599"/>
                </a:lnTo>
                <a:lnTo>
                  <a:pt x="3070" y="2653"/>
                </a:lnTo>
                <a:lnTo>
                  <a:pt x="3073" y="2708"/>
                </a:lnTo>
                <a:lnTo>
                  <a:pt x="3070" y="2763"/>
                </a:lnTo>
                <a:lnTo>
                  <a:pt x="3062" y="2816"/>
                </a:lnTo>
                <a:lnTo>
                  <a:pt x="3049" y="2869"/>
                </a:lnTo>
                <a:lnTo>
                  <a:pt x="3030" y="2919"/>
                </a:lnTo>
                <a:lnTo>
                  <a:pt x="3007" y="2968"/>
                </a:lnTo>
                <a:lnTo>
                  <a:pt x="2979" y="3014"/>
                </a:lnTo>
                <a:lnTo>
                  <a:pt x="2947" y="3057"/>
                </a:lnTo>
                <a:lnTo>
                  <a:pt x="2909" y="3098"/>
                </a:lnTo>
                <a:lnTo>
                  <a:pt x="2872" y="3132"/>
                </a:lnTo>
                <a:lnTo>
                  <a:pt x="2831" y="3162"/>
                </a:lnTo>
                <a:lnTo>
                  <a:pt x="2790" y="3189"/>
                </a:lnTo>
                <a:lnTo>
                  <a:pt x="2746" y="3210"/>
                </a:lnTo>
                <a:lnTo>
                  <a:pt x="2702" y="3227"/>
                </a:lnTo>
                <a:lnTo>
                  <a:pt x="2656" y="3242"/>
                </a:lnTo>
                <a:lnTo>
                  <a:pt x="2609" y="3252"/>
                </a:lnTo>
                <a:lnTo>
                  <a:pt x="2562" y="3258"/>
                </a:lnTo>
                <a:lnTo>
                  <a:pt x="2514" y="3260"/>
                </a:lnTo>
                <a:lnTo>
                  <a:pt x="2466" y="3258"/>
                </a:lnTo>
                <a:lnTo>
                  <a:pt x="2419" y="3252"/>
                </a:lnTo>
                <a:lnTo>
                  <a:pt x="2372" y="3242"/>
                </a:lnTo>
                <a:lnTo>
                  <a:pt x="2327" y="3227"/>
                </a:lnTo>
                <a:lnTo>
                  <a:pt x="2282" y="3210"/>
                </a:lnTo>
                <a:lnTo>
                  <a:pt x="2238" y="3189"/>
                </a:lnTo>
                <a:lnTo>
                  <a:pt x="2196" y="3162"/>
                </a:lnTo>
                <a:lnTo>
                  <a:pt x="2156" y="3132"/>
                </a:lnTo>
                <a:lnTo>
                  <a:pt x="2119" y="3098"/>
                </a:lnTo>
                <a:lnTo>
                  <a:pt x="2082" y="3057"/>
                </a:lnTo>
                <a:lnTo>
                  <a:pt x="2049" y="3014"/>
                </a:lnTo>
                <a:lnTo>
                  <a:pt x="2021" y="2968"/>
                </a:lnTo>
                <a:lnTo>
                  <a:pt x="1998" y="2919"/>
                </a:lnTo>
                <a:lnTo>
                  <a:pt x="1979" y="2869"/>
                </a:lnTo>
                <a:lnTo>
                  <a:pt x="1966" y="2816"/>
                </a:lnTo>
                <a:lnTo>
                  <a:pt x="1958" y="2763"/>
                </a:lnTo>
                <a:lnTo>
                  <a:pt x="1955" y="2708"/>
                </a:lnTo>
                <a:lnTo>
                  <a:pt x="1957" y="2656"/>
                </a:lnTo>
                <a:lnTo>
                  <a:pt x="1965" y="2607"/>
                </a:lnTo>
                <a:lnTo>
                  <a:pt x="1977" y="2558"/>
                </a:lnTo>
                <a:lnTo>
                  <a:pt x="1993" y="2511"/>
                </a:lnTo>
                <a:lnTo>
                  <a:pt x="1026" y="1930"/>
                </a:lnTo>
                <a:lnTo>
                  <a:pt x="994" y="1973"/>
                </a:lnTo>
                <a:lnTo>
                  <a:pt x="958" y="2014"/>
                </a:lnTo>
                <a:lnTo>
                  <a:pt x="918" y="2050"/>
                </a:lnTo>
                <a:lnTo>
                  <a:pt x="875" y="2083"/>
                </a:lnTo>
                <a:lnTo>
                  <a:pt x="828" y="2112"/>
                </a:lnTo>
                <a:lnTo>
                  <a:pt x="779" y="2135"/>
                </a:lnTo>
                <a:lnTo>
                  <a:pt x="727" y="2155"/>
                </a:lnTo>
                <a:lnTo>
                  <a:pt x="673" y="2169"/>
                </a:lnTo>
                <a:lnTo>
                  <a:pt x="617" y="2177"/>
                </a:lnTo>
                <a:lnTo>
                  <a:pt x="559" y="2180"/>
                </a:lnTo>
                <a:lnTo>
                  <a:pt x="499" y="2177"/>
                </a:lnTo>
                <a:lnTo>
                  <a:pt x="440" y="2168"/>
                </a:lnTo>
                <a:lnTo>
                  <a:pt x="383" y="2153"/>
                </a:lnTo>
                <a:lnTo>
                  <a:pt x="329" y="2131"/>
                </a:lnTo>
                <a:lnTo>
                  <a:pt x="277" y="2105"/>
                </a:lnTo>
                <a:lnTo>
                  <a:pt x="229" y="2074"/>
                </a:lnTo>
                <a:lnTo>
                  <a:pt x="185" y="2038"/>
                </a:lnTo>
                <a:lnTo>
                  <a:pt x="144" y="1998"/>
                </a:lnTo>
                <a:lnTo>
                  <a:pt x="108" y="1954"/>
                </a:lnTo>
                <a:lnTo>
                  <a:pt x="77" y="1907"/>
                </a:lnTo>
                <a:lnTo>
                  <a:pt x="50" y="1856"/>
                </a:lnTo>
                <a:lnTo>
                  <a:pt x="29" y="1802"/>
                </a:lnTo>
                <a:lnTo>
                  <a:pt x="13" y="1747"/>
                </a:lnTo>
                <a:lnTo>
                  <a:pt x="4" y="1688"/>
                </a:lnTo>
                <a:lnTo>
                  <a:pt x="0" y="1628"/>
                </a:lnTo>
                <a:lnTo>
                  <a:pt x="4" y="1568"/>
                </a:lnTo>
                <a:lnTo>
                  <a:pt x="13" y="1510"/>
                </a:lnTo>
                <a:lnTo>
                  <a:pt x="29" y="1453"/>
                </a:lnTo>
                <a:lnTo>
                  <a:pt x="50" y="1400"/>
                </a:lnTo>
                <a:lnTo>
                  <a:pt x="77" y="1349"/>
                </a:lnTo>
                <a:lnTo>
                  <a:pt x="108" y="1302"/>
                </a:lnTo>
                <a:lnTo>
                  <a:pt x="144" y="1258"/>
                </a:lnTo>
                <a:lnTo>
                  <a:pt x="185" y="1218"/>
                </a:lnTo>
                <a:lnTo>
                  <a:pt x="229" y="1183"/>
                </a:lnTo>
                <a:lnTo>
                  <a:pt x="277" y="1151"/>
                </a:lnTo>
                <a:lnTo>
                  <a:pt x="329" y="1124"/>
                </a:lnTo>
                <a:lnTo>
                  <a:pt x="383" y="1104"/>
                </a:lnTo>
                <a:lnTo>
                  <a:pt x="440" y="1088"/>
                </a:lnTo>
                <a:lnTo>
                  <a:pt x="499" y="1079"/>
                </a:lnTo>
                <a:lnTo>
                  <a:pt x="559" y="1075"/>
                </a:lnTo>
                <a:lnTo>
                  <a:pt x="617" y="1078"/>
                </a:lnTo>
                <a:lnTo>
                  <a:pt x="673" y="1087"/>
                </a:lnTo>
                <a:lnTo>
                  <a:pt x="727" y="1101"/>
                </a:lnTo>
                <a:lnTo>
                  <a:pt x="779" y="1120"/>
                </a:lnTo>
                <a:lnTo>
                  <a:pt x="828" y="1144"/>
                </a:lnTo>
                <a:lnTo>
                  <a:pt x="875" y="1172"/>
                </a:lnTo>
                <a:lnTo>
                  <a:pt x="918" y="1205"/>
                </a:lnTo>
                <a:lnTo>
                  <a:pt x="958" y="1242"/>
                </a:lnTo>
                <a:lnTo>
                  <a:pt x="994" y="1282"/>
                </a:lnTo>
                <a:lnTo>
                  <a:pt x="1026" y="1325"/>
                </a:lnTo>
                <a:lnTo>
                  <a:pt x="1993" y="750"/>
                </a:lnTo>
                <a:lnTo>
                  <a:pt x="1977" y="703"/>
                </a:lnTo>
                <a:lnTo>
                  <a:pt x="1966" y="655"/>
                </a:lnTo>
                <a:lnTo>
                  <a:pt x="1957" y="604"/>
                </a:lnTo>
                <a:lnTo>
                  <a:pt x="1955" y="553"/>
                </a:lnTo>
                <a:lnTo>
                  <a:pt x="1958" y="493"/>
                </a:lnTo>
                <a:lnTo>
                  <a:pt x="1969" y="435"/>
                </a:lnTo>
                <a:lnTo>
                  <a:pt x="1984" y="379"/>
                </a:lnTo>
                <a:lnTo>
                  <a:pt x="2005" y="325"/>
                </a:lnTo>
                <a:lnTo>
                  <a:pt x="2032" y="274"/>
                </a:lnTo>
                <a:lnTo>
                  <a:pt x="2063" y="227"/>
                </a:lnTo>
                <a:lnTo>
                  <a:pt x="2099" y="183"/>
                </a:lnTo>
                <a:lnTo>
                  <a:pt x="2140" y="143"/>
                </a:lnTo>
                <a:lnTo>
                  <a:pt x="2184" y="107"/>
                </a:lnTo>
                <a:lnTo>
                  <a:pt x="2232" y="76"/>
                </a:lnTo>
                <a:lnTo>
                  <a:pt x="2284" y="50"/>
                </a:lnTo>
                <a:lnTo>
                  <a:pt x="2338" y="29"/>
                </a:lnTo>
                <a:lnTo>
                  <a:pt x="2394" y="14"/>
                </a:lnTo>
                <a:lnTo>
                  <a:pt x="2453" y="3"/>
                </a:lnTo>
                <a:lnTo>
                  <a:pt x="2514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248" tIns="45624" rIns="91248" bIns="45624" numCol="1" anchor="t" anchorCtr="0" compatLnSpc="1">
            <a:prstTxWarp prst="textNoShape">
              <a:avLst/>
            </a:prstTxWarp>
          </a:bodyPr>
          <a:lstStyle/>
          <a:p>
            <a:pPr defTabSz="1216065" fontAlgn="auto">
              <a:spcBef>
                <a:spcPts val="0"/>
              </a:spcBef>
              <a:spcAft>
                <a:spcPts val="0"/>
              </a:spcAft>
              <a:defRPr/>
            </a:pPr>
            <a:endParaRPr lang="en-IN" sz="2392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9AB5F25-027A-4A03-A384-E37074A3CF0A}"/>
              </a:ext>
            </a:extLst>
          </p:cNvPr>
          <p:cNvGrpSpPr/>
          <p:nvPr/>
        </p:nvGrpSpPr>
        <p:grpSpPr>
          <a:xfrm>
            <a:off x="2076124" y="989658"/>
            <a:ext cx="1959652" cy="2084901"/>
            <a:chOff x="793350" y="1052553"/>
            <a:chExt cx="5052860" cy="5520940"/>
          </a:xfrm>
        </p:grpSpPr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B98D4A7D-CD5A-4802-996A-29303E942952}"/>
                </a:ext>
              </a:extLst>
            </p:cNvPr>
            <p:cNvCxnSpPr>
              <a:cxnSpLocks/>
              <a:endCxn id="57" idx="3"/>
            </p:cNvCxnSpPr>
            <p:nvPr/>
          </p:nvCxnSpPr>
          <p:spPr>
            <a:xfrm flipV="1">
              <a:off x="2212450" y="2076941"/>
              <a:ext cx="946311" cy="964560"/>
            </a:xfrm>
            <a:prstGeom prst="line">
              <a:avLst/>
            </a:prstGeom>
            <a:noFill/>
            <a:ln w="9525" cap="flat" cmpd="sng" algn="ctr">
              <a:solidFill>
                <a:srgbClr val="0072B5"/>
              </a:solidFill>
              <a:prstDash val="solid"/>
            </a:ln>
            <a:effectLst/>
          </p:spPr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B58B01EF-04B8-43B5-B1DD-0FBC3CC7109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629243" y="2852906"/>
              <a:ext cx="1383049" cy="668585"/>
            </a:xfrm>
            <a:prstGeom prst="line">
              <a:avLst/>
            </a:prstGeom>
            <a:noFill/>
            <a:ln w="9525" cap="flat" cmpd="sng" algn="ctr">
              <a:solidFill>
                <a:sysClr val="window" lastClr="FFFFFF">
                  <a:lumMod val="85000"/>
                </a:sysClr>
              </a:solidFill>
              <a:prstDash val="solid"/>
            </a:ln>
            <a:effectLst/>
          </p:spPr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820AEA0D-CD03-4E51-A75F-1686501F5EC7}"/>
                </a:ext>
              </a:extLst>
            </p:cNvPr>
            <p:cNvCxnSpPr>
              <a:cxnSpLocks/>
              <a:stCxn id="62" idx="6"/>
              <a:endCxn id="59" idx="2"/>
            </p:cNvCxnSpPr>
            <p:nvPr/>
          </p:nvCxnSpPr>
          <p:spPr>
            <a:xfrm>
              <a:off x="2713584" y="3813023"/>
              <a:ext cx="1932480" cy="0"/>
            </a:xfrm>
            <a:prstGeom prst="line">
              <a:avLst/>
            </a:prstGeom>
            <a:noFill/>
            <a:ln w="9525" cap="flat" cmpd="sng" algn="ctr">
              <a:solidFill>
                <a:sysClr val="window" lastClr="FFFFFF">
                  <a:lumMod val="85000"/>
                </a:sysClr>
              </a:solidFill>
              <a:prstDash val="solid"/>
            </a:ln>
            <a:effectLst/>
          </p:spPr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4B180D3A-EB14-43E7-87FE-33771AE21F46}"/>
                </a:ext>
              </a:extLst>
            </p:cNvPr>
            <p:cNvCxnSpPr>
              <a:cxnSpLocks/>
            </p:cNvCxnSpPr>
            <p:nvPr/>
          </p:nvCxnSpPr>
          <p:spPr>
            <a:xfrm>
              <a:off x="2565769" y="4235930"/>
              <a:ext cx="1446522" cy="560137"/>
            </a:xfrm>
            <a:prstGeom prst="line">
              <a:avLst/>
            </a:prstGeom>
            <a:noFill/>
            <a:ln w="9525" cap="flat" cmpd="sng" algn="ctr">
              <a:solidFill>
                <a:sysClr val="window" lastClr="FFFFFF">
                  <a:lumMod val="85000"/>
                </a:sysClr>
              </a:solidFill>
              <a:prstDash val="solid"/>
            </a:ln>
            <a:effectLst/>
          </p:spPr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07EC7A6C-C579-473D-8661-150B08B111E9}"/>
                </a:ext>
              </a:extLst>
            </p:cNvPr>
            <p:cNvCxnSpPr>
              <a:cxnSpLocks/>
              <a:endCxn id="61" idx="1"/>
            </p:cNvCxnSpPr>
            <p:nvPr/>
          </p:nvCxnSpPr>
          <p:spPr>
            <a:xfrm>
              <a:off x="2146131" y="4601690"/>
              <a:ext cx="1012630" cy="947415"/>
            </a:xfrm>
            <a:prstGeom prst="line">
              <a:avLst/>
            </a:prstGeom>
            <a:noFill/>
            <a:ln w="9525" cap="flat" cmpd="sng" algn="ctr">
              <a:solidFill>
                <a:sysClr val="window" lastClr="FFFFFF">
                  <a:lumMod val="85000"/>
                </a:sysClr>
              </a:solidFill>
              <a:prstDash val="solid"/>
            </a:ln>
            <a:effectLst/>
          </p:spPr>
        </p:cxn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2894427F-C08B-42BB-9E31-90C910033BB6}"/>
                </a:ext>
              </a:extLst>
            </p:cNvPr>
            <p:cNvSpPr/>
            <p:nvPr/>
          </p:nvSpPr>
          <p:spPr>
            <a:xfrm>
              <a:off x="2983004" y="1052553"/>
              <a:ext cx="1200146" cy="1200145"/>
            </a:xfrm>
            <a:prstGeom prst="ellipse">
              <a:avLst/>
            </a:prstGeom>
            <a:solidFill>
              <a:srgbClr val="0072B5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01</a:t>
              </a: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F4C6BFB3-1D74-4E62-BAF1-56C3E0D07F90}"/>
                </a:ext>
              </a:extLst>
            </p:cNvPr>
            <p:cNvSpPr/>
            <p:nvPr/>
          </p:nvSpPr>
          <p:spPr>
            <a:xfrm>
              <a:off x="3899564" y="2132751"/>
              <a:ext cx="1200146" cy="1200145"/>
            </a:xfrm>
            <a:prstGeom prst="ellipse">
              <a:avLst/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02</a:t>
              </a:r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79FB722C-BEC4-4AD1-B7C1-1625FDAB69F6}"/>
                </a:ext>
              </a:extLst>
            </p:cNvPr>
            <p:cNvSpPr/>
            <p:nvPr/>
          </p:nvSpPr>
          <p:spPr>
            <a:xfrm>
              <a:off x="4646064" y="3212950"/>
              <a:ext cx="1200146" cy="1200145"/>
            </a:xfrm>
            <a:prstGeom prst="ellipse">
              <a:avLst/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03</a:t>
              </a:r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B6F0A78B-5D87-42BF-BAC3-F435610907D1}"/>
                </a:ext>
              </a:extLst>
            </p:cNvPr>
            <p:cNvSpPr/>
            <p:nvPr/>
          </p:nvSpPr>
          <p:spPr>
            <a:xfrm>
              <a:off x="3899564" y="4293148"/>
              <a:ext cx="1200146" cy="1200145"/>
            </a:xfrm>
            <a:prstGeom prst="ellipse">
              <a:avLst/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04</a:t>
              </a: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389E917C-BCE2-4178-8F3D-83AB7FB78DF2}"/>
                </a:ext>
              </a:extLst>
            </p:cNvPr>
            <p:cNvSpPr/>
            <p:nvPr/>
          </p:nvSpPr>
          <p:spPr>
            <a:xfrm>
              <a:off x="2983004" y="5373348"/>
              <a:ext cx="1200146" cy="1200145"/>
            </a:xfrm>
            <a:prstGeom prst="ellipse">
              <a:avLst/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05</a:t>
              </a:r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606AC7EF-8289-42E5-89EE-1C7D9E1CC8C7}"/>
                </a:ext>
              </a:extLst>
            </p:cNvPr>
            <p:cNvSpPr/>
            <p:nvPr/>
          </p:nvSpPr>
          <p:spPr>
            <a:xfrm>
              <a:off x="793350" y="2852906"/>
              <a:ext cx="1920234" cy="1920233"/>
            </a:xfrm>
            <a:prstGeom prst="ellipse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050" b="1" i="0" u="none" strike="noStrike" kern="0" cap="none" spc="0" normalizeH="0" baseline="0" noProof="0" dirty="0" err="1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98DF6880-CA3A-4773-B771-749F330AE6C4}"/>
                </a:ext>
              </a:extLst>
            </p:cNvPr>
            <p:cNvSpPr/>
            <p:nvPr/>
          </p:nvSpPr>
          <p:spPr>
            <a:xfrm>
              <a:off x="981944" y="3041501"/>
              <a:ext cx="1543045" cy="1543045"/>
            </a:xfrm>
            <a:prstGeom prst="ellipse">
              <a:avLst/>
            </a:prstGeom>
            <a:gradFill flip="none" rotWithShape="1">
              <a:gsLst>
                <a:gs pos="100000">
                  <a:sysClr val="window" lastClr="FFFFFF">
                    <a:lumMod val="95000"/>
                  </a:sysClr>
                </a:gs>
                <a:gs pos="0">
                  <a:srgbClr val="ECF0F1"/>
                </a:gs>
              </a:gsLst>
              <a:path path="circle">
                <a:fillToRect l="100000" t="100000"/>
              </a:path>
              <a:tileRect r="-100000" b="-100000"/>
            </a:gradFill>
            <a:ln w="25400" cap="flat" cmpd="sng" algn="ctr">
              <a:noFill/>
              <a:prstDash val="solid"/>
            </a:ln>
            <a:effectLst>
              <a:outerShdw blurRad="381000" dist="38100" dir="2700000" sx="101000" sy="101000" algn="tl" rotWithShape="0">
                <a:sysClr val="windowText" lastClr="000000">
                  <a:lumMod val="75000"/>
                  <a:lumOff val="25000"/>
                  <a:alpha val="40000"/>
                </a:sys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05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64" name="Graphic 63" descr="Gears">
              <a:extLst>
                <a:ext uri="{FF2B5EF4-FFF2-40B4-BE49-F238E27FC236}">
                  <a16:creationId xmlns:a16="http://schemas.microsoft.com/office/drawing/2014/main" id="{22F823D3-022A-491E-9764-ECBEBFDA200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153394" y="3212950"/>
              <a:ext cx="1200146" cy="12001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31445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9"/>
  <p:tag name="ISNEWSLIDENUMBER" val="True"/>
  <p:tag name="NEWNAMES" val="True"/>
  <p:tag name="THINKCELLPRESENTATIONDONOTDELETE" val="&lt;?xml version=&quot;1.0&quot; encoding=&quot;UTF-16&quot; standalone=&quot;yes&quot;?&gt;&lt;root reqver=&quot;23045&quot;&gt;&lt;version val=&quot;251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6&quot;&gt;&lt;elem m_fUsage=&quot;1.86339690000000013370E+00&quot;&gt;&lt;m_msothmcolidx val=&quot;0&quot;/&gt;&lt;m_rgb r=&quot;66&quot; g=&quot;66&quot; b=&quot;66&quot;/&gt;&lt;m_nBrightness val=&quot;0&quot;/&gt;&lt;/elem&gt;&lt;elem m_fUsage=&quot;1.00000000000000000000E+00&quot;&gt;&lt;m_msothmcolidx val=&quot;0&quot;/&gt;&lt;m_rgb r=&quot;BE&quot; g=&quot;78&quot; b=&quot;8E&quot;/&gt;&lt;m_nBrightness val=&quot;0&quot;/&gt;&lt;/elem&gt;&lt;elem m_fUsage=&quot;9.00000000000000022204E-01&quot;&gt;&lt;m_msothmcolidx val=&quot;0&quot;/&gt;&lt;m_rgb r=&quot;1A&quot; g=&quot;B1&quot; b=&quot;E4&quot;/&gt;&lt;m_nBrightness val=&quot;0&quot;/&gt;&lt;/elem&gt;&lt;elem m_fUsage=&quot;8.10000000000000053291E-01&quot;&gt;&lt;m_msothmcolidx val=&quot;0&quot;/&gt;&lt;m_rgb r=&quot;F2&quot; g=&quot;7F&quot; b=&quot;00&quot;/&gt;&lt;m_nBrightness val=&quot;0&quot;/&gt;&lt;/elem&gt;&lt;elem m_fUsage=&quot;5.90490000000000181402E-01&quot;&gt;&lt;m_msothmcolidx val=&quot;0&quot;/&gt;&lt;m_rgb r=&quot;CD&quot; g=&quot;20&quot; b=&quot;2C&quot;/&gt;&lt;m_nBrightness val=&quot;0&quot;/&gt;&lt;/elem&gt;&lt;elem m_fUsage=&quot;5.31441000000000163261E-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PREVIOUSNAME" val="C:\Users\Amuthan G\Documents\WIP\07 Nov\Etihad Aviation Group_CF_AE0224.po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Etihad Aviation Group_CF_AE0224">
  <a:themeElements>
    <a:clrScheme name="Decathlon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72B5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sz="1600" b="1" dirty="0" err="1" smtClean="0">
            <a:solidFill>
              <a:schemeClr val="accent4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311820"/>
        </a:dk2>
        <a:lt2>
          <a:srgbClr val="FFFFFF"/>
        </a:lt2>
        <a:accent1>
          <a:srgbClr val="F2C664"/>
        </a:accent1>
        <a:accent2>
          <a:srgbClr val="BE788E"/>
        </a:accent2>
        <a:accent3>
          <a:srgbClr val="8A4258"/>
        </a:accent3>
        <a:accent4>
          <a:srgbClr val="311820"/>
        </a:accent4>
        <a:accent5>
          <a:srgbClr val="E8A811"/>
        </a:accent5>
        <a:accent6>
          <a:srgbClr val="808080"/>
        </a:accent6>
        <a:hlink>
          <a:srgbClr val="8A4258"/>
        </a:hlink>
        <a:folHlink>
          <a:srgbClr val="3118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Etihad Aviation Group_CF_AE0224.potx" id="{D15E7A95-7415-47F1-8C1E-4B089085B7B8}" vid="{92E183D8-0F31-49CF-9C4C-AF572A94EA21}"/>
    </a:ext>
  </a:extLst>
</a:theme>
</file>

<file path=ppt/theme/theme2.xml><?xml version="1.0" encoding="utf-8"?>
<a:theme xmlns:a="http://schemas.openxmlformats.org/drawingml/2006/main" name="Office Theme">
  <a:themeElements>
    <a:clrScheme name="Blockchain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163FF"/>
      </a:accent1>
      <a:accent2>
        <a:srgbClr val="023BCA"/>
      </a:accent2>
      <a:accent3>
        <a:srgbClr val="CCCCCC"/>
      </a:accent3>
      <a:accent4>
        <a:srgbClr val="B4BE80"/>
      </a:accent4>
      <a:accent5>
        <a:srgbClr val="E7AE45"/>
      </a:accent5>
      <a:accent6>
        <a:srgbClr val="FF5050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47</Words>
  <Application>Microsoft Office PowerPoint</Application>
  <PresentationFormat>Widescreen</PresentationFormat>
  <Paragraphs>115</Paragraphs>
  <Slides>10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1" baseType="lpstr">
      <vt:lpstr>Arial</vt:lpstr>
      <vt:lpstr>Calibri</vt:lpstr>
      <vt:lpstr>Calibri Light</vt:lpstr>
      <vt:lpstr>Open Sans</vt:lpstr>
      <vt:lpstr>Open Sans Condensed Light</vt:lpstr>
      <vt:lpstr>Open Sans Light</vt:lpstr>
      <vt:lpstr>Segoe UI</vt:lpstr>
      <vt:lpstr>Titillium</vt:lpstr>
      <vt:lpstr>Etihad Aviation Group_CF_AE0224</vt:lpstr>
      <vt:lpstr>Office Theme</vt:lpstr>
      <vt:lpstr>think-cell Slide</vt:lpstr>
      <vt:lpstr>PowerPoint Presentation</vt:lpstr>
      <vt:lpstr>Company Overview</vt:lpstr>
      <vt:lpstr>Our Services</vt:lpstr>
      <vt:lpstr>Roadmap</vt:lpstr>
      <vt:lpstr>Our Process</vt:lpstr>
      <vt:lpstr>4-Year Timeline</vt:lpstr>
      <vt:lpstr>Global Reach</vt:lpstr>
      <vt:lpstr>Contact us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dcterms:created xsi:type="dcterms:W3CDTF">2018-07-03T03:53:27Z</dcterms:created>
  <dcterms:modified xsi:type="dcterms:W3CDTF">2018-07-06T20:48:34Z</dcterms:modified>
  <cp:category/>
  <cp:contentStatus/>
  <dc:language/>
  <cp:version/>
</cp:coreProperties>
</file>